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3.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66.jpg" ContentType="image/jpeg"/>
  <Override PartName="/ppt/media/image70.JPG" ContentType="image/jpeg"/>
  <Override PartName="/ppt/media/image90.jpg" ContentType="image/jpeg"/>
  <Override PartName="/ppt/media/image91.jpg" ContentType="image/jpeg"/>
  <Override PartName="/ppt/media/image92.jpg" ContentType="image/jpeg"/>
  <Override PartName="/ppt/media/image95.jpg" ContentType="image/jpeg"/>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136.jpg" ContentType="image/jpeg"/>
  <Override PartName="/ppt/tags/tag160.xml" ContentType="application/vnd.openxmlformats-officedocument.presentationml.tags+xml"/>
  <Override PartName="/ppt/tags/tag16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notesMasterIdLst>
    <p:notesMasterId r:id="rId21"/>
  </p:notesMasterIdLst>
  <p:sldIdLst>
    <p:sldId id="2134804380" r:id="rId3"/>
    <p:sldId id="2147375279" r:id="rId4"/>
    <p:sldId id="2134804454" r:id="rId5"/>
    <p:sldId id="2147375280" r:id="rId6"/>
    <p:sldId id="2134804451" r:id="rId7"/>
    <p:sldId id="2134804118" r:id="rId8"/>
    <p:sldId id="2147375126" r:id="rId9"/>
    <p:sldId id="269" r:id="rId10"/>
    <p:sldId id="2147375379" r:id="rId11"/>
    <p:sldId id="2134804307" r:id="rId12"/>
    <p:sldId id="283" r:id="rId13"/>
    <p:sldId id="2147375380" r:id="rId14"/>
    <p:sldId id="2145707664" r:id="rId15"/>
    <p:sldId id="277" r:id="rId16"/>
    <p:sldId id="2134803820" r:id="rId17"/>
    <p:sldId id="2145706300" r:id="rId18"/>
    <p:sldId id="2145706305" r:id="rId19"/>
    <p:sldId id="2134804316" r:id="rId2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669" autoAdjust="0"/>
    <p:restoredTop sz="88936" autoAdjust="0"/>
  </p:normalViewPr>
  <p:slideViewPr>
    <p:cSldViewPr snapToGrid="0">
      <p:cViewPr>
        <p:scale>
          <a:sx n="57" d="100"/>
          <a:sy n="57" d="100"/>
        </p:scale>
        <p:origin x="484" y="3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17BF7-E0AE-40AF-9157-49A4A9417ADC}" type="datetimeFigureOut">
              <a:rPr lang="fr-FR" smtClean="0"/>
              <a:t>24/09/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43E804-5B27-4AF1-A0D8-9D098C13F188}" type="slidenum">
              <a:rPr lang="fr-FR" smtClean="0"/>
              <a:t>‹N°›</a:t>
            </a:fld>
            <a:endParaRPr lang="fr-FR"/>
          </a:p>
        </p:txBody>
      </p:sp>
    </p:spTree>
    <p:extLst>
      <p:ext uri="{BB962C8B-B14F-4D97-AF65-F5344CB8AC3E}">
        <p14:creationId xmlns:p14="http://schemas.microsoft.com/office/powerpoint/2010/main" val="42298796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Slide Image Placeholder 8">
            <a:extLst>
              <a:ext uri="{FF2B5EF4-FFF2-40B4-BE49-F238E27FC236}">
                <a16:creationId xmlns:a16="http://schemas.microsoft.com/office/drawing/2014/main" id="{57EF77EE-3EC1-4AA7-A2A5-0BAD1629C82E}"/>
              </a:ext>
            </a:extLst>
          </p:cNvPr>
          <p:cNvSpPr>
            <a:spLocks noGrp="1" noRot="1" noChangeAspect="1"/>
          </p:cNvSpPr>
          <p:nvPr>
            <p:ph type="sldImg"/>
          </p:nvPr>
        </p:nvSpPr>
        <p:spPr>
          <a:xfrm>
            <a:off x="266700" y="260350"/>
            <a:ext cx="6208713" cy="3492500"/>
          </a:xfrm>
        </p:spPr>
      </p:sp>
      <p:sp>
        <p:nvSpPr>
          <p:cNvPr id="10" name="Notes Placeholder 9">
            <a:extLst>
              <a:ext uri="{FF2B5EF4-FFF2-40B4-BE49-F238E27FC236}">
                <a16:creationId xmlns:a16="http://schemas.microsoft.com/office/drawing/2014/main" id="{618ED20F-C359-4D8D-AE11-0756C3E85156}"/>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549809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13C7EF-A826-C9D2-EFBC-F82EA2FF4C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F24456-AA74-BFC9-0E32-6062C06F4597}"/>
              </a:ext>
            </a:extLst>
          </p:cNvPr>
          <p:cNvSpPr txBox="1">
            <a:spLocks noGrp="1"/>
          </p:cNvSpPr>
          <p:nvPr>
            <p:ph type="body" sz="quarter" idx="1"/>
          </p:nvPr>
        </p:nvSpPr>
        <p:spPr/>
        <p:txBody>
          <a:bodyPr/>
          <a:lstStyle/>
          <a:p>
            <a:endParaRPr lang="fr-FR" dirty="0"/>
          </a:p>
        </p:txBody>
      </p:sp>
      <p:sp>
        <p:nvSpPr>
          <p:cNvPr id="4" name="Slide Number Placeholder 3">
            <a:extLst>
              <a:ext uri="{FF2B5EF4-FFF2-40B4-BE49-F238E27FC236}">
                <a16:creationId xmlns:a16="http://schemas.microsoft.com/office/drawing/2014/main" id="{9AF7D83A-C102-F408-3269-FC163FF467B9}"/>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49C96D0C-D35E-42D9-8317-140DA7F1B15E}" type="slidenum">
              <a:t>14</a:t>
            </a:fld>
            <a:endParaRPr lang="en-GB" sz="1200" b="0" i="0" u="none" strike="noStrike" kern="1200" cap="none" spc="0" baseline="0">
              <a:solidFill>
                <a:srgbClr val="000000"/>
              </a:solidFill>
              <a:uFillTx/>
              <a:latin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9ED5857-8AEB-4069-A3E8-CE5E221FC8ED}" type="slidenum">
              <a:rPr lang="ar-MA" smtClean="0"/>
              <a:t>15</a:t>
            </a:fld>
            <a:endParaRPr lang="ar-MA"/>
          </a:p>
        </p:txBody>
      </p:sp>
    </p:spTree>
    <p:extLst>
      <p:ext uri="{BB962C8B-B14F-4D97-AF65-F5344CB8AC3E}">
        <p14:creationId xmlns:p14="http://schemas.microsoft.com/office/powerpoint/2010/main" val="3637120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dd7c36a2e5_2_1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 name="Google Shape;135;gdd7c36a2e5_2_11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493895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743E804-5B27-4AF1-A0D8-9D098C13F188}" type="slidenum">
              <a:rPr lang="fr-FR" smtClean="0"/>
              <a:t>17</a:t>
            </a:fld>
            <a:endParaRPr lang="fr-FR"/>
          </a:p>
        </p:txBody>
      </p:sp>
    </p:spTree>
    <p:extLst>
      <p:ext uri="{BB962C8B-B14F-4D97-AF65-F5344CB8AC3E}">
        <p14:creationId xmlns:p14="http://schemas.microsoft.com/office/powerpoint/2010/main" val="3943133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260350"/>
            <a:ext cx="6208713" cy="34925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fr-FR" dirty="0"/>
          </a:p>
        </p:txBody>
      </p:sp>
      <p:sp>
        <p:nvSpPr>
          <p:cNvPr id="4" name="Slide Number Placeholder 3"/>
          <p:cNvSpPr>
            <a:spLocks noGrp="1"/>
          </p:cNvSpPr>
          <p:nvPr>
            <p:ph type="sldNum" sz="quarter" idx="5"/>
          </p:nvPr>
        </p:nvSpPr>
        <p:spPr/>
        <p:txBody>
          <a:bodyPr/>
          <a:lstStyle/>
          <a:p>
            <a:pPr>
              <a:defRPr/>
            </a:pPr>
            <a:fld id="{3C3A632B-FBDE-46D4-BF6F-6D14421E6342}" type="slidenum">
              <a:rPr lang="fr-FR" smtClean="0"/>
              <a:pPr>
                <a:defRPr/>
              </a:pPr>
              <a:t>18</a:t>
            </a:fld>
            <a:endParaRPr lang="fr-FR" dirty="0"/>
          </a:p>
        </p:txBody>
      </p:sp>
    </p:spTree>
    <p:extLst>
      <p:ext uri="{BB962C8B-B14F-4D97-AF65-F5344CB8AC3E}">
        <p14:creationId xmlns:p14="http://schemas.microsoft.com/office/powerpoint/2010/main" val="1172771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7743E804-5B27-4AF1-A0D8-9D098C13F188}" type="slidenum">
              <a:rPr lang="fr-FR" smtClean="0"/>
              <a:t>2</a:t>
            </a:fld>
            <a:endParaRPr lang="fr-FR"/>
          </a:p>
        </p:txBody>
      </p:sp>
    </p:spTree>
    <p:extLst>
      <p:ext uri="{BB962C8B-B14F-4D97-AF65-F5344CB8AC3E}">
        <p14:creationId xmlns:p14="http://schemas.microsoft.com/office/powerpoint/2010/main" val="4160563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260350"/>
            <a:ext cx="6208713" cy="3492500"/>
          </a:xfrm>
        </p:spPr>
      </p:sp>
      <p:sp>
        <p:nvSpPr>
          <p:cNvPr id="3" name="Notes Placeholder 2"/>
          <p:cNvSpPr>
            <a:spLocks noGrp="1"/>
          </p:cNvSpPr>
          <p:nvPr>
            <p:ph type="body" idx="1"/>
          </p:nvPr>
        </p:nvSpPr>
        <p:spPr/>
        <p:txBody>
          <a:bodyPr/>
          <a:lstStyle/>
          <a:p>
            <a:pPr marL="0" marR="0" lvl="0" indent="0" algn="l" defTabSz="895350" rtl="0" eaLnBrk="0" fontAlgn="base" latinLnBrk="0" hangingPunct="0">
              <a:lnSpc>
                <a:spcPct val="100000"/>
              </a:lnSpc>
              <a:spcBef>
                <a:spcPct val="0"/>
              </a:spcBef>
              <a:spcAft>
                <a:spcPct val="0"/>
              </a:spcAft>
              <a:buClr>
                <a:schemeClr val="tx2"/>
              </a:buClr>
              <a:buSzTx/>
              <a:buFont typeface="Arial" panose="020B0604020202020204" pitchFamily="34" charset="0"/>
              <a:buNone/>
              <a:tabLst/>
              <a:defRPr/>
            </a:pPr>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176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66700" y="260350"/>
            <a:ext cx="6208713" cy="3492500"/>
          </a:xfrm>
        </p:spPr>
      </p:sp>
      <p:sp>
        <p:nvSpPr>
          <p:cNvPr id="3" name="Espace réservé des not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5"/>
          </p:nvPr>
        </p:nvSpPr>
        <p:spPr/>
        <p:txBody>
          <a:bodyPr/>
          <a:lstStyle/>
          <a:p>
            <a:pPr>
              <a:defRPr/>
            </a:pPr>
            <a:fld id="{3C3A632B-FBDE-46D4-BF6F-6D14421E6342}" type="slidenum">
              <a:rPr lang="fr-FR" smtClean="0"/>
              <a:pPr>
                <a:defRPr/>
              </a:pPr>
              <a:t>7</a:t>
            </a:fld>
            <a:endParaRPr lang="fr-FR" dirty="0"/>
          </a:p>
        </p:txBody>
      </p:sp>
    </p:spTree>
    <p:extLst>
      <p:ext uri="{BB962C8B-B14F-4D97-AF65-F5344CB8AC3E}">
        <p14:creationId xmlns:p14="http://schemas.microsoft.com/office/powerpoint/2010/main" val="1395583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66700" y="260350"/>
            <a:ext cx="6208713" cy="3492500"/>
          </a:xfrm>
        </p:spPr>
      </p:sp>
      <p:sp>
        <p:nvSpPr>
          <p:cNvPr id="3" name="Espace réservé des notes 2"/>
          <p:cNvSpPr>
            <a:spLocks noGrp="1"/>
          </p:cNvSpPr>
          <p:nvPr>
            <p:ph type="body" idx="1"/>
          </p:nvPr>
        </p:nvSpPr>
        <p:spPr/>
        <p:txBody>
          <a:bodyPr/>
          <a:lstStyle/>
          <a:p>
            <a:endParaRPr lang="fr-MA" dirty="0"/>
          </a:p>
        </p:txBody>
      </p:sp>
      <p:sp>
        <p:nvSpPr>
          <p:cNvPr id="4" name="Espace réservé du numéro de diapositive 3"/>
          <p:cNvSpPr>
            <a:spLocks noGrp="1"/>
          </p:cNvSpPr>
          <p:nvPr>
            <p:ph type="sldNum" sz="quarter" idx="5"/>
          </p:nvPr>
        </p:nvSpPr>
        <p:spPr/>
        <p:txBody>
          <a:bodyPr/>
          <a:lstStyle/>
          <a:p>
            <a:pPr>
              <a:defRPr/>
            </a:pPr>
            <a:fld id="{3C3A632B-FBDE-46D4-BF6F-6D14421E6342}" type="slidenum">
              <a:rPr lang="fr-FR" smtClean="0"/>
              <a:pPr>
                <a:defRPr/>
              </a:pPr>
              <a:t>9</a:t>
            </a:fld>
            <a:endParaRPr lang="fr-FR" dirty="0"/>
          </a:p>
        </p:txBody>
      </p:sp>
    </p:spTree>
    <p:extLst>
      <p:ext uri="{BB962C8B-B14F-4D97-AF65-F5344CB8AC3E}">
        <p14:creationId xmlns:p14="http://schemas.microsoft.com/office/powerpoint/2010/main" val="7561755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7813" y="261938"/>
            <a:ext cx="6242050" cy="3511550"/>
          </a:xfrm>
        </p:spPr>
      </p:sp>
      <p:sp>
        <p:nvSpPr>
          <p:cNvPr id="3" name="Notes Placeholder 2"/>
          <p:cNvSpPr>
            <a:spLocks noGrp="1"/>
          </p:cNvSpPr>
          <p:nvPr>
            <p:ph type="body" idx="1"/>
          </p:nvPr>
        </p:nvSpPr>
        <p:spPr/>
        <p:txBody>
          <a:bodyPr/>
          <a:lstStyle/>
          <a:p>
            <a:endParaRPr lang="fr-FR" sz="800"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fr-FR" sz="1200" b="0" i="0" u="none" strike="noStrike" kern="1200" cap="none" spc="0" normalizeH="0" baseline="0" noProof="0" smtClean="0">
                <a:ln>
                  <a:noFill/>
                </a:ln>
                <a:solidFill>
                  <a:srgbClr val="000000"/>
                </a:solidFill>
                <a:effectLst/>
                <a:uLnTx/>
                <a:uFillTx/>
                <a:latin typeface="Calibri"/>
                <a:ea typeface="+mn-ea"/>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fr-F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Tree>
    <p:extLst>
      <p:ext uri="{BB962C8B-B14F-4D97-AF65-F5344CB8AC3E}">
        <p14:creationId xmlns:p14="http://schemas.microsoft.com/office/powerpoint/2010/main" val="4070636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2"/>
        <p:cNvGrpSpPr/>
        <p:nvPr/>
      </p:nvGrpSpPr>
      <p:grpSpPr>
        <a:xfrm>
          <a:off x="0" y="0"/>
          <a:ext cx="0" cy="0"/>
          <a:chOff x="0" y="0"/>
          <a:chExt cx="0" cy="0"/>
        </a:xfrm>
      </p:grpSpPr>
      <p:sp>
        <p:nvSpPr>
          <p:cNvPr id="753" name="Google Shape;753;g25ade9e9821_0_7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4" name="Google Shape;754;g25ade9e9821_0_73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755" name="Google Shape;755;g25ade9e9821_0_73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fr-FR"/>
              <a:t>11</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2"/>
        <p:cNvGrpSpPr/>
        <p:nvPr/>
      </p:nvGrpSpPr>
      <p:grpSpPr>
        <a:xfrm>
          <a:off x="0" y="0"/>
          <a:ext cx="0" cy="0"/>
          <a:chOff x="0" y="0"/>
          <a:chExt cx="0" cy="0"/>
        </a:xfrm>
      </p:grpSpPr>
      <p:sp>
        <p:nvSpPr>
          <p:cNvPr id="753" name="Google Shape;753;g25ade9e9821_0_7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4" name="Google Shape;754;g25ade9e9821_0_73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755" name="Google Shape;755;g25ade9e9821_0_73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fr-FR"/>
              <a:t>12</a:t>
            </a:fld>
            <a:endParaRPr/>
          </a:p>
        </p:txBody>
      </p:sp>
    </p:spTree>
    <p:extLst>
      <p:ext uri="{BB962C8B-B14F-4D97-AF65-F5344CB8AC3E}">
        <p14:creationId xmlns:p14="http://schemas.microsoft.com/office/powerpoint/2010/main" val="2158918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fr-FR" sz="1200" b="0" i="0" u="none" strike="noStrike" kern="1200" cap="none" spc="0" normalizeH="0" baseline="0" noProof="0" smtClean="0">
                <a:ln>
                  <a:noFill/>
                </a:ln>
                <a:solidFill>
                  <a:srgbClr val="000000"/>
                </a:solidFill>
                <a:effectLst/>
                <a:uLnTx/>
                <a:uFillTx/>
                <a:latin typeface="Calibri"/>
                <a:ea typeface="+mn-ea"/>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r-F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Tree>
    <p:extLst>
      <p:ext uri="{BB962C8B-B14F-4D97-AF65-F5344CB8AC3E}">
        <p14:creationId xmlns:p14="http://schemas.microsoft.com/office/powerpoint/2010/main" val="45422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8.emf"/><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oleObject" Target="../embeddings/oleObject5.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slideMaster" Target="../slideMasters/slideMaster1.xml"/><Relationship Id="rId5" Type="http://schemas.openxmlformats.org/officeDocument/2006/relationships/tags" Target="../tags/tag4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76B00E-A5B5-456C-B833-FFCE0DD1077B}"/>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265"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3543" name="Group 13542">
            <a:extLst>
              <a:ext uri="{FF2B5EF4-FFF2-40B4-BE49-F238E27FC236}">
                <a16:creationId xmlns:a16="http://schemas.microsoft.com/office/drawing/2014/main" id="{324CB67F-E6AF-4E4F-86E2-6244AF8AA2FF}"/>
              </a:ext>
            </a:extLst>
          </p:cNvPr>
          <p:cNvGrpSpPr/>
          <p:nvPr userDrawn="1"/>
        </p:nvGrpSpPr>
        <p:grpSpPr bwMode="ltGray">
          <a:xfrm flipH="1">
            <a:off x="555656" y="1677475"/>
            <a:ext cx="11636344" cy="4531276"/>
            <a:chOff x="-2860" y="1139256"/>
            <a:chExt cx="11404527" cy="4441070"/>
          </a:xfrm>
        </p:grpSpPr>
        <p:sp>
          <p:nvSpPr>
            <p:cNvPr id="7" name="Freeform: Shape 6">
              <a:extLst>
                <a:ext uri="{FF2B5EF4-FFF2-40B4-BE49-F238E27FC236}">
                  <a16:creationId xmlns:a16="http://schemas.microsoft.com/office/drawing/2014/main" id="{9FEDFC15-24CB-4F34-BF37-37868078D361}"/>
                </a:ext>
              </a:extLst>
            </p:cNvPr>
            <p:cNvSpPr/>
            <p:nvPr/>
          </p:nvSpPr>
          <p:spPr bwMode="ltGray">
            <a:xfrm>
              <a:off x="1824360" y="2593288"/>
              <a:ext cx="903520" cy="784695"/>
            </a:xfrm>
            <a:custGeom>
              <a:avLst/>
              <a:gdLst>
                <a:gd name="connsiteX0" fmla="*/ 665665 w 903520"/>
                <a:gd name="connsiteY0" fmla="*/ 762005 h 784695"/>
                <a:gd name="connsiteX1" fmla="*/ 239407 w 903520"/>
                <a:gd name="connsiteY1" fmla="*/ 762005 h 784695"/>
                <a:gd name="connsiteX2" fmla="*/ 26269 w 903520"/>
                <a:gd name="connsiteY2" fmla="*/ 392843 h 784695"/>
                <a:gd name="connsiteX3" fmla="*/ 239407 w 903520"/>
                <a:gd name="connsiteY3" fmla="*/ 23690 h 784695"/>
                <a:gd name="connsiteX4" fmla="*/ 665665 w 903520"/>
                <a:gd name="connsiteY4" fmla="*/ 23690 h 784695"/>
                <a:gd name="connsiteX5" fmla="*/ 878812 w 903520"/>
                <a:gd name="connsiteY5" fmla="*/ 392843 h 784695"/>
                <a:gd name="connsiteX6" fmla="*/ 665665 w 903520"/>
                <a:gd name="connsiteY6" fmla="*/ 762005 h 784695"/>
                <a:gd name="connsiteX7" fmla="*/ 229776 w 903520"/>
                <a:gd name="connsiteY7" fmla="*/ 7006 h 784695"/>
                <a:gd name="connsiteX8" fmla="*/ 7006 w 903520"/>
                <a:gd name="connsiteY8" fmla="*/ 392843 h 784695"/>
                <a:gd name="connsiteX9" fmla="*/ 229776 w 903520"/>
                <a:gd name="connsiteY9" fmla="*/ 778689 h 784695"/>
                <a:gd name="connsiteX10" fmla="*/ 675306 w 903520"/>
                <a:gd name="connsiteY10" fmla="*/ 778689 h 784695"/>
                <a:gd name="connsiteX11" fmla="*/ 898066 w 903520"/>
                <a:gd name="connsiteY11" fmla="*/ 392843 h 784695"/>
                <a:gd name="connsiteX12" fmla="*/ 675306 w 903520"/>
                <a:gd name="connsiteY12" fmla="*/ 7006 h 784695"/>
                <a:gd name="connsiteX13" fmla="*/ 229776 w 903520"/>
                <a:gd name="connsiteY13" fmla="*/ 7006 h 78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3520" h="784695">
                  <a:moveTo>
                    <a:pt x="665665" y="762005"/>
                  </a:moveTo>
                  <a:lnTo>
                    <a:pt x="239407" y="762005"/>
                  </a:lnTo>
                  <a:lnTo>
                    <a:pt x="26269" y="392843"/>
                  </a:lnTo>
                  <a:lnTo>
                    <a:pt x="239407" y="23690"/>
                  </a:lnTo>
                  <a:lnTo>
                    <a:pt x="665665" y="23690"/>
                  </a:lnTo>
                  <a:lnTo>
                    <a:pt x="878812" y="392843"/>
                  </a:lnTo>
                  <a:lnTo>
                    <a:pt x="665665" y="762005"/>
                  </a:lnTo>
                  <a:close/>
                  <a:moveTo>
                    <a:pt x="229776" y="7006"/>
                  </a:moveTo>
                  <a:lnTo>
                    <a:pt x="7006" y="392843"/>
                  </a:lnTo>
                  <a:lnTo>
                    <a:pt x="229776" y="778689"/>
                  </a:lnTo>
                  <a:lnTo>
                    <a:pt x="675306" y="778689"/>
                  </a:lnTo>
                  <a:lnTo>
                    <a:pt x="898066" y="392843"/>
                  </a:lnTo>
                  <a:lnTo>
                    <a:pt x="675306" y="7006"/>
                  </a:lnTo>
                  <a:lnTo>
                    <a:pt x="22977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8" name="Freeform: Shape 7">
              <a:extLst>
                <a:ext uri="{FF2B5EF4-FFF2-40B4-BE49-F238E27FC236}">
                  <a16:creationId xmlns:a16="http://schemas.microsoft.com/office/drawing/2014/main" id="{AAD5690B-047D-44EA-B989-038AE2ECDB30}"/>
                </a:ext>
              </a:extLst>
            </p:cNvPr>
            <p:cNvSpPr/>
            <p:nvPr/>
          </p:nvSpPr>
          <p:spPr bwMode="ltGray">
            <a:xfrm>
              <a:off x="-2860" y="2970783"/>
              <a:ext cx="1764443" cy="251102"/>
            </a:xfrm>
            <a:custGeom>
              <a:avLst/>
              <a:gdLst>
                <a:gd name="connsiteX0" fmla="*/ 353870 w 1764443"/>
                <a:gd name="connsiteY0" fmla="*/ 229440 h 251102"/>
                <a:gd name="connsiteX1" fmla="*/ 7006 w 1764443"/>
                <a:gd name="connsiteY1" fmla="*/ 229440 h 251102"/>
                <a:gd name="connsiteX2" fmla="*/ 7006 w 1764443"/>
                <a:gd name="connsiteY2" fmla="*/ 246124 h 251102"/>
                <a:gd name="connsiteX3" fmla="*/ 360773 w 1764443"/>
                <a:gd name="connsiteY3" fmla="*/ 246124 h 251102"/>
                <a:gd name="connsiteX4" fmla="*/ 583207 w 1764443"/>
                <a:gd name="connsiteY4" fmla="*/ 23690 h 251102"/>
                <a:gd name="connsiteX5" fmla="*/ 1758615 w 1764443"/>
                <a:gd name="connsiteY5" fmla="*/ 23690 h 251102"/>
                <a:gd name="connsiteX6" fmla="*/ 1758615 w 1764443"/>
                <a:gd name="connsiteY6" fmla="*/ 7006 h 251102"/>
                <a:gd name="connsiteX7" fmla="*/ 576294 w 1764443"/>
                <a:gd name="connsiteY7" fmla="*/ 7006 h 251102"/>
                <a:gd name="connsiteX8" fmla="*/ 353870 w 1764443"/>
                <a:gd name="connsiteY8" fmla="*/ 229440 h 25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4443" h="251102">
                  <a:moveTo>
                    <a:pt x="353870" y="229440"/>
                  </a:moveTo>
                  <a:lnTo>
                    <a:pt x="7006" y="229440"/>
                  </a:lnTo>
                  <a:lnTo>
                    <a:pt x="7006" y="246124"/>
                  </a:lnTo>
                  <a:lnTo>
                    <a:pt x="360773" y="246124"/>
                  </a:lnTo>
                  <a:lnTo>
                    <a:pt x="583207" y="23690"/>
                  </a:lnTo>
                  <a:lnTo>
                    <a:pt x="1758615" y="23690"/>
                  </a:lnTo>
                  <a:lnTo>
                    <a:pt x="1758615" y="7006"/>
                  </a:lnTo>
                  <a:lnTo>
                    <a:pt x="576294" y="7006"/>
                  </a:lnTo>
                  <a:lnTo>
                    <a:pt x="353870" y="22944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1" name="Freeform: Shape 10">
              <a:extLst>
                <a:ext uri="{FF2B5EF4-FFF2-40B4-BE49-F238E27FC236}">
                  <a16:creationId xmlns:a16="http://schemas.microsoft.com/office/drawing/2014/main" id="{A669ED4D-1F25-43FB-BC8E-F2999BF0CA8B}"/>
                </a:ext>
              </a:extLst>
            </p:cNvPr>
            <p:cNvSpPr/>
            <p:nvPr/>
          </p:nvSpPr>
          <p:spPr bwMode="ltGray">
            <a:xfrm>
              <a:off x="2805267" y="2970783"/>
              <a:ext cx="2715045" cy="506689"/>
            </a:xfrm>
            <a:custGeom>
              <a:avLst/>
              <a:gdLst>
                <a:gd name="connsiteX0" fmla="*/ 644375 w 2715045"/>
                <a:gd name="connsiteY0" fmla="*/ 7006 h 506688"/>
                <a:gd name="connsiteX1" fmla="*/ 7006 w 2715045"/>
                <a:gd name="connsiteY1" fmla="*/ 7006 h 506688"/>
                <a:gd name="connsiteX2" fmla="*/ 7006 w 2715045"/>
                <a:gd name="connsiteY2" fmla="*/ 23690 h 506688"/>
                <a:gd name="connsiteX3" fmla="*/ 637472 w 2715045"/>
                <a:gd name="connsiteY3" fmla="*/ 23690 h 506688"/>
                <a:gd name="connsiteX4" fmla="*/ 1112932 w 2715045"/>
                <a:gd name="connsiteY4" fmla="*/ 499151 h 506688"/>
                <a:gd name="connsiteX5" fmla="*/ 1115371 w 2715045"/>
                <a:gd name="connsiteY5" fmla="*/ 501598 h 506688"/>
                <a:gd name="connsiteX6" fmla="*/ 2709489 w 2715045"/>
                <a:gd name="connsiteY6" fmla="*/ 501598 h 506688"/>
                <a:gd name="connsiteX7" fmla="*/ 2709489 w 2715045"/>
                <a:gd name="connsiteY7" fmla="*/ 484914 h 506688"/>
                <a:gd name="connsiteX8" fmla="*/ 1122283 w 2715045"/>
                <a:gd name="connsiteY8" fmla="*/ 484914 h 506688"/>
                <a:gd name="connsiteX9" fmla="*/ 644375 w 2715045"/>
                <a:gd name="connsiteY9" fmla="*/ 700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5045" h="506688">
                  <a:moveTo>
                    <a:pt x="644375" y="7006"/>
                  </a:moveTo>
                  <a:lnTo>
                    <a:pt x="7006" y="7006"/>
                  </a:lnTo>
                  <a:lnTo>
                    <a:pt x="7006" y="23690"/>
                  </a:lnTo>
                  <a:lnTo>
                    <a:pt x="637472" y="23690"/>
                  </a:lnTo>
                  <a:lnTo>
                    <a:pt x="1112932" y="499151"/>
                  </a:lnTo>
                  <a:lnTo>
                    <a:pt x="1115371" y="501598"/>
                  </a:lnTo>
                  <a:lnTo>
                    <a:pt x="2709489" y="501598"/>
                  </a:lnTo>
                  <a:lnTo>
                    <a:pt x="2709489" y="484914"/>
                  </a:lnTo>
                  <a:lnTo>
                    <a:pt x="1122283" y="484914"/>
                  </a:lnTo>
                  <a:lnTo>
                    <a:pt x="644375"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2" name="Freeform: Shape 11">
              <a:extLst>
                <a:ext uri="{FF2B5EF4-FFF2-40B4-BE49-F238E27FC236}">
                  <a16:creationId xmlns:a16="http://schemas.microsoft.com/office/drawing/2014/main" id="{4B75C264-0E6C-430F-BC98-C38D65FC643B}"/>
                </a:ext>
              </a:extLst>
            </p:cNvPr>
            <p:cNvSpPr/>
            <p:nvPr/>
          </p:nvSpPr>
          <p:spPr bwMode="ltGray">
            <a:xfrm>
              <a:off x="-2860" y="2825904"/>
              <a:ext cx="1849639" cy="547045"/>
            </a:xfrm>
            <a:custGeom>
              <a:avLst/>
              <a:gdLst>
                <a:gd name="connsiteX0" fmla="*/ 1359392 w 1849638"/>
                <a:gd name="connsiteY0" fmla="*/ 7006 h 547044"/>
                <a:gd name="connsiteX1" fmla="*/ 650569 w 1849638"/>
                <a:gd name="connsiteY1" fmla="*/ 7006 h 547044"/>
                <a:gd name="connsiteX2" fmla="*/ 122627 w 1849638"/>
                <a:gd name="connsiteY2" fmla="*/ 534948 h 547044"/>
                <a:gd name="connsiteX3" fmla="*/ 7006 w 1849638"/>
                <a:gd name="connsiteY3" fmla="*/ 534948 h 547044"/>
                <a:gd name="connsiteX4" fmla="*/ 7006 w 1849638"/>
                <a:gd name="connsiteY4" fmla="*/ 540506 h 547044"/>
                <a:gd name="connsiteX5" fmla="*/ 124925 w 1849638"/>
                <a:gd name="connsiteY5" fmla="*/ 540506 h 547044"/>
                <a:gd name="connsiteX6" fmla="*/ 652876 w 1849638"/>
                <a:gd name="connsiteY6" fmla="*/ 12564 h 547044"/>
                <a:gd name="connsiteX7" fmla="*/ 1357094 w 1849638"/>
                <a:gd name="connsiteY7" fmla="*/ 12564 h 547044"/>
                <a:gd name="connsiteX8" fmla="*/ 1688105 w 1849638"/>
                <a:gd name="connsiteY8" fmla="*/ 343576 h 547044"/>
                <a:gd name="connsiteX9" fmla="*/ 1843858 w 1849638"/>
                <a:gd name="connsiteY9" fmla="*/ 343576 h 547044"/>
                <a:gd name="connsiteX10" fmla="*/ 1843858 w 1849638"/>
                <a:gd name="connsiteY10" fmla="*/ 338017 h 547044"/>
                <a:gd name="connsiteX11" fmla="*/ 1690412 w 1849638"/>
                <a:gd name="connsiteY11" fmla="*/ 338017 h 547044"/>
                <a:gd name="connsiteX12" fmla="*/ 1359392 w 1849638"/>
                <a:gd name="connsiteY12" fmla="*/ 7006 h 54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9638" h="547044">
                  <a:moveTo>
                    <a:pt x="1359392" y="7006"/>
                  </a:moveTo>
                  <a:lnTo>
                    <a:pt x="650569" y="7006"/>
                  </a:lnTo>
                  <a:lnTo>
                    <a:pt x="122627" y="534948"/>
                  </a:lnTo>
                  <a:lnTo>
                    <a:pt x="7006" y="534948"/>
                  </a:lnTo>
                  <a:lnTo>
                    <a:pt x="7006" y="540506"/>
                  </a:lnTo>
                  <a:lnTo>
                    <a:pt x="124925" y="540506"/>
                  </a:lnTo>
                  <a:lnTo>
                    <a:pt x="652876" y="12564"/>
                  </a:lnTo>
                  <a:lnTo>
                    <a:pt x="1357094" y="12564"/>
                  </a:lnTo>
                  <a:lnTo>
                    <a:pt x="1688105" y="343576"/>
                  </a:lnTo>
                  <a:lnTo>
                    <a:pt x="1843858" y="343576"/>
                  </a:lnTo>
                  <a:lnTo>
                    <a:pt x="1843858" y="338017"/>
                  </a:lnTo>
                  <a:lnTo>
                    <a:pt x="1690412" y="338017"/>
                  </a:lnTo>
                  <a:lnTo>
                    <a:pt x="135939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4" name="Freeform: Shape 13">
              <a:extLst>
                <a:ext uri="{FF2B5EF4-FFF2-40B4-BE49-F238E27FC236}">
                  <a16:creationId xmlns:a16="http://schemas.microsoft.com/office/drawing/2014/main" id="{D165D9A9-88F2-4C93-8A1E-66AE2895F9F3}"/>
                </a:ext>
              </a:extLst>
            </p:cNvPr>
            <p:cNvSpPr/>
            <p:nvPr/>
          </p:nvSpPr>
          <p:spPr bwMode="ltGray">
            <a:xfrm>
              <a:off x="-2860" y="3270322"/>
              <a:ext cx="3017714" cy="851955"/>
            </a:xfrm>
            <a:custGeom>
              <a:avLst/>
              <a:gdLst>
                <a:gd name="connsiteX0" fmla="*/ 2028738 w 3017713"/>
                <a:gd name="connsiteY0" fmla="*/ 415693 h 851954"/>
                <a:gd name="connsiteX1" fmla="*/ 877738 w 3017713"/>
                <a:gd name="connsiteY1" fmla="*/ 415693 h 851954"/>
                <a:gd name="connsiteX2" fmla="*/ 469052 w 3017713"/>
                <a:gd name="connsiteY2" fmla="*/ 7006 h 851954"/>
                <a:gd name="connsiteX3" fmla="*/ 7006 w 3017713"/>
                <a:gd name="connsiteY3" fmla="*/ 7006 h 851954"/>
                <a:gd name="connsiteX4" fmla="*/ 7006 w 3017713"/>
                <a:gd name="connsiteY4" fmla="*/ 12574 h 851954"/>
                <a:gd name="connsiteX5" fmla="*/ 466745 w 3017713"/>
                <a:gd name="connsiteY5" fmla="*/ 12574 h 851954"/>
                <a:gd name="connsiteX6" fmla="*/ 875440 w 3017713"/>
                <a:gd name="connsiteY6" fmla="*/ 421251 h 851954"/>
                <a:gd name="connsiteX7" fmla="*/ 2026440 w 3017713"/>
                <a:gd name="connsiteY7" fmla="*/ 421251 h 851954"/>
                <a:gd name="connsiteX8" fmla="*/ 2451810 w 3017713"/>
                <a:gd name="connsiteY8" fmla="*/ 846621 h 851954"/>
                <a:gd name="connsiteX9" fmla="*/ 3011775 w 3017713"/>
                <a:gd name="connsiteY9" fmla="*/ 846621 h 851954"/>
                <a:gd name="connsiteX10" fmla="*/ 3011775 w 3017713"/>
                <a:gd name="connsiteY10" fmla="*/ 841063 h 851954"/>
                <a:gd name="connsiteX11" fmla="*/ 2454108 w 3017713"/>
                <a:gd name="connsiteY11" fmla="*/ 841063 h 851954"/>
                <a:gd name="connsiteX12" fmla="*/ 2028738 w 3017713"/>
                <a:gd name="connsiteY12" fmla="*/ 415693 h 8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7713" h="851954">
                  <a:moveTo>
                    <a:pt x="2028738" y="415693"/>
                  </a:moveTo>
                  <a:lnTo>
                    <a:pt x="877738" y="415693"/>
                  </a:lnTo>
                  <a:lnTo>
                    <a:pt x="469052" y="7006"/>
                  </a:lnTo>
                  <a:lnTo>
                    <a:pt x="7006" y="7006"/>
                  </a:lnTo>
                  <a:lnTo>
                    <a:pt x="7006" y="12574"/>
                  </a:lnTo>
                  <a:lnTo>
                    <a:pt x="466745" y="12574"/>
                  </a:lnTo>
                  <a:lnTo>
                    <a:pt x="875440" y="421251"/>
                  </a:lnTo>
                  <a:lnTo>
                    <a:pt x="2026440" y="421251"/>
                  </a:lnTo>
                  <a:lnTo>
                    <a:pt x="2451810" y="846621"/>
                  </a:lnTo>
                  <a:lnTo>
                    <a:pt x="3011775" y="846621"/>
                  </a:lnTo>
                  <a:lnTo>
                    <a:pt x="3011775" y="841063"/>
                  </a:lnTo>
                  <a:lnTo>
                    <a:pt x="2454108" y="841063"/>
                  </a:lnTo>
                  <a:lnTo>
                    <a:pt x="2028738" y="41569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5" name="Freeform: Shape 14">
              <a:extLst>
                <a:ext uri="{FF2B5EF4-FFF2-40B4-BE49-F238E27FC236}">
                  <a16:creationId xmlns:a16="http://schemas.microsoft.com/office/drawing/2014/main" id="{27D8299B-4526-42CE-B345-23D469152E5B}"/>
                </a:ext>
              </a:extLst>
            </p:cNvPr>
            <p:cNvSpPr/>
            <p:nvPr/>
          </p:nvSpPr>
          <p:spPr bwMode="ltGray">
            <a:xfrm>
              <a:off x="5300180" y="3627219"/>
              <a:ext cx="775727" cy="672596"/>
            </a:xfrm>
            <a:custGeom>
              <a:avLst/>
              <a:gdLst>
                <a:gd name="connsiteX0" fmla="*/ 556097 w 775727"/>
                <a:gd name="connsiteY0" fmla="*/ 627897 h 672595"/>
                <a:gd name="connsiteX1" fmla="*/ 220368 w 775727"/>
                <a:gd name="connsiteY1" fmla="*/ 627897 h 672595"/>
                <a:gd name="connsiteX2" fmla="*/ 52500 w 775727"/>
                <a:gd name="connsiteY2" fmla="*/ 337148 h 672595"/>
                <a:gd name="connsiteX3" fmla="*/ 220368 w 775727"/>
                <a:gd name="connsiteY3" fmla="*/ 46400 h 672595"/>
                <a:gd name="connsiteX4" fmla="*/ 556097 w 775727"/>
                <a:gd name="connsiteY4" fmla="*/ 46400 h 672595"/>
                <a:gd name="connsiteX5" fmla="*/ 723957 w 775727"/>
                <a:gd name="connsiteY5" fmla="*/ 337148 h 672595"/>
                <a:gd name="connsiteX6" fmla="*/ 556097 w 775727"/>
                <a:gd name="connsiteY6" fmla="*/ 627897 h 672595"/>
                <a:gd name="connsiteX7" fmla="*/ 197622 w 775727"/>
                <a:gd name="connsiteY7" fmla="*/ 7006 h 672595"/>
                <a:gd name="connsiteX8" fmla="*/ 7006 w 775727"/>
                <a:gd name="connsiteY8" fmla="*/ 337148 h 672595"/>
                <a:gd name="connsiteX9" fmla="*/ 197622 w 775727"/>
                <a:gd name="connsiteY9" fmla="*/ 667290 h 672595"/>
                <a:gd name="connsiteX10" fmla="*/ 578835 w 775727"/>
                <a:gd name="connsiteY10" fmla="*/ 667290 h 672595"/>
                <a:gd name="connsiteX11" fmla="*/ 769441 w 775727"/>
                <a:gd name="connsiteY11" fmla="*/ 337148 h 672595"/>
                <a:gd name="connsiteX12" fmla="*/ 578835 w 775727"/>
                <a:gd name="connsiteY12" fmla="*/ 7006 h 672595"/>
                <a:gd name="connsiteX13" fmla="*/ 197622 w 775727"/>
                <a:gd name="connsiteY13" fmla="*/ 7006 h 67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5727" h="672595">
                  <a:moveTo>
                    <a:pt x="556097" y="627897"/>
                  </a:moveTo>
                  <a:lnTo>
                    <a:pt x="220368" y="627897"/>
                  </a:lnTo>
                  <a:lnTo>
                    <a:pt x="52500" y="337148"/>
                  </a:lnTo>
                  <a:lnTo>
                    <a:pt x="220368" y="46400"/>
                  </a:lnTo>
                  <a:lnTo>
                    <a:pt x="556097" y="46400"/>
                  </a:lnTo>
                  <a:lnTo>
                    <a:pt x="723957" y="337148"/>
                  </a:lnTo>
                  <a:lnTo>
                    <a:pt x="556097" y="627897"/>
                  </a:lnTo>
                  <a:close/>
                  <a:moveTo>
                    <a:pt x="197622" y="7006"/>
                  </a:moveTo>
                  <a:lnTo>
                    <a:pt x="7006" y="337148"/>
                  </a:lnTo>
                  <a:lnTo>
                    <a:pt x="197622" y="667290"/>
                  </a:lnTo>
                  <a:lnTo>
                    <a:pt x="578835" y="667290"/>
                  </a:lnTo>
                  <a:lnTo>
                    <a:pt x="769441" y="337148"/>
                  </a:lnTo>
                  <a:lnTo>
                    <a:pt x="578835" y="7006"/>
                  </a:lnTo>
                  <a:lnTo>
                    <a:pt x="19762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6" name="Freeform: Shape 15">
              <a:extLst>
                <a:ext uri="{FF2B5EF4-FFF2-40B4-BE49-F238E27FC236}">
                  <a16:creationId xmlns:a16="http://schemas.microsoft.com/office/drawing/2014/main" id="{0D2EC36D-4A99-4E84-86C6-72BA023FD7FD}"/>
                </a:ext>
              </a:extLst>
            </p:cNvPr>
            <p:cNvSpPr/>
            <p:nvPr/>
          </p:nvSpPr>
          <p:spPr bwMode="ltGray">
            <a:xfrm>
              <a:off x="2337439" y="1928436"/>
              <a:ext cx="576190" cy="502205"/>
            </a:xfrm>
            <a:custGeom>
              <a:avLst/>
              <a:gdLst>
                <a:gd name="connsiteX0" fmla="*/ 397635 w 576190"/>
                <a:gd name="connsiteY0" fmla="*/ 439299 h 502204"/>
                <a:gd name="connsiteX1" fmla="*/ 180536 w 576190"/>
                <a:gd name="connsiteY1" fmla="*/ 439299 h 502204"/>
                <a:gd name="connsiteX2" fmla="*/ 71987 w 576190"/>
                <a:gd name="connsiteY2" fmla="*/ 251289 h 502204"/>
                <a:gd name="connsiteX3" fmla="*/ 180536 w 576190"/>
                <a:gd name="connsiteY3" fmla="*/ 63280 h 502204"/>
                <a:gd name="connsiteX4" fmla="*/ 397635 w 576190"/>
                <a:gd name="connsiteY4" fmla="*/ 63280 h 502204"/>
                <a:gd name="connsiteX5" fmla="*/ 506185 w 576190"/>
                <a:gd name="connsiteY5" fmla="*/ 251289 h 502204"/>
                <a:gd name="connsiteX6" fmla="*/ 397635 w 576190"/>
                <a:gd name="connsiteY6" fmla="*/ 439299 h 502204"/>
                <a:gd name="connsiteX7" fmla="*/ 148046 w 576190"/>
                <a:gd name="connsiteY7" fmla="*/ 7006 h 502204"/>
                <a:gd name="connsiteX8" fmla="*/ 7006 w 576190"/>
                <a:gd name="connsiteY8" fmla="*/ 251289 h 502204"/>
                <a:gd name="connsiteX9" fmla="*/ 148046 w 576190"/>
                <a:gd name="connsiteY9" fmla="*/ 495582 h 502204"/>
                <a:gd name="connsiteX10" fmla="*/ 430125 w 576190"/>
                <a:gd name="connsiteY10" fmla="*/ 495582 h 502204"/>
                <a:gd name="connsiteX11" fmla="*/ 571165 w 576190"/>
                <a:gd name="connsiteY11" fmla="*/ 251289 h 502204"/>
                <a:gd name="connsiteX12" fmla="*/ 430125 w 576190"/>
                <a:gd name="connsiteY12" fmla="*/ 7006 h 502204"/>
                <a:gd name="connsiteX13" fmla="*/ 148046 w 576190"/>
                <a:gd name="connsiteY13" fmla="*/ 7006 h 50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190" h="502204">
                  <a:moveTo>
                    <a:pt x="397635" y="439299"/>
                  </a:moveTo>
                  <a:lnTo>
                    <a:pt x="180536" y="439299"/>
                  </a:lnTo>
                  <a:lnTo>
                    <a:pt x="71987" y="251289"/>
                  </a:lnTo>
                  <a:lnTo>
                    <a:pt x="180536" y="63280"/>
                  </a:lnTo>
                  <a:lnTo>
                    <a:pt x="397635" y="63280"/>
                  </a:lnTo>
                  <a:lnTo>
                    <a:pt x="506185" y="251289"/>
                  </a:lnTo>
                  <a:lnTo>
                    <a:pt x="397635" y="439299"/>
                  </a:lnTo>
                  <a:close/>
                  <a:moveTo>
                    <a:pt x="148046" y="7006"/>
                  </a:moveTo>
                  <a:lnTo>
                    <a:pt x="7006" y="251289"/>
                  </a:lnTo>
                  <a:lnTo>
                    <a:pt x="148046" y="495582"/>
                  </a:lnTo>
                  <a:lnTo>
                    <a:pt x="430125" y="495582"/>
                  </a:lnTo>
                  <a:lnTo>
                    <a:pt x="571165" y="251289"/>
                  </a:lnTo>
                  <a:lnTo>
                    <a:pt x="430125" y="7006"/>
                  </a:lnTo>
                  <a:lnTo>
                    <a:pt x="14804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7" name="Freeform: Shape 16">
              <a:extLst>
                <a:ext uri="{FF2B5EF4-FFF2-40B4-BE49-F238E27FC236}">
                  <a16:creationId xmlns:a16="http://schemas.microsoft.com/office/drawing/2014/main" id="{80BD8807-D996-4529-89F5-121C9BECFF13}"/>
                </a:ext>
              </a:extLst>
            </p:cNvPr>
            <p:cNvSpPr/>
            <p:nvPr/>
          </p:nvSpPr>
          <p:spPr bwMode="ltGray">
            <a:xfrm>
              <a:off x="2819261" y="4481154"/>
              <a:ext cx="309394" cy="309394"/>
            </a:xfrm>
            <a:custGeom>
              <a:avLst/>
              <a:gdLst>
                <a:gd name="connsiteX0" fmla="*/ 155753 w 309394"/>
                <a:gd name="connsiteY0" fmla="*/ 276353 h 309394"/>
                <a:gd name="connsiteX1" fmla="*/ 35143 w 309394"/>
                <a:gd name="connsiteY1" fmla="*/ 155743 h 309394"/>
                <a:gd name="connsiteX2" fmla="*/ 155753 w 309394"/>
                <a:gd name="connsiteY2" fmla="*/ 35134 h 309394"/>
                <a:gd name="connsiteX3" fmla="*/ 276353 w 309394"/>
                <a:gd name="connsiteY3" fmla="*/ 155743 h 309394"/>
                <a:gd name="connsiteX4" fmla="*/ 155753 w 309394"/>
                <a:gd name="connsiteY4" fmla="*/ 276353 h 309394"/>
                <a:gd name="connsiteX5" fmla="*/ 155753 w 309394"/>
                <a:gd name="connsiteY5" fmla="*/ 7006 h 309394"/>
                <a:gd name="connsiteX6" fmla="*/ 7006 w 309394"/>
                <a:gd name="connsiteY6" fmla="*/ 155743 h 309394"/>
                <a:gd name="connsiteX7" fmla="*/ 155753 w 309394"/>
                <a:gd name="connsiteY7" fmla="*/ 304481 h 309394"/>
                <a:gd name="connsiteX8" fmla="*/ 304490 w 309394"/>
                <a:gd name="connsiteY8" fmla="*/ 15574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41" y="276353"/>
                    <a:pt x="35143" y="222246"/>
                    <a:pt x="35143" y="155743"/>
                  </a:cubicBezTo>
                  <a:cubicBezTo>
                    <a:pt x="35143" y="89241"/>
                    <a:pt x="89241" y="35134"/>
                    <a:pt x="155753" y="35134"/>
                  </a:cubicBezTo>
                  <a:cubicBezTo>
                    <a:pt x="222247" y="35134"/>
                    <a:pt x="276353" y="89241"/>
                    <a:pt x="276353" y="155743"/>
                  </a:cubicBezTo>
                  <a:cubicBezTo>
                    <a:pt x="276353" y="222246"/>
                    <a:pt x="222247" y="276353"/>
                    <a:pt x="155753" y="276353"/>
                  </a:cubicBezTo>
                  <a:close/>
                  <a:moveTo>
                    <a:pt x="155753" y="7006"/>
                  </a:moveTo>
                  <a:cubicBezTo>
                    <a:pt x="73733" y="7006"/>
                    <a:pt x="7006" y="73724"/>
                    <a:pt x="7006" y="155743"/>
                  </a:cubicBezTo>
                  <a:cubicBezTo>
                    <a:pt x="7006" y="237763"/>
                    <a:pt x="73733" y="304481"/>
                    <a:pt x="155753" y="304481"/>
                  </a:cubicBezTo>
                  <a:cubicBezTo>
                    <a:pt x="237763" y="304481"/>
                    <a:pt x="304490" y="237763"/>
                    <a:pt x="304490" y="155743"/>
                  </a:cubicBezTo>
                  <a:cubicBezTo>
                    <a:pt x="304490" y="73724"/>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8" name="Freeform: Shape 17">
              <a:extLst>
                <a:ext uri="{FF2B5EF4-FFF2-40B4-BE49-F238E27FC236}">
                  <a16:creationId xmlns:a16="http://schemas.microsoft.com/office/drawing/2014/main" id="{66DE31F6-94CA-4A88-A859-62DFCD8174E9}"/>
                </a:ext>
              </a:extLst>
            </p:cNvPr>
            <p:cNvSpPr/>
            <p:nvPr/>
          </p:nvSpPr>
          <p:spPr bwMode="ltGray">
            <a:xfrm>
              <a:off x="3906961"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4" y="88007"/>
                    <a:pt x="15470" y="71744"/>
                    <a:pt x="15470" y="51734"/>
                  </a:cubicBezTo>
                  <a:cubicBezTo>
                    <a:pt x="15470" y="31734"/>
                    <a:pt x="31734" y="15469"/>
                    <a:pt x="51734" y="15469"/>
                  </a:cubicBezTo>
                  <a:cubicBezTo>
                    <a:pt x="71734" y="15469"/>
                    <a:pt x="88008" y="31734"/>
                    <a:pt x="88008" y="51734"/>
                  </a:cubicBezTo>
                  <a:cubicBezTo>
                    <a:pt x="88008" y="71744"/>
                    <a:pt x="71734" y="88007"/>
                    <a:pt x="51734" y="88007"/>
                  </a:cubicBezTo>
                  <a:close/>
                  <a:moveTo>
                    <a:pt x="51734" y="7006"/>
                  </a:moveTo>
                  <a:cubicBezTo>
                    <a:pt x="27072" y="7006"/>
                    <a:pt x="7006" y="27063"/>
                    <a:pt x="7006" y="51734"/>
                  </a:cubicBezTo>
                  <a:cubicBezTo>
                    <a:pt x="7006" y="76405"/>
                    <a:pt x="2707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9" name="Freeform: Shape 18">
              <a:extLst>
                <a:ext uri="{FF2B5EF4-FFF2-40B4-BE49-F238E27FC236}">
                  <a16:creationId xmlns:a16="http://schemas.microsoft.com/office/drawing/2014/main" id="{651A8BD3-A76D-46D4-B266-F379C504A9A2}"/>
                </a:ext>
              </a:extLst>
            </p:cNvPr>
            <p:cNvSpPr/>
            <p:nvPr/>
          </p:nvSpPr>
          <p:spPr bwMode="ltGray">
            <a:xfrm>
              <a:off x="695080" y="3091467"/>
              <a:ext cx="103131" cy="103131"/>
            </a:xfrm>
            <a:custGeom>
              <a:avLst/>
              <a:gdLst>
                <a:gd name="connsiteX0" fmla="*/ 51743 w 103131"/>
                <a:gd name="connsiteY0" fmla="*/ 88007 h 103131"/>
                <a:gd name="connsiteX1" fmla="*/ 15470 w 103131"/>
                <a:gd name="connsiteY1" fmla="*/ 51734 h 103131"/>
                <a:gd name="connsiteX2" fmla="*/ 51743 w 103131"/>
                <a:gd name="connsiteY2" fmla="*/ 15470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71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70"/>
                    <a:pt x="51743" y="15470"/>
                  </a:cubicBezTo>
                  <a:cubicBezTo>
                    <a:pt x="71744" y="15470"/>
                    <a:pt x="88017" y="31734"/>
                    <a:pt x="88017" y="51734"/>
                  </a:cubicBezTo>
                  <a:cubicBezTo>
                    <a:pt x="88017" y="71744"/>
                    <a:pt x="71744" y="88007"/>
                    <a:pt x="51743" y="88007"/>
                  </a:cubicBezTo>
                  <a:close/>
                  <a:moveTo>
                    <a:pt x="51743" y="7006"/>
                  </a:moveTo>
                  <a:cubicBezTo>
                    <a:pt x="27072" y="7006"/>
                    <a:pt x="7006" y="27072"/>
                    <a:pt x="7006" y="51734"/>
                  </a:cubicBezTo>
                  <a:cubicBezTo>
                    <a:pt x="7006" y="76405"/>
                    <a:pt x="27072" y="96471"/>
                    <a:pt x="51743" y="96471"/>
                  </a:cubicBezTo>
                  <a:cubicBezTo>
                    <a:pt x="76405" y="96471"/>
                    <a:pt x="96471" y="76405"/>
                    <a:pt x="96471" y="51734"/>
                  </a:cubicBezTo>
                  <a:cubicBezTo>
                    <a:pt x="96471" y="27072"/>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0" name="Freeform: Shape 19">
              <a:extLst>
                <a:ext uri="{FF2B5EF4-FFF2-40B4-BE49-F238E27FC236}">
                  <a16:creationId xmlns:a16="http://schemas.microsoft.com/office/drawing/2014/main" id="{34083F2C-93A2-439D-8F39-67F12681D165}"/>
                </a:ext>
              </a:extLst>
            </p:cNvPr>
            <p:cNvSpPr/>
            <p:nvPr/>
          </p:nvSpPr>
          <p:spPr bwMode="ltGray">
            <a:xfrm>
              <a:off x="4058912"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80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43" y="88007"/>
                    <a:pt x="15470" y="71744"/>
                    <a:pt x="15470" y="51734"/>
                  </a:cubicBezTo>
                  <a:cubicBezTo>
                    <a:pt x="15470" y="31734"/>
                    <a:pt x="31743" y="15469"/>
                    <a:pt x="51734" y="15469"/>
                  </a:cubicBezTo>
                  <a:cubicBezTo>
                    <a:pt x="71744" y="15469"/>
                    <a:pt x="88008" y="31734"/>
                    <a:pt x="88008" y="51734"/>
                  </a:cubicBezTo>
                  <a:cubicBezTo>
                    <a:pt x="88008" y="71744"/>
                    <a:pt x="71744" y="88007"/>
                    <a:pt x="51734" y="88007"/>
                  </a:cubicBezTo>
                  <a:close/>
                  <a:moveTo>
                    <a:pt x="51734" y="7006"/>
                  </a:moveTo>
                  <a:cubicBezTo>
                    <a:pt x="27072" y="7006"/>
                    <a:pt x="7006" y="27063"/>
                    <a:pt x="7006" y="51734"/>
                  </a:cubicBezTo>
                  <a:cubicBezTo>
                    <a:pt x="7006" y="76405"/>
                    <a:pt x="27072" y="96471"/>
                    <a:pt x="51734" y="96471"/>
                  </a:cubicBezTo>
                  <a:cubicBezTo>
                    <a:pt x="76405" y="96471"/>
                    <a:pt x="96480" y="76405"/>
                    <a:pt x="96480" y="51734"/>
                  </a:cubicBezTo>
                  <a:cubicBezTo>
                    <a:pt x="96480"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1" name="Freeform: Shape 20">
              <a:extLst>
                <a:ext uri="{FF2B5EF4-FFF2-40B4-BE49-F238E27FC236}">
                  <a16:creationId xmlns:a16="http://schemas.microsoft.com/office/drawing/2014/main" id="{192168E2-3566-46D6-A5ED-D6FD7BA0B944}"/>
                </a:ext>
              </a:extLst>
            </p:cNvPr>
            <p:cNvSpPr/>
            <p:nvPr/>
          </p:nvSpPr>
          <p:spPr bwMode="ltGray">
            <a:xfrm>
              <a:off x="4210872" y="4602044"/>
              <a:ext cx="103131" cy="103131"/>
            </a:xfrm>
            <a:custGeom>
              <a:avLst/>
              <a:gdLst>
                <a:gd name="connsiteX0" fmla="*/ 51734 w 103131"/>
                <a:gd name="connsiteY0" fmla="*/ 88007 h 103131"/>
                <a:gd name="connsiteX1" fmla="*/ 15469 w 103131"/>
                <a:gd name="connsiteY1" fmla="*/ 51734 h 103131"/>
                <a:gd name="connsiteX2" fmla="*/ 51734 w 103131"/>
                <a:gd name="connsiteY2" fmla="*/ 15469 h 103131"/>
                <a:gd name="connsiteX3" fmla="*/ 88007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3" y="88007"/>
                    <a:pt x="15469" y="71744"/>
                    <a:pt x="15469" y="51734"/>
                  </a:cubicBezTo>
                  <a:cubicBezTo>
                    <a:pt x="15469" y="31734"/>
                    <a:pt x="31733" y="15469"/>
                    <a:pt x="51734" y="15469"/>
                  </a:cubicBezTo>
                  <a:cubicBezTo>
                    <a:pt x="71734" y="15469"/>
                    <a:pt x="88007" y="31734"/>
                    <a:pt x="88007" y="51734"/>
                  </a:cubicBezTo>
                  <a:cubicBezTo>
                    <a:pt x="88007" y="71744"/>
                    <a:pt x="71734" y="88007"/>
                    <a:pt x="51734" y="88007"/>
                  </a:cubicBezTo>
                  <a:close/>
                  <a:moveTo>
                    <a:pt x="51734" y="7006"/>
                  </a:moveTo>
                  <a:cubicBezTo>
                    <a:pt x="27062" y="7006"/>
                    <a:pt x="7006" y="27063"/>
                    <a:pt x="7006" y="51734"/>
                  </a:cubicBezTo>
                  <a:cubicBezTo>
                    <a:pt x="7006" y="76405"/>
                    <a:pt x="2706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2" name="Freeform: Shape 21">
              <a:extLst>
                <a:ext uri="{FF2B5EF4-FFF2-40B4-BE49-F238E27FC236}">
                  <a16:creationId xmlns:a16="http://schemas.microsoft.com/office/drawing/2014/main" id="{2406F118-0906-4EE7-AE23-D19C8E2A2C08}"/>
                </a:ext>
              </a:extLst>
            </p:cNvPr>
            <p:cNvSpPr/>
            <p:nvPr/>
          </p:nvSpPr>
          <p:spPr bwMode="ltGray">
            <a:xfrm>
              <a:off x="4362823" y="4602044"/>
              <a:ext cx="103131" cy="103131"/>
            </a:xfrm>
            <a:custGeom>
              <a:avLst/>
              <a:gdLst>
                <a:gd name="connsiteX0" fmla="*/ 51743 w 103131"/>
                <a:gd name="connsiteY0" fmla="*/ 88007 h 103131"/>
                <a:gd name="connsiteX1" fmla="*/ 15470 w 103131"/>
                <a:gd name="connsiteY1" fmla="*/ 51734 h 103131"/>
                <a:gd name="connsiteX2" fmla="*/ 51743 w 103131"/>
                <a:gd name="connsiteY2" fmla="*/ 15469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80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69"/>
                    <a:pt x="51743" y="15469"/>
                  </a:cubicBezTo>
                  <a:cubicBezTo>
                    <a:pt x="71744" y="15469"/>
                    <a:pt x="88017" y="31734"/>
                    <a:pt x="88017" y="51734"/>
                  </a:cubicBezTo>
                  <a:cubicBezTo>
                    <a:pt x="88017" y="71744"/>
                    <a:pt x="71744" y="88007"/>
                    <a:pt x="51743" y="88007"/>
                  </a:cubicBezTo>
                  <a:close/>
                  <a:moveTo>
                    <a:pt x="51743" y="7006"/>
                  </a:moveTo>
                  <a:cubicBezTo>
                    <a:pt x="27072" y="7006"/>
                    <a:pt x="7006" y="27063"/>
                    <a:pt x="7006" y="51734"/>
                  </a:cubicBezTo>
                  <a:cubicBezTo>
                    <a:pt x="7006" y="76405"/>
                    <a:pt x="27072" y="96471"/>
                    <a:pt x="51743" y="96471"/>
                  </a:cubicBezTo>
                  <a:cubicBezTo>
                    <a:pt x="76405" y="96471"/>
                    <a:pt x="96480" y="76405"/>
                    <a:pt x="96480" y="51734"/>
                  </a:cubicBezTo>
                  <a:cubicBezTo>
                    <a:pt x="96480" y="27063"/>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3" name="Freeform: Shape 22">
              <a:extLst>
                <a:ext uri="{FF2B5EF4-FFF2-40B4-BE49-F238E27FC236}">
                  <a16:creationId xmlns:a16="http://schemas.microsoft.com/office/drawing/2014/main" id="{32DBD058-2DD8-479B-8476-DF4D1BBDF9FC}"/>
                </a:ext>
              </a:extLst>
            </p:cNvPr>
            <p:cNvSpPr/>
            <p:nvPr/>
          </p:nvSpPr>
          <p:spPr bwMode="ltGray">
            <a:xfrm>
              <a:off x="4823692" y="3926402"/>
              <a:ext cx="139003" cy="139003"/>
            </a:xfrm>
            <a:custGeom>
              <a:avLst/>
              <a:gdLst>
                <a:gd name="connsiteX0" fmla="*/ 69745 w 139003"/>
                <a:gd name="connsiteY0" fmla="*/ 98713 h 139003"/>
                <a:gd name="connsiteX1" fmla="*/ 40776 w 139003"/>
                <a:gd name="connsiteY1" fmla="*/ 69754 h 139003"/>
                <a:gd name="connsiteX2" fmla="*/ 69745 w 139003"/>
                <a:gd name="connsiteY2" fmla="*/ 40776 h 139003"/>
                <a:gd name="connsiteX3" fmla="*/ 98722 w 139003"/>
                <a:gd name="connsiteY3" fmla="*/ 69754 h 139003"/>
                <a:gd name="connsiteX4" fmla="*/ 69745 w 139003"/>
                <a:gd name="connsiteY4" fmla="*/ 98713 h 139003"/>
                <a:gd name="connsiteX5" fmla="*/ 69745 w 139003"/>
                <a:gd name="connsiteY5" fmla="*/ 7006 h 139003"/>
                <a:gd name="connsiteX6" fmla="*/ 7006 w 139003"/>
                <a:gd name="connsiteY6" fmla="*/ 69754 h 139003"/>
                <a:gd name="connsiteX7" fmla="*/ 69745 w 139003"/>
                <a:gd name="connsiteY7" fmla="*/ 132492 h 139003"/>
                <a:gd name="connsiteX8" fmla="*/ 132492 w 139003"/>
                <a:gd name="connsiteY8" fmla="*/ 69754 h 139003"/>
                <a:gd name="connsiteX9" fmla="*/ 69745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45" y="98713"/>
                  </a:moveTo>
                  <a:cubicBezTo>
                    <a:pt x="53780" y="98713"/>
                    <a:pt x="40776" y="85728"/>
                    <a:pt x="40776" y="69754"/>
                  </a:cubicBezTo>
                  <a:cubicBezTo>
                    <a:pt x="40776" y="53770"/>
                    <a:pt x="53780" y="40776"/>
                    <a:pt x="69745" y="40776"/>
                  </a:cubicBezTo>
                  <a:cubicBezTo>
                    <a:pt x="85728" y="40776"/>
                    <a:pt x="98722" y="53770"/>
                    <a:pt x="98722" y="69754"/>
                  </a:cubicBezTo>
                  <a:cubicBezTo>
                    <a:pt x="98722" y="85728"/>
                    <a:pt x="85728" y="98713"/>
                    <a:pt x="69745" y="98713"/>
                  </a:cubicBezTo>
                  <a:close/>
                  <a:moveTo>
                    <a:pt x="69745" y="7006"/>
                  </a:moveTo>
                  <a:cubicBezTo>
                    <a:pt x="35153" y="7006"/>
                    <a:pt x="7006" y="35153"/>
                    <a:pt x="7006" y="69754"/>
                  </a:cubicBezTo>
                  <a:cubicBezTo>
                    <a:pt x="7006" y="104346"/>
                    <a:pt x="35153" y="132492"/>
                    <a:pt x="69745" y="132492"/>
                  </a:cubicBezTo>
                  <a:cubicBezTo>
                    <a:pt x="104346" y="132492"/>
                    <a:pt x="132492" y="104346"/>
                    <a:pt x="132492" y="69754"/>
                  </a:cubicBezTo>
                  <a:cubicBezTo>
                    <a:pt x="132492" y="35153"/>
                    <a:pt x="104346" y="7006"/>
                    <a:pt x="6974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4" name="Freeform: Shape 23">
              <a:extLst>
                <a:ext uri="{FF2B5EF4-FFF2-40B4-BE49-F238E27FC236}">
                  <a16:creationId xmlns:a16="http://schemas.microsoft.com/office/drawing/2014/main" id="{07EFCF82-0DE3-494E-B6C4-F5C503F2625A}"/>
                </a:ext>
              </a:extLst>
            </p:cNvPr>
            <p:cNvSpPr/>
            <p:nvPr/>
          </p:nvSpPr>
          <p:spPr bwMode="ltGray">
            <a:xfrm>
              <a:off x="3096352" y="3707257"/>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49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70" y="98722"/>
                    <a:pt x="40776" y="85728"/>
                    <a:pt x="40776" y="69754"/>
                  </a:cubicBezTo>
                  <a:cubicBezTo>
                    <a:pt x="40776" y="53780"/>
                    <a:pt x="53770" y="40776"/>
                    <a:pt x="69754" y="40776"/>
                  </a:cubicBezTo>
                  <a:cubicBezTo>
                    <a:pt x="85719" y="40776"/>
                    <a:pt x="98722" y="53780"/>
                    <a:pt x="98722" y="69754"/>
                  </a:cubicBezTo>
                  <a:cubicBezTo>
                    <a:pt x="98722" y="85728"/>
                    <a:pt x="85719" y="98722"/>
                    <a:pt x="69754" y="98722"/>
                  </a:cubicBezTo>
                  <a:close/>
                  <a:moveTo>
                    <a:pt x="69754" y="7006"/>
                  </a:moveTo>
                  <a:cubicBezTo>
                    <a:pt x="35153" y="7006"/>
                    <a:pt x="7006" y="35162"/>
                    <a:pt x="7006" y="69754"/>
                  </a:cubicBezTo>
                  <a:cubicBezTo>
                    <a:pt x="7006" y="104355"/>
                    <a:pt x="35153" y="132492"/>
                    <a:pt x="69754" y="132492"/>
                  </a:cubicBezTo>
                  <a:cubicBezTo>
                    <a:pt x="104346" y="132492"/>
                    <a:pt x="132492" y="104355"/>
                    <a:pt x="132492" y="69754"/>
                  </a:cubicBezTo>
                  <a:cubicBezTo>
                    <a:pt x="132492" y="35162"/>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5" name="Freeform: Shape 24">
              <a:extLst>
                <a:ext uri="{FF2B5EF4-FFF2-40B4-BE49-F238E27FC236}">
                  <a16:creationId xmlns:a16="http://schemas.microsoft.com/office/drawing/2014/main" id="{6B7DB092-3462-4203-BDD4-69F5A54CE6A0}"/>
                </a:ext>
              </a:extLst>
            </p:cNvPr>
            <p:cNvSpPr/>
            <p:nvPr/>
          </p:nvSpPr>
          <p:spPr bwMode="ltGray">
            <a:xfrm>
              <a:off x="4671638" y="3627386"/>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50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80" y="98722"/>
                    <a:pt x="40776" y="85728"/>
                    <a:pt x="40776" y="69754"/>
                  </a:cubicBezTo>
                  <a:cubicBezTo>
                    <a:pt x="40776" y="53780"/>
                    <a:pt x="53780" y="40776"/>
                    <a:pt x="69754" y="40776"/>
                  </a:cubicBezTo>
                  <a:cubicBezTo>
                    <a:pt x="85728" y="40776"/>
                    <a:pt x="98722" y="53780"/>
                    <a:pt x="98722" y="69754"/>
                  </a:cubicBezTo>
                  <a:cubicBezTo>
                    <a:pt x="98722" y="85728"/>
                    <a:pt x="85728" y="98722"/>
                    <a:pt x="69754" y="98722"/>
                  </a:cubicBezTo>
                  <a:close/>
                  <a:moveTo>
                    <a:pt x="69754" y="7006"/>
                  </a:moveTo>
                  <a:cubicBezTo>
                    <a:pt x="35153" y="7006"/>
                    <a:pt x="7006" y="35153"/>
                    <a:pt x="7006" y="69754"/>
                  </a:cubicBezTo>
                  <a:cubicBezTo>
                    <a:pt x="7006" y="104346"/>
                    <a:pt x="35153" y="132502"/>
                    <a:pt x="69754" y="132502"/>
                  </a:cubicBezTo>
                  <a:cubicBezTo>
                    <a:pt x="104346" y="132502"/>
                    <a:pt x="132492" y="104346"/>
                    <a:pt x="132492" y="69754"/>
                  </a:cubicBezTo>
                  <a:cubicBezTo>
                    <a:pt x="132492" y="35153"/>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6" name="Freeform: Shape 25">
              <a:extLst>
                <a:ext uri="{FF2B5EF4-FFF2-40B4-BE49-F238E27FC236}">
                  <a16:creationId xmlns:a16="http://schemas.microsoft.com/office/drawing/2014/main" id="{CC1AF170-4BAF-47B6-A9A9-0C1C8EB336CD}"/>
                </a:ext>
              </a:extLst>
            </p:cNvPr>
            <p:cNvSpPr/>
            <p:nvPr/>
          </p:nvSpPr>
          <p:spPr bwMode="ltGray">
            <a:xfrm>
              <a:off x="4031943" y="2514202"/>
              <a:ext cx="105373" cy="105373"/>
            </a:xfrm>
            <a:custGeom>
              <a:avLst/>
              <a:gdLst>
                <a:gd name="connsiteX0" fmla="*/ 52864 w 105373"/>
                <a:gd name="connsiteY0" fmla="*/ 7006 h 105373"/>
                <a:gd name="connsiteX1" fmla="*/ 7006 w 105373"/>
                <a:gd name="connsiteY1" fmla="*/ 52874 h 105373"/>
                <a:gd name="connsiteX2" fmla="*/ 52864 w 105373"/>
                <a:gd name="connsiteY2" fmla="*/ 9872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74"/>
                  </a:cubicBezTo>
                  <a:cubicBezTo>
                    <a:pt x="7006" y="78199"/>
                    <a:pt x="27539" y="98722"/>
                    <a:pt x="52864" y="98722"/>
                  </a:cubicBezTo>
                  <a:cubicBezTo>
                    <a:pt x="78189" y="98722"/>
                    <a:pt x="98722" y="78199"/>
                    <a:pt x="98722" y="5287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7" name="Freeform: Shape 26">
              <a:extLst>
                <a:ext uri="{FF2B5EF4-FFF2-40B4-BE49-F238E27FC236}">
                  <a16:creationId xmlns:a16="http://schemas.microsoft.com/office/drawing/2014/main" id="{6BBC800A-F131-4E6D-AA5E-A3DF9D46444A}"/>
                </a:ext>
              </a:extLst>
            </p:cNvPr>
            <p:cNvSpPr/>
            <p:nvPr/>
          </p:nvSpPr>
          <p:spPr bwMode="ltGray">
            <a:xfrm>
              <a:off x="3024160" y="4062510"/>
              <a:ext cx="105373" cy="105373"/>
            </a:xfrm>
            <a:custGeom>
              <a:avLst/>
              <a:gdLst>
                <a:gd name="connsiteX0" fmla="*/ 52864 w 105373"/>
                <a:gd name="connsiteY0" fmla="*/ 7006 h 105373"/>
                <a:gd name="connsiteX1" fmla="*/ 7006 w 105373"/>
                <a:gd name="connsiteY1" fmla="*/ 52864 h 105373"/>
                <a:gd name="connsiteX2" fmla="*/ 52864 w 105373"/>
                <a:gd name="connsiteY2" fmla="*/ 98732 h 105373"/>
                <a:gd name="connsiteX3" fmla="*/ 98722 w 105373"/>
                <a:gd name="connsiteY3" fmla="*/ 5286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64"/>
                  </a:cubicBezTo>
                  <a:cubicBezTo>
                    <a:pt x="7006" y="78189"/>
                    <a:pt x="27539" y="98732"/>
                    <a:pt x="52864" y="98732"/>
                  </a:cubicBezTo>
                  <a:cubicBezTo>
                    <a:pt x="78189" y="98732"/>
                    <a:pt x="98722" y="78189"/>
                    <a:pt x="98722" y="5286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8" name="Freeform: Shape 27">
              <a:extLst>
                <a:ext uri="{FF2B5EF4-FFF2-40B4-BE49-F238E27FC236}">
                  <a16:creationId xmlns:a16="http://schemas.microsoft.com/office/drawing/2014/main" id="{C9678FFF-E84A-4EB4-9168-E6CCA4BC123C}"/>
                </a:ext>
              </a:extLst>
            </p:cNvPr>
            <p:cNvSpPr/>
            <p:nvPr/>
          </p:nvSpPr>
          <p:spPr bwMode="ltGray">
            <a:xfrm>
              <a:off x="1226814" y="3090337"/>
              <a:ext cx="105373" cy="105373"/>
            </a:xfrm>
            <a:custGeom>
              <a:avLst/>
              <a:gdLst>
                <a:gd name="connsiteX0" fmla="*/ 52855 w 105373"/>
                <a:gd name="connsiteY0" fmla="*/ 7006 h 105373"/>
                <a:gd name="connsiteX1" fmla="*/ 7006 w 105373"/>
                <a:gd name="connsiteY1" fmla="*/ 52864 h 105373"/>
                <a:gd name="connsiteX2" fmla="*/ 52855 w 105373"/>
                <a:gd name="connsiteY2" fmla="*/ 98722 h 105373"/>
                <a:gd name="connsiteX3" fmla="*/ 98713 w 105373"/>
                <a:gd name="connsiteY3" fmla="*/ 52864 h 105373"/>
                <a:gd name="connsiteX4" fmla="*/ 52855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55" y="7006"/>
                  </a:moveTo>
                  <a:cubicBezTo>
                    <a:pt x="27530" y="7006"/>
                    <a:pt x="7006" y="27539"/>
                    <a:pt x="7006" y="52864"/>
                  </a:cubicBezTo>
                  <a:cubicBezTo>
                    <a:pt x="7006" y="78199"/>
                    <a:pt x="27530" y="98722"/>
                    <a:pt x="52855" y="98722"/>
                  </a:cubicBezTo>
                  <a:cubicBezTo>
                    <a:pt x="78189" y="98722"/>
                    <a:pt x="98713" y="78199"/>
                    <a:pt x="98713" y="52864"/>
                  </a:cubicBezTo>
                  <a:cubicBezTo>
                    <a:pt x="98713" y="27539"/>
                    <a:pt x="78189" y="7006"/>
                    <a:pt x="5285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9" name="Freeform: Shape 28">
              <a:extLst>
                <a:ext uri="{FF2B5EF4-FFF2-40B4-BE49-F238E27FC236}">
                  <a16:creationId xmlns:a16="http://schemas.microsoft.com/office/drawing/2014/main" id="{88B40C65-3AB6-44AF-8EF9-15D4F35C3074}"/>
                </a:ext>
              </a:extLst>
            </p:cNvPr>
            <p:cNvSpPr/>
            <p:nvPr/>
          </p:nvSpPr>
          <p:spPr bwMode="ltGray">
            <a:xfrm>
              <a:off x="405005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5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35" y="45045"/>
                    <a:pt x="45055" y="36535"/>
                    <a:pt x="45055" y="26026"/>
                  </a:cubicBezTo>
                  <a:cubicBezTo>
                    <a:pt x="45055" y="15526"/>
                    <a:pt x="3653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0" name="Freeform: Shape 29">
              <a:extLst>
                <a:ext uri="{FF2B5EF4-FFF2-40B4-BE49-F238E27FC236}">
                  <a16:creationId xmlns:a16="http://schemas.microsoft.com/office/drawing/2014/main" id="{F53C4B29-BFBF-4C57-9BAD-E794E72A7E02}"/>
                </a:ext>
              </a:extLst>
            </p:cNvPr>
            <p:cNvSpPr/>
            <p:nvPr/>
          </p:nvSpPr>
          <p:spPr bwMode="ltGray">
            <a:xfrm>
              <a:off x="4119913"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1" name="Freeform: Shape 30">
              <a:extLst>
                <a:ext uri="{FF2B5EF4-FFF2-40B4-BE49-F238E27FC236}">
                  <a16:creationId xmlns:a16="http://schemas.microsoft.com/office/drawing/2014/main" id="{4973ABA9-EC24-4835-A568-085E871D0F43}"/>
                </a:ext>
              </a:extLst>
            </p:cNvPr>
            <p:cNvSpPr/>
            <p:nvPr/>
          </p:nvSpPr>
          <p:spPr bwMode="ltGray">
            <a:xfrm>
              <a:off x="4189770"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2" name="Freeform: Shape 31">
              <a:extLst>
                <a:ext uri="{FF2B5EF4-FFF2-40B4-BE49-F238E27FC236}">
                  <a16:creationId xmlns:a16="http://schemas.microsoft.com/office/drawing/2014/main" id="{5EDCFE26-54B0-474A-BEB1-3424B6CCA597}"/>
                </a:ext>
              </a:extLst>
            </p:cNvPr>
            <p:cNvSpPr/>
            <p:nvPr/>
          </p:nvSpPr>
          <p:spPr bwMode="ltGray">
            <a:xfrm>
              <a:off x="425962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6" y="45045"/>
                    <a:pt x="45045" y="36535"/>
                    <a:pt x="45045" y="26026"/>
                  </a:cubicBezTo>
                  <a:cubicBezTo>
                    <a:pt x="45045" y="15526"/>
                    <a:pt x="36526"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3" name="Freeform: Shape 32">
              <a:extLst>
                <a:ext uri="{FF2B5EF4-FFF2-40B4-BE49-F238E27FC236}">
                  <a16:creationId xmlns:a16="http://schemas.microsoft.com/office/drawing/2014/main" id="{642CA324-E0CC-4FF6-AC6E-C77193757160}"/>
                </a:ext>
              </a:extLst>
            </p:cNvPr>
            <p:cNvSpPr/>
            <p:nvPr/>
          </p:nvSpPr>
          <p:spPr bwMode="ltGray">
            <a:xfrm>
              <a:off x="2972968" y="2132924"/>
              <a:ext cx="91921" cy="91921"/>
            </a:xfrm>
            <a:custGeom>
              <a:avLst/>
              <a:gdLst>
                <a:gd name="connsiteX0" fmla="*/ 46530 w 91921"/>
                <a:gd name="connsiteY0" fmla="*/ 7006 h 91921"/>
                <a:gd name="connsiteX1" fmla="*/ 7006 w 91921"/>
                <a:gd name="connsiteY1" fmla="*/ 46531 h 91921"/>
                <a:gd name="connsiteX2" fmla="*/ 46530 w 91921"/>
                <a:gd name="connsiteY2" fmla="*/ 86055 h 91921"/>
                <a:gd name="connsiteX3" fmla="*/ 86055 w 91921"/>
                <a:gd name="connsiteY3" fmla="*/ 46531 h 91921"/>
                <a:gd name="connsiteX4" fmla="*/ 46530 w 91921"/>
                <a:gd name="connsiteY4" fmla="*/ 7006 h 91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91921">
                  <a:moveTo>
                    <a:pt x="46530" y="7006"/>
                  </a:moveTo>
                  <a:cubicBezTo>
                    <a:pt x="24699" y="7006"/>
                    <a:pt x="7006" y="24699"/>
                    <a:pt x="7006" y="46531"/>
                  </a:cubicBezTo>
                  <a:cubicBezTo>
                    <a:pt x="7006" y="68362"/>
                    <a:pt x="24699" y="86055"/>
                    <a:pt x="46530" y="86055"/>
                  </a:cubicBezTo>
                  <a:cubicBezTo>
                    <a:pt x="68362" y="86055"/>
                    <a:pt x="86055" y="68362"/>
                    <a:pt x="86055" y="46531"/>
                  </a:cubicBezTo>
                  <a:cubicBezTo>
                    <a:pt x="86055" y="24699"/>
                    <a:pt x="68362" y="7006"/>
                    <a:pt x="46530"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4" name="Freeform: Shape 33">
              <a:extLst>
                <a:ext uri="{FF2B5EF4-FFF2-40B4-BE49-F238E27FC236}">
                  <a16:creationId xmlns:a16="http://schemas.microsoft.com/office/drawing/2014/main" id="{62FB3B55-544F-4D6B-8900-926539DB08DE}"/>
                </a:ext>
              </a:extLst>
            </p:cNvPr>
            <p:cNvSpPr/>
            <p:nvPr/>
          </p:nvSpPr>
          <p:spPr bwMode="ltGray">
            <a:xfrm>
              <a:off x="4867420" y="3970130"/>
              <a:ext cx="51566" cy="51566"/>
            </a:xfrm>
            <a:custGeom>
              <a:avLst/>
              <a:gdLst>
                <a:gd name="connsiteX0" fmla="*/ 26016 w 51565"/>
                <a:gd name="connsiteY0" fmla="*/ 7006 h 51565"/>
                <a:gd name="connsiteX1" fmla="*/ 7006 w 51565"/>
                <a:gd name="connsiteY1" fmla="*/ 26026 h 51565"/>
                <a:gd name="connsiteX2" fmla="*/ 26016 w 51565"/>
                <a:gd name="connsiteY2" fmla="*/ 45036 h 51565"/>
                <a:gd name="connsiteX3" fmla="*/ 45036 w 51565"/>
                <a:gd name="connsiteY3" fmla="*/ 26026 h 51565"/>
                <a:gd name="connsiteX4" fmla="*/ 2601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16" y="7006"/>
                  </a:moveTo>
                  <a:cubicBezTo>
                    <a:pt x="15507" y="7006"/>
                    <a:pt x="7006" y="15517"/>
                    <a:pt x="7006" y="26026"/>
                  </a:cubicBezTo>
                  <a:cubicBezTo>
                    <a:pt x="7006" y="36526"/>
                    <a:pt x="15507" y="45036"/>
                    <a:pt x="26016" y="45036"/>
                  </a:cubicBezTo>
                  <a:cubicBezTo>
                    <a:pt x="36525" y="45036"/>
                    <a:pt x="45036" y="36526"/>
                    <a:pt x="45036" y="26026"/>
                  </a:cubicBezTo>
                  <a:cubicBezTo>
                    <a:pt x="45036" y="15517"/>
                    <a:pt x="36525" y="7006"/>
                    <a:pt x="2601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5" name="Freeform: Shape 34">
              <a:extLst>
                <a:ext uri="{FF2B5EF4-FFF2-40B4-BE49-F238E27FC236}">
                  <a16:creationId xmlns:a16="http://schemas.microsoft.com/office/drawing/2014/main" id="{D5E99F44-E0B9-4985-9ABA-5305F83CCC7C}"/>
                </a:ext>
              </a:extLst>
            </p:cNvPr>
            <p:cNvSpPr/>
            <p:nvPr/>
          </p:nvSpPr>
          <p:spPr bwMode="ltGray">
            <a:xfrm>
              <a:off x="3001908" y="3612823"/>
              <a:ext cx="327330" cy="327330"/>
            </a:xfrm>
            <a:custGeom>
              <a:avLst/>
              <a:gdLst>
                <a:gd name="connsiteX0" fmla="*/ 164188 w 327329"/>
                <a:gd name="connsiteY0" fmla="*/ 276344 h 327330"/>
                <a:gd name="connsiteX1" fmla="*/ 52033 w 327329"/>
                <a:gd name="connsiteY1" fmla="*/ 164188 h 327330"/>
                <a:gd name="connsiteX2" fmla="*/ 164188 w 327329"/>
                <a:gd name="connsiteY2" fmla="*/ 52023 h 327330"/>
                <a:gd name="connsiteX3" fmla="*/ 276363 w 327329"/>
                <a:gd name="connsiteY3" fmla="*/ 164188 h 327330"/>
                <a:gd name="connsiteX4" fmla="*/ 164188 w 327329"/>
                <a:gd name="connsiteY4" fmla="*/ 276344 h 327330"/>
                <a:gd name="connsiteX5" fmla="*/ 164188 w 327329"/>
                <a:gd name="connsiteY5" fmla="*/ 7006 h 327330"/>
                <a:gd name="connsiteX6" fmla="*/ 7006 w 327329"/>
                <a:gd name="connsiteY6" fmla="*/ 164188 h 327330"/>
                <a:gd name="connsiteX7" fmla="*/ 164188 w 327329"/>
                <a:gd name="connsiteY7" fmla="*/ 321380 h 327330"/>
                <a:gd name="connsiteX8" fmla="*/ 321380 w 327329"/>
                <a:gd name="connsiteY8" fmla="*/ 164188 h 327330"/>
                <a:gd name="connsiteX9" fmla="*/ 164188 w 327329"/>
                <a:gd name="connsiteY9" fmla="*/ 7006 h 32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329" h="327330">
                  <a:moveTo>
                    <a:pt x="164188" y="276344"/>
                  </a:moveTo>
                  <a:cubicBezTo>
                    <a:pt x="102347" y="276344"/>
                    <a:pt x="52033" y="226039"/>
                    <a:pt x="52033" y="164188"/>
                  </a:cubicBezTo>
                  <a:cubicBezTo>
                    <a:pt x="52033" y="102328"/>
                    <a:pt x="102347" y="52023"/>
                    <a:pt x="164188" y="52023"/>
                  </a:cubicBezTo>
                  <a:cubicBezTo>
                    <a:pt x="226039" y="52023"/>
                    <a:pt x="276363" y="102328"/>
                    <a:pt x="276363" y="164188"/>
                  </a:cubicBezTo>
                  <a:cubicBezTo>
                    <a:pt x="276363" y="226039"/>
                    <a:pt x="226039" y="276344"/>
                    <a:pt x="164188" y="276344"/>
                  </a:cubicBezTo>
                  <a:close/>
                  <a:moveTo>
                    <a:pt x="164188" y="7006"/>
                  </a:moveTo>
                  <a:cubicBezTo>
                    <a:pt x="77517" y="7006"/>
                    <a:pt x="7006" y="77507"/>
                    <a:pt x="7006" y="164188"/>
                  </a:cubicBezTo>
                  <a:cubicBezTo>
                    <a:pt x="7006" y="250860"/>
                    <a:pt x="77517" y="321380"/>
                    <a:pt x="164188" y="321380"/>
                  </a:cubicBezTo>
                  <a:cubicBezTo>
                    <a:pt x="250869" y="321380"/>
                    <a:pt x="321380" y="250860"/>
                    <a:pt x="321380" y="164188"/>
                  </a:cubicBezTo>
                  <a:cubicBezTo>
                    <a:pt x="321380" y="77507"/>
                    <a:pt x="250869" y="7006"/>
                    <a:pt x="164188"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6" name="Freeform: Shape 35">
              <a:extLst>
                <a:ext uri="{FF2B5EF4-FFF2-40B4-BE49-F238E27FC236}">
                  <a16:creationId xmlns:a16="http://schemas.microsoft.com/office/drawing/2014/main" id="{5753186D-161F-4B19-ABCD-67CF7BE6EA85}"/>
                </a:ext>
              </a:extLst>
            </p:cNvPr>
            <p:cNvSpPr/>
            <p:nvPr/>
          </p:nvSpPr>
          <p:spPr bwMode="ltGray">
            <a:xfrm>
              <a:off x="-2860" y="3221344"/>
              <a:ext cx="1582842" cy="282490"/>
            </a:xfrm>
            <a:custGeom>
              <a:avLst/>
              <a:gdLst>
                <a:gd name="connsiteX0" fmla="*/ 919785 w 1582842"/>
                <a:gd name="connsiteY0" fmla="*/ 221303 h 282490"/>
                <a:gd name="connsiteX1" fmla="*/ 7006 w 1582842"/>
                <a:gd name="connsiteY1" fmla="*/ 221303 h 282490"/>
                <a:gd name="connsiteX2" fmla="*/ 7006 w 1582842"/>
                <a:gd name="connsiteY2" fmla="*/ 277577 h 282490"/>
                <a:gd name="connsiteX3" fmla="*/ 943102 w 1582842"/>
                <a:gd name="connsiteY3" fmla="*/ 277577 h 282490"/>
                <a:gd name="connsiteX4" fmla="*/ 1157398 w 1582842"/>
                <a:gd name="connsiteY4" fmla="*/ 63290 h 282490"/>
                <a:gd name="connsiteX5" fmla="*/ 1576772 w 1582842"/>
                <a:gd name="connsiteY5" fmla="*/ 63290 h 282490"/>
                <a:gd name="connsiteX6" fmla="*/ 1576772 w 1582842"/>
                <a:gd name="connsiteY6" fmla="*/ 7006 h 282490"/>
                <a:gd name="connsiteX7" fmla="*/ 1134082 w 1582842"/>
                <a:gd name="connsiteY7" fmla="*/ 7006 h 282490"/>
                <a:gd name="connsiteX8" fmla="*/ 919785 w 1582842"/>
                <a:gd name="connsiteY8" fmla="*/ 221303 h 28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842" h="282490">
                  <a:moveTo>
                    <a:pt x="919785" y="221303"/>
                  </a:moveTo>
                  <a:lnTo>
                    <a:pt x="7006" y="221303"/>
                  </a:lnTo>
                  <a:lnTo>
                    <a:pt x="7006" y="277577"/>
                  </a:lnTo>
                  <a:lnTo>
                    <a:pt x="943102" y="277577"/>
                  </a:lnTo>
                  <a:lnTo>
                    <a:pt x="1157398" y="63290"/>
                  </a:lnTo>
                  <a:lnTo>
                    <a:pt x="1576772" y="63290"/>
                  </a:lnTo>
                  <a:lnTo>
                    <a:pt x="1576772" y="7006"/>
                  </a:lnTo>
                  <a:lnTo>
                    <a:pt x="1134082" y="7006"/>
                  </a:lnTo>
                  <a:lnTo>
                    <a:pt x="919785" y="22130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7" name="Freeform: Shape 36">
              <a:extLst>
                <a:ext uri="{FF2B5EF4-FFF2-40B4-BE49-F238E27FC236}">
                  <a16:creationId xmlns:a16="http://schemas.microsoft.com/office/drawing/2014/main" id="{F8754947-1405-4D8B-B51B-C742C1A2EA26}"/>
                </a:ext>
              </a:extLst>
            </p:cNvPr>
            <p:cNvSpPr/>
            <p:nvPr/>
          </p:nvSpPr>
          <p:spPr bwMode="ltGray">
            <a:xfrm>
              <a:off x="2732225" y="2629692"/>
              <a:ext cx="993200" cy="313878"/>
            </a:xfrm>
            <a:custGeom>
              <a:avLst/>
              <a:gdLst>
                <a:gd name="connsiteX0" fmla="*/ 383660 w 993199"/>
                <a:gd name="connsiteY0" fmla="*/ 252728 h 313878"/>
                <a:gd name="connsiteX1" fmla="*/ 7006 w 993199"/>
                <a:gd name="connsiteY1" fmla="*/ 252728 h 313878"/>
                <a:gd name="connsiteX2" fmla="*/ 7006 w 993199"/>
                <a:gd name="connsiteY2" fmla="*/ 309002 h 313878"/>
                <a:gd name="connsiteX3" fmla="*/ 406977 w 993199"/>
                <a:gd name="connsiteY3" fmla="*/ 309002 h 313878"/>
                <a:gd name="connsiteX4" fmla="*/ 652699 w 993199"/>
                <a:gd name="connsiteY4" fmla="*/ 63280 h 313878"/>
                <a:gd name="connsiteX5" fmla="*/ 986232 w 993199"/>
                <a:gd name="connsiteY5" fmla="*/ 63280 h 313878"/>
                <a:gd name="connsiteX6" fmla="*/ 986232 w 993199"/>
                <a:gd name="connsiteY6" fmla="*/ 7006 h 313878"/>
                <a:gd name="connsiteX7" fmla="*/ 629382 w 993199"/>
                <a:gd name="connsiteY7" fmla="*/ 7006 h 313878"/>
                <a:gd name="connsiteX8" fmla="*/ 383660 w 993199"/>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99" h="313878">
                  <a:moveTo>
                    <a:pt x="383660" y="252728"/>
                  </a:moveTo>
                  <a:lnTo>
                    <a:pt x="7006" y="252728"/>
                  </a:lnTo>
                  <a:lnTo>
                    <a:pt x="7006" y="309002"/>
                  </a:lnTo>
                  <a:lnTo>
                    <a:pt x="406977" y="309002"/>
                  </a:lnTo>
                  <a:lnTo>
                    <a:pt x="652699" y="63280"/>
                  </a:lnTo>
                  <a:lnTo>
                    <a:pt x="986232" y="63280"/>
                  </a:lnTo>
                  <a:lnTo>
                    <a:pt x="986232" y="7006"/>
                  </a:lnTo>
                  <a:lnTo>
                    <a:pt x="629382" y="7006"/>
                  </a:lnTo>
                  <a:lnTo>
                    <a:pt x="383660"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8" name="Freeform: Shape 37">
              <a:extLst>
                <a:ext uri="{FF2B5EF4-FFF2-40B4-BE49-F238E27FC236}">
                  <a16:creationId xmlns:a16="http://schemas.microsoft.com/office/drawing/2014/main" id="{E98F9772-98FC-4DA4-927F-00C435CC5042}"/>
                </a:ext>
              </a:extLst>
            </p:cNvPr>
            <p:cNvSpPr/>
            <p:nvPr/>
          </p:nvSpPr>
          <p:spPr bwMode="ltGray">
            <a:xfrm>
              <a:off x="576311" y="3207275"/>
              <a:ext cx="417009" cy="40356"/>
            </a:xfrm>
            <a:custGeom>
              <a:avLst/>
              <a:gdLst>
                <a:gd name="connsiteX0" fmla="*/ 7006 w 417009"/>
                <a:gd name="connsiteY0" fmla="*/ 7006 h 40355"/>
                <a:gd name="connsiteX1" fmla="*/ 412199 w 417009"/>
                <a:gd name="connsiteY1" fmla="*/ 7006 h 40355"/>
                <a:gd name="connsiteX2" fmla="*/ 412199 w 417009"/>
                <a:gd name="connsiteY2" fmla="*/ 35143 h 40355"/>
                <a:gd name="connsiteX3" fmla="*/ 7006 w 417009"/>
                <a:gd name="connsiteY3" fmla="*/ 3514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199" y="7006"/>
                  </a:lnTo>
                  <a:lnTo>
                    <a:pt x="412199" y="35143"/>
                  </a:lnTo>
                  <a:lnTo>
                    <a:pt x="7006" y="3514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9" name="Freeform: Shape 38">
              <a:extLst>
                <a:ext uri="{FF2B5EF4-FFF2-40B4-BE49-F238E27FC236}">
                  <a16:creationId xmlns:a16="http://schemas.microsoft.com/office/drawing/2014/main" id="{86D2285C-00B2-4A26-825C-6E21F4611605}"/>
                </a:ext>
              </a:extLst>
            </p:cNvPr>
            <p:cNvSpPr/>
            <p:nvPr/>
          </p:nvSpPr>
          <p:spPr bwMode="ltGray">
            <a:xfrm>
              <a:off x="992209" y="2601630"/>
              <a:ext cx="309394" cy="309394"/>
            </a:xfrm>
            <a:custGeom>
              <a:avLst/>
              <a:gdLst>
                <a:gd name="connsiteX0" fmla="*/ 155753 w 309394"/>
                <a:gd name="connsiteY0" fmla="*/ 276353 h 309394"/>
                <a:gd name="connsiteX1" fmla="*/ 35143 w 309394"/>
                <a:gd name="connsiteY1" fmla="*/ 155753 h 309394"/>
                <a:gd name="connsiteX2" fmla="*/ 155753 w 309394"/>
                <a:gd name="connsiteY2" fmla="*/ 35143 h 309394"/>
                <a:gd name="connsiteX3" fmla="*/ 276353 w 309394"/>
                <a:gd name="connsiteY3" fmla="*/ 155753 h 309394"/>
                <a:gd name="connsiteX4" fmla="*/ 155753 w 309394"/>
                <a:gd name="connsiteY4" fmla="*/ 276353 h 309394"/>
                <a:gd name="connsiteX5" fmla="*/ 155753 w 309394"/>
                <a:gd name="connsiteY5" fmla="*/ 7006 h 309394"/>
                <a:gd name="connsiteX6" fmla="*/ 7006 w 309394"/>
                <a:gd name="connsiteY6" fmla="*/ 155753 h 309394"/>
                <a:gd name="connsiteX7" fmla="*/ 155753 w 309394"/>
                <a:gd name="connsiteY7" fmla="*/ 304490 h 309394"/>
                <a:gd name="connsiteX8" fmla="*/ 304490 w 309394"/>
                <a:gd name="connsiteY8" fmla="*/ 15575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50" y="276353"/>
                    <a:pt x="35143" y="222256"/>
                    <a:pt x="35143" y="155753"/>
                  </a:cubicBezTo>
                  <a:cubicBezTo>
                    <a:pt x="35143" y="89250"/>
                    <a:pt x="89250" y="35143"/>
                    <a:pt x="155753" y="35143"/>
                  </a:cubicBezTo>
                  <a:cubicBezTo>
                    <a:pt x="222246" y="35143"/>
                    <a:pt x="276353" y="89250"/>
                    <a:pt x="276353" y="155753"/>
                  </a:cubicBezTo>
                  <a:cubicBezTo>
                    <a:pt x="276353" y="222256"/>
                    <a:pt x="222246" y="276353"/>
                    <a:pt x="155753" y="276353"/>
                  </a:cubicBezTo>
                  <a:close/>
                  <a:moveTo>
                    <a:pt x="155753" y="7006"/>
                  </a:moveTo>
                  <a:cubicBezTo>
                    <a:pt x="73733" y="7006"/>
                    <a:pt x="7006" y="73733"/>
                    <a:pt x="7006" y="155753"/>
                  </a:cubicBezTo>
                  <a:cubicBezTo>
                    <a:pt x="7006" y="237772"/>
                    <a:pt x="73733" y="304490"/>
                    <a:pt x="155753" y="304490"/>
                  </a:cubicBezTo>
                  <a:cubicBezTo>
                    <a:pt x="237763" y="304490"/>
                    <a:pt x="304490" y="237772"/>
                    <a:pt x="304490" y="155753"/>
                  </a:cubicBezTo>
                  <a:cubicBezTo>
                    <a:pt x="304490" y="73733"/>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0" name="Freeform: Shape 39">
              <a:extLst>
                <a:ext uri="{FF2B5EF4-FFF2-40B4-BE49-F238E27FC236}">
                  <a16:creationId xmlns:a16="http://schemas.microsoft.com/office/drawing/2014/main" id="{B2539A9C-8F73-4643-902E-82429D6C2BDB}"/>
                </a:ext>
              </a:extLst>
            </p:cNvPr>
            <p:cNvSpPr/>
            <p:nvPr/>
          </p:nvSpPr>
          <p:spPr bwMode="ltGray">
            <a:xfrm>
              <a:off x="5378350" y="2456994"/>
              <a:ext cx="136761" cy="136761"/>
            </a:xfrm>
            <a:custGeom>
              <a:avLst/>
              <a:gdLst>
                <a:gd name="connsiteX0" fmla="*/ 68922 w 136761"/>
                <a:gd name="connsiteY0" fmla="*/ 119124 h 136761"/>
                <a:gd name="connsiteX1" fmla="*/ 18721 w 136761"/>
                <a:gd name="connsiteY1" fmla="*/ 68922 h 136761"/>
                <a:gd name="connsiteX2" fmla="*/ 68922 w 136761"/>
                <a:gd name="connsiteY2" fmla="*/ 18721 h 136761"/>
                <a:gd name="connsiteX3" fmla="*/ 119124 w 136761"/>
                <a:gd name="connsiteY3" fmla="*/ 68922 h 136761"/>
                <a:gd name="connsiteX4" fmla="*/ 68922 w 136761"/>
                <a:gd name="connsiteY4" fmla="*/ 119124 h 136761"/>
                <a:gd name="connsiteX5" fmla="*/ 68922 w 136761"/>
                <a:gd name="connsiteY5" fmla="*/ 7006 h 136761"/>
                <a:gd name="connsiteX6" fmla="*/ 7006 w 136761"/>
                <a:gd name="connsiteY6" fmla="*/ 68922 h 136761"/>
                <a:gd name="connsiteX7" fmla="*/ 68922 w 136761"/>
                <a:gd name="connsiteY7" fmla="*/ 130839 h 136761"/>
                <a:gd name="connsiteX8" fmla="*/ 130839 w 136761"/>
                <a:gd name="connsiteY8" fmla="*/ 68922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43" y="119124"/>
                    <a:pt x="18721" y="96602"/>
                    <a:pt x="18721" y="68922"/>
                  </a:cubicBezTo>
                  <a:cubicBezTo>
                    <a:pt x="18721" y="41243"/>
                    <a:pt x="41243" y="18721"/>
                    <a:pt x="68922" y="18721"/>
                  </a:cubicBezTo>
                  <a:cubicBezTo>
                    <a:pt x="96602" y="18721"/>
                    <a:pt x="119124" y="41243"/>
                    <a:pt x="119124" y="68922"/>
                  </a:cubicBezTo>
                  <a:cubicBezTo>
                    <a:pt x="119124" y="96602"/>
                    <a:pt x="96602" y="119124"/>
                    <a:pt x="68922" y="119124"/>
                  </a:cubicBezTo>
                  <a:close/>
                  <a:moveTo>
                    <a:pt x="68922" y="7006"/>
                  </a:moveTo>
                  <a:cubicBezTo>
                    <a:pt x="34788" y="7006"/>
                    <a:pt x="7006" y="34779"/>
                    <a:pt x="7006" y="68922"/>
                  </a:cubicBezTo>
                  <a:cubicBezTo>
                    <a:pt x="7006" y="103066"/>
                    <a:pt x="34788" y="130839"/>
                    <a:pt x="68922" y="130839"/>
                  </a:cubicBezTo>
                  <a:cubicBezTo>
                    <a:pt x="103066" y="130839"/>
                    <a:pt x="130839" y="103066"/>
                    <a:pt x="130839" y="68922"/>
                  </a:cubicBezTo>
                  <a:cubicBezTo>
                    <a:pt x="13083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1" name="Freeform: Shape 40">
              <a:extLst>
                <a:ext uri="{FF2B5EF4-FFF2-40B4-BE49-F238E27FC236}">
                  <a16:creationId xmlns:a16="http://schemas.microsoft.com/office/drawing/2014/main" id="{7F606168-1F7E-41DE-8BF9-D13C287DADDD}"/>
                </a:ext>
              </a:extLst>
            </p:cNvPr>
            <p:cNvSpPr/>
            <p:nvPr/>
          </p:nvSpPr>
          <p:spPr bwMode="ltGray">
            <a:xfrm>
              <a:off x="4763457" y="3262867"/>
              <a:ext cx="136761" cy="136761"/>
            </a:xfrm>
            <a:custGeom>
              <a:avLst/>
              <a:gdLst>
                <a:gd name="connsiteX0" fmla="*/ 68922 w 136761"/>
                <a:gd name="connsiteY0" fmla="*/ 119124 h 136761"/>
                <a:gd name="connsiteX1" fmla="*/ 18721 w 136761"/>
                <a:gd name="connsiteY1" fmla="*/ 68923 h 136761"/>
                <a:gd name="connsiteX2" fmla="*/ 68922 w 136761"/>
                <a:gd name="connsiteY2" fmla="*/ 18721 h 136761"/>
                <a:gd name="connsiteX3" fmla="*/ 119124 w 136761"/>
                <a:gd name="connsiteY3" fmla="*/ 68923 h 136761"/>
                <a:gd name="connsiteX4" fmla="*/ 68922 w 136761"/>
                <a:gd name="connsiteY4" fmla="*/ 119124 h 136761"/>
                <a:gd name="connsiteX5" fmla="*/ 68922 w 136761"/>
                <a:gd name="connsiteY5" fmla="*/ 7006 h 136761"/>
                <a:gd name="connsiteX6" fmla="*/ 7006 w 136761"/>
                <a:gd name="connsiteY6" fmla="*/ 68923 h 136761"/>
                <a:gd name="connsiteX7" fmla="*/ 68922 w 136761"/>
                <a:gd name="connsiteY7" fmla="*/ 130829 h 136761"/>
                <a:gd name="connsiteX8" fmla="*/ 130829 w 136761"/>
                <a:gd name="connsiteY8" fmla="*/ 68923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34" y="119124"/>
                    <a:pt x="18721" y="96602"/>
                    <a:pt x="18721" y="68923"/>
                  </a:cubicBezTo>
                  <a:cubicBezTo>
                    <a:pt x="18721" y="41243"/>
                    <a:pt x="41234" y="18721"/>
                    <a:pt x="68922" y="18721"/>
                  </a:cubicBezTo>
                  <a:cubicBezTo>
                    <a:pt x="96602" y="18721"/>
                    <a:pt x="119124" y="41243"/>
                    <a:pt x="119124" y="68923"/>
                  </a:cubicBezTo>
                  <a:cubicBezTo>
                    <a:pt x="119124" y="96602"/>
                    <a:pt x="96602" y="119124"/>
                    <a:pt x="68922" y="119124"/>
                  </a:cubicBezTo>
                  <a:close/>
                  <a:moveTo>
                    <a:pt x="68922" y="7006"/>
                  </a:moveTo>
                  <a:cubicBezTo>
                    <a:pt x="34779" y="7006"/>
                    <a:pt x="7006" y="34779"/>
                    <a:pt x="7006" y="68923"/>
                  </a:cubicBezTo>
                  <a:cubicBezTo>
                    <a:pt x="7006" y="103066"/>
                    <a:pt x="34779" y="130829"/>
                    <a:pt x="68922" y="130829"/>
                  </a:cubicBezTo>
                  <a:cubicBezTo>
                    <a:pt x="103066" y="130829"/>
                    <a:pt x="130829" y="103066"/>
                    <a:pt x="130829" y="68923"/>
                  </a:cubicBezTo>
                  <a:cubicBezTo>
                    <a:pt x="13082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2" name="Freeform: Shape 41">
              <a:extLst>
                <a:ext uri="{FF2B5EF4-FFF2-40B4-BE49-F238E27FC236}">
                  <a16:creationId xmlns:a16="http://schemas.microsoft.com/office/drawing/2014/main" id="{88A41719-1D5E-40D6-8584-B91C00E7C15A}"/>
                </a:ext>
              </a:extLst>
            </p:cNvPr>
            <p:cNvSpPr/>
            <p:nvPr/>
          </p:nvSpPr>
          <p:spPr bwMode="ltGray">
            <a:xfrm>
              <a:off x="-2860" y="2722231"/>
              <a:ext cx="955086" cy="313878"/>
            </a:xfrm>
            <a:custGeom>
              <a:avLst/>
              <a:gdLst>
                <a:gd name="connsiteX0" fmla="*/ 345649 w 955086"/>
                <a:gd name="connsiteY0" fmla="*/ 252728 h 313878"/>
                <a:gd name="connsiteX1" fmla="*/ 7006 w 955086"/>
                <a:gd name="connsiteY1" fmla="*/ 252728 h 313878"/>
                <a:gd name="connsiteX2" fmla="*/ 7006 w 955086"/>
                <a:gd name="connsiteY2" fmla="*/ 309011 h 313878"/>
                <a:gd name="connsiteX3" fmla="*/ 368966 w 955086"/>
                <a:gd name="connsiteY3" fmla="*/ 309011 h 313878"/>
                <a:gd name="connsiteX4" fmla="*/ 614688 w 955086"/>
                <a:gd name="connsiteY4" fmla="*/ 63289 h 313878"/>
                <a:gd name="connsiteX5" fmla="*/ 948221 w 955086"/>
                <a:gd name="connsiteY5" fmla="*/ 63289 h 313878"/>
                <a:gd name="connsiteX6" fmla="*/ 948221 w 955086"/>
                <a:gd name="connsiteY6" fmla="*/ 7006 h 313878"/>
                <a:gd name="connsiteX7" fmla="*/ 591371 w 955086"/>
                <a:gd name="connsiteY7" fmla="*/ 7006 h 313878"/>
                <a:gd name="connsiteX8" fmla="*/ 345649 w 955086"/>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086" h="313878">
                  <a:moveTo>
                    <a:pt x="345649" y="252728"/>
                  </a:moveTo>
                  <a:lnTo>
                    <a:pt x="7006" y="252728"/>
                  </a:lnTo>
                  <a:lnTo>
                    <a:pt x="7006" y="309011"/>
                  </a:lnTo>
                  <a:lnTo>
                    <a:pt x="368966" y="309011"/>
                  </a:lnTo>
                  <a:lnTo>
                    <a:pt x="614688" y="63289"/>
                  </a:lnTo>
                  <a:lnTo>
                    <a:pt x="948221" y="63289"/>
                  </a:lnTo>
                  <a:lnTo>
                    <a:pt x="948221" y="7006"/>
                  </a:lnTo>
                  <a:lnTo>
                    <a:pt x="591371" y="7006"/>
                  </a:lnTo>
                  <a:lnTo>
                    <a:pt x="345649"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3" name="Freeform: Shape 42">
              <a:extLst>
                <a:ext uri="{FF2B5EF4-FFF2-40B4-BE49-F238E27FC236}">
                  <a16:creationId xmlns:a16="http://schemas.microsoft.com/office/drawing/2014/main" id="{BFCC7078-9BC9-43C2-8A58-5C73B1AB92FE}"/>
                </a:ext>
              </a:extLst>
            </p:cNvPr>
            <p:cNvSpPr/>
            <p:nvPr/>
          </p:nvSpPr>
          <p:spPr bwMode="ltGray">
            <a:xfrm>
              <a:off x="1343547" y="2736299"/>
              <a:ext cx="417009" cy="40356"/>
            </a:xfrm>
            <a:custGeom>
              <a:avLst/>
              <a:gdLst>
                <a:gd name="connsiteX0" fmla="*/ 7006 w 417009"/>
                <a:gd name="connsiteY0" fmla="*/ 7006 h 40355"/>
                <a:gd name="connsiteX1" fmla="*/ 412208 w 417009"/>
                <a:gd name="connsiteY1" fmla="*/ 7006 h 40355"/>
                <a:gd name="connsiteX2" fmla="*/ 412208 w 417009"/>
                <a:gd name="connsiteY2" fmla="*/ 35153 h 40355"/>
                <a:gd name="connsiteX3" fmla="*/ 7006 w 417009"/>
                <a:gd name="connsiteY3" fmla="*/ 3515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208" y="7006"/>
                  </a:lnTo>
                  <a:lnTo>
                    <a:pt x="412208" y="35153"/>
                  </a:lnTo>
                  <a:lnTo>
                    <a:pt x="7006" y="351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4" name="Freeform: Shape 43">
              <a:extLst>
                <a:ext uri="{FF2B5EF4-FFF2-40B4-BE49-F238E27FC236}">
                  <a16:creationId xmlns:a16="http://schemas.microsoft.com/office/drawing/2014/main" id="{1357236B-327C-4FC2-829D-083AE2376176}"/>
                </a:ext>
              </a:extLst>
            </p:cNvPr>
            <p:cNvSpPr/>
            <p:nvPr/>
          </p:nvSpPr>
          <p:spPr bwMode="ltGray">
            <a:xfrm>
              <a:off x="-2860" y="3521780"/>
              <a:ext cx="2340634" cy="493237"/>
            </a:xfrm>
            <a:custGeom>
              <a:avLst/>
              <a:gdLst>
                <a:gd name="connsiteX0" fmla="*/ 1117379 w 2340633"/>
                <a:gd name="connsiteY0" fmla="*/ 238809 h 493236"/>
                <a:gd name="connsiteX1" fmla="*/ 927071 w 2340633"/>
                <a:gd name="connsiteY1" fmla="*/ 238809 h 493236"/>
                <a:gd name="connsiteX2" fmla="*/ 695269 w 2340633"/>
                <a:gd name="connsiteY2" fmla="*/ 7006 h 493236"/>
                <a:gd name="connsiteX3" fmla="*/ 7006 w 2340633"/>
                <a:gd name="connsiteY3" fmla="*/ 7006 h 493236"/>
                <a:gd name="connsiteX4" fmla="*/ 7006 w 2340633"/>
                <a:gd name="connsiteY4" fmla="*/ 35143 h 493236"/>
                <a:gd name="connsiteX5" fmla="*/ 683610 w 2340633"/>
                <a:gd name="connsiteY5" fmla="*/ 35143 h 493236"/>
                <a:gd name="connsiteX6" fmla="*/ 915413 w 2340633"/>
                <a:gd name="connsiteY6" fmla="*/ 266955 h 493236"/>
                <a:gd name="connsiteX7" fmla="*/ 1105721 w 2340633"/>
                <a:gd name="connsiteY7" fmla="*/ 266955 h 493236"/>
                <a:gd name="connsiteX8" fmla="*/ 1325333 w 2340633"/>
                <a:gd name="connsiteY8" fmla="*/ 486567 h 493236"/>
                <a:gd name="connsiteX9" fmla="*/ 2334872 w 2340633"/>
                <a:gd name="connsiteY9" fmla="*/ 486567 h 493236"/>
                <a:gd name="connsiteX10" fmla="*/ 2334872 w 2340633"/>
                <a:gd name="connsiteY10" fmla="*/ 458431 h 493236"/>
                <a:gd name="connsiteX11" fmla="*/ 1336991 w 2340633"/>
                <a:gd name="connsiteY11" fmla="*/ 458431 h 493236"/>
                <a:gd name="connsiteX12" fmla="*/ 1117379 w 2340633"/>
                <a:gd name="connsiteY12" fmla="*/ 238809 h 4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0633" h="493236">
                  <a:moveTo>
                    <a:pt x="1117379" y="238809"/>
                  </a:moveTo>
                  <a:lnTo>
                    <a:pt x="927071" y="238809"/>
                  </a:lnTo>
                  <a:lnTo>
                    <a:pt x="695269" y="7006"/>
                  </a:lnTo>
                  <a:lnTo>
                    <a:pt x="7006" y="7006"/>
                  </a:lnTo>
                  <a:lnTo>
                    <a:pt x="7006" y="35143"/>
                  </a:lnTo>
                  <a:lnTo>
                    <a:pt x="683610" y="35143"/>
                  </a:lnTo>
                  <a:lnTo>
                    <a:pt x="915413" y="266955"/>
                  </a:lnTo>
                  <a:lnTo>
                    <a:pt x="1105721" y="266955"/>
                  </a:lnTo>
                  <a:lnTo>
                    <a:pt x="1325333" y="486567"/>
                  </a:lnTo>
                  <a:lnTo>
                    <a:pt x="2334872" y="486567"/>
                  </a:lnTo>
                  <a:lnTo>
                    <a:pt x="2334872" y="458431"/>
                  </a:lnTo>
                  <a:lnTo>
                    <a:pt x="1336991" y="458431"/>
                  </a:lnTo>
                  <a:lnTo>
                    <a:pt x="1117379" y="23880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5" name="Freeform: Shape 44">
              <a:extLst>
                <a:ext uri="{FF2B5EF4-FFF2-40B4-BE49-F238E27FC236}">
                  <a16:creationId xmlns:a16="http://schemas.microsoft.com/office/drawing/2014/main" id="{687EF3D8-595F-4C74-A88D-8C85A4D2727B}"/>
                </a:ext>
              </a:extLst>
            </p:cNvPr>
            <p:cNvSpPr/>
            <p:nvPr/>
          </p:nvSpPr>
          <p:spPr bwMode="ltGray">
            <a:xfrm>
              <a:off x="1435627" y="3409064"/>
              <a:ext cx="1495405" cy="58292"/>
            </a:xfrm>
            <a:custGeom>
              <a:avLst/>
              <a:gdLst>
                <a:gd name="connsiteX0" fmla="*/ 7006 w 1495404"/>
                <a:gd name="connsiteY0" fmla="*/ 7006 h 58291"/>
                <a:gd name="connsiteX1" fmla="*/ 1489044 w 1495404"/>
                <a:gd name="connsiteY1" fmla="*/ 7006 h 58291"/>
                <a:gd name="connsiteX2" fmla="*/ 1489044 w 1495404"/>
                <a:gd name="connsiteY2" fmla="*/ 52033 h 58291"/>
                <a:gd name="connsiteX3" fmla="*/ 7006 w 1495404"/>
                <a:gd name="connsiteY3" fmla="*/ 52033 h 58291"/>
              </a:gdLst>
              <a:ahLst/>
              <a:cxnLst>
                <a:cxn ang="0">
                  <a:pos x="connsiteX0" y="connsiteY0"/>
                </a:cxn>
                <a:cxn ang="0">
                  <a:pos x="connsiteX1" y="connsiteY1"/>
                </a:cxn>
                <a:cxn ang="0">
                  <a:pos x="connsiteX2" y="connsiteY2"/>
                </a:cxn>
                <a:cxn ang="0">
                  <a:pos x="connsiteX3" y="connsiteY3"/>
                </a:cxn>
              </a:cxnLst>
              <a:rect l="l" t="t" r="r" b="b"/>
              <a:pathLst>
                <a:path w="1495404" h="58291">
                  <a:moveTo>
                    <a:pt x="7006" y="7006"/>
                  </a:moveTo>
                  <a:lnTo>
                    <a:pt x="1489044" y="7006"/>
                  </a:lnTo>
                  <a:lnTo>
                    <a:pt x="1489044" y="52033"/>
                  </a:lnTo>
                  <a:lnTo>
                    <a:pt x="7006"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6" name="Freeform: Shape 45">
              <a:extLst>
                <a:ext uri="{FF2B5EF4-FFF2-40B4-BE49-F238E27FC236}">
                  <a16:creationId xmlns:a16="http://schemas.microsoft.com/office/drawing/2014/main" id="{B2573248-9A51-4E0D-9844-FD2CDC039D35}"/>
                </a:ext>
              </a:extLst>
            </p:cNvPr>
            <p:cNvSpPr/>
            <p:nvPr/>
          </p:nvSpPr>
          <p:spPr bwMode="ltGray">
            <a:xfrm>
              <a:off x="-2860" y="3404561"/>
              <a:ext cx="2827145" cy="1118751"/>
            </a:xfrm>
            <a:custGeom>
              <a:avLst/>
              <a:gdLst>
                <a:gd name="connsiteX0" fmla="*/ 1988625 w 2827144"/>
                <a:gd name="connsiteY0" fmla="*/ 645683 h 1118751"/>
                <a:gd name="connsiteX1" fmla="*/ 1349948 w 2827144"/>
                <a:gd name="connsiteY1" fmla="*/ 7006 h 1118751"/>
                <a:gd name="connsiteX2" fmla="*/ 7006 w 2827144"/>
                <a:gd name="connsiteY2" fmla="*/ 7006 h 1118751"/>
                <a:gd name="connsiteX3" fmla="*/ 7006 w 2827144"/>
                <a:gd name="connsiteY3" fmla="*/ 18263 h 1118751"/>
                <a:gd name="connsiteX4" fmla="*/ 1345286 w 2827144"/>
                <a:gd name="connsiteY4" fmla="*/ 18263 h 1118751"/>
                <a:gd name="connsiteX5" fmla="*/ 1983963 w 2827144"/>
                <a:gd name="connsiteY5" fmla="*/ 656940 h 1118751"/>
                <a:gd name="connsiteX6" fmla="*/ 2358319 w 2827144"/>
                <a:gd name="connsiteY6" fmla="*/ 656940 h 1118751"/>
                <a:gd name="connsiteX7" fmla="*/ 2813994 w 2827144"/>
                <a:gd name="connsiteY7" fmla="*/ 1112606 h 1118751"/>
                <a:gd name="connsiteX8" fmla="*/ 2821953 w 2827144"/>
                <a:gd name="connsiteY8" fmla="*/ 1104656 h 1118751"/>
                <a:gd name="connsiteX9" fmla="*/ 2362981 w 2827144"/>
                <a:gd name="connsiteY9" fmla="*/ 645683 h 1118751"/>
                <a:gd name="connsiteX10" fmla="*/ 1988625 w 2827144"/>
                <a:gd name="connsiteY10" fmla="*/ 645683 h 111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7144" h="1118751">
                  <a:moveTo>
                    <a:pt x="1988625" y="645683"/>
                  </a:moveTo>
                  <a:lnTo>
                    <a:pt x="1349948" y="7006"/>
                  </a:lnTo>
                  <a:lnTo>
                    <a:pt x="7006" y="7006"/>
                  </a:lnTo>
                  <a:lnTo>
                    <a:pt x="7006" y="18263"/>
                  </a:lnTo>
                  <a:lnTo>
                    <a:pt x="1345286" y="18263"/>
                  </a:lnTo>
                  <a:lnTo>
                    <a:pt x="1983963" y="656940"/>
                  </a:lnTo>
                  <a:lnTo>
                    <a:pt x="2358319" y="656940"/>
                  </a:lnTo>
                  <a:lnTo>
                    <a:pt x="2813994" y="1112606"/>
                  </a:lnTo>
                  <a:lnTo>
                    <a:pt x="2821953" y="1104656"/>
                  </a:lnTo>
                  <a:lnTo>
                    <a:pt x="2362981" y="645683"/>
                  </a:lnTo>
                  <a:lnTo>
                    <a:pt x="1988625" y="64568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7" name="Freeform: Shape 46">
              <a:extLst>
                <a:ext uri="{FF2B5EF4-FFF2-40B4-BE49-F238E27FC236}">
                  <a16:creationId xmlns:a16="http://schemas.microsoft.com/office/drawing/2014/main" id="{97324E1D-FF8E-4F9A-AB9F-377C3DED2A55}"/>
                </a:ext>
              </a:extLst>
            </p:cNvPr>
            <p:cNvSpPr/>
            <p:nvPr/>
          </p:nvSpPr>
          <p:spPr bwMode="ltGray">
            <a:xfrm>
              <a:off x="1566905" y="3266015"/>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88 h 289216"/>
                <a:gd name="connsiteX5" fmla="*/ 1331769 w 2094015"/>
                <a:gd name="connsiteY5" fmla="*/ 284088 h 289216"/>
                <a:gd name="connsiteX6" fmla="*/ 1597603 w 2094015"/>
                <a:gd name="connsiteY6" fmla="*/ 18263 h 289216"/>
                <a:gd name="connsiteX7" fmla="*/ 1895536 w 2094015"/>
                <a:gd name="connsiteY7" fmla="*/ 18263 h 289216"/>
                <a:gd name="connsiteX8" fmla="*/ 2012642 w 2094015"/>
                <a:gd name="connsiteY8" fmla="*/ 135369 h 289216"/>
                <a:gd name="connsiteX9" fmla="*/ 2087151 w 2094015"/>
                <a:gd name="connsiteY9" fmla="*/ 135369 h 289216"/>
                <a:gd name="connsiteX10" fmla="*/ 2087151 w 2094015"/>
                <a:gd name="connsiteY10" fmla="*/ 124103 h 289216"/>
                <a:gd name="connsiteX11" fmla="*/ 2017313 w 2094015"/>
                <a:gd name="connsiteY11" fmla="*/ 12410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88"/>
                  </a:lnTo>
                  <a:lnTo>
                    <a:pt x="1331769" y="284088"/>
                  </a:lnTo>
                  <a:lnTo>
                    <a:pt x="1597603" y="18263"/>
                  </a:lnTo>
                  <a:lnTo>
                    <a:pt x="1895536" y="18263"/>
                  </a:lnTo>
                  <a:lnTo>
                    <a:pt x="2012642" y="135369"/>
                  </a:lnTo>
                  <a:lnTo>
                    <a:pt x="2087151" y="135369"/>
                  </a:lnTo>
                  <a:lnTo>
                    <a:pt x="2087151" y="124103"/>
                  </a:lnTo>
                  <a:lnTo>
                    <a:pt x="2017313" y="12410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8" name="Freeform: Shape 47">
              <a:extLst>
                <a:ext uri="{FF2B5EF4-FFF2-40B4-BE49-F238E27FC236}">
                  <a16:creationId xmlns:a16="http://schemas.microsoft.com/office/drawing/2014/main" id="{D8BB25C6-A822-49B1-B728-E86D841B63F9}"/>
                </a:ext>
              </a:extLst>
            </p:cNvPr>
            <p:cNvSpPr/>
            <p:nvPr/>
          </p:nvSpPr>
          <p:spPr bwMode="ltGray">
            <a:xfrm>
              <a:off x="3149216" y="3830072"/>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97 h 289216"/>
                <a:gd name="connsiteX5" fmla="*/ 1331769 w 2094015"/>
                <a:gd name="connsiteY5" fmla="*/ 284097 h 289216"/>
                <a:gd name="connsiteX6" fmla="*/ 1597603 w 2094015"/>
                <a:gd name="connsiteY6" fmla="*/ 18263 h 289216"/>
                <a:gd name="connsiteX7" fmla="*/ 1895536 w 2094015"/>
                <a:gd name="connsiteY7" fmla="*/ 18263 h 289216"/>
                <a:gd name="connsiteX8" fmla="*/ 2012642 w 2094015"/>
                <a:gd name="connsiteY8" fmla="*/ 135379 h 289216"/>
                <a:gd name="connsiteX9" fmla="*/ 2087160 w 2094015"/>
                <a:gd name="connsiteY9" fmla="*/ 135379 h 289216"/>
                <a:gd name="connsiteX10" fmla="*/ 2087160 w 2094015"/>
                <a:gd name="connsiteY10" fmla="*/ 124113 h 289216"/>
                <a:gd name="connsiteX11" fmla="*/ 2017303 w 2094015"/>
                <a:gd name="connsiteY11" fmla="*/ 12411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97"/>
                  </a:lnTo>
                  <a:lnTo>
                    <a:pt x="1331769" y="284097"/>
                  </a:lnTo>
                  <a:lnTo>
                    <a:pt x="1597603" y="18263"/>
                  </a:lnTo>
                  <a:lnTo>
                    <a:pt x="1895536" y="18263"/>
                  </a:lnTo>
                  <a:lnTo>
                    <a:pt x="2012642" y="135379"/>
                  </a:lnTo>
                  <a:lnTo>
                    <a:pt x="2087160" y="135379"/>
                  </a:lnTo>
                  <a:lnTo>
                    <a:pt x="2087160" y="124113"/>
                  </a:lnTo>
                  <a:lnTo>
                    <a:pt x="2017303" y="12411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9" name="Freeform: Shape 48">
              <a:extLst>
                <a:ext uri="{FF2B5EF4-FFF2-40B4-BE49-F238E27FC236}">
                  <a16:creationId xmlns:a16="http://schemas.microsoft.com/office/drawing/2014/main" id="{77E44153-DE2D-4140-AD6C-F90B3B2FFB9F}"/>
                </a:ext>
              </a:extLst>
            </p:cNvPr>
            <p:cNvSpPr/>
            <p:nvPr/>
          </p:nvSpPr>
          <p:spPr bwMode="ltGray">
            <a:xfrm>
              <a:off x="-2860" y="3281560"/>
              <a:ext cx="1035798" cy="114341"/>
            </a:xfrm>
            <a:custGeom>
              <a:avLst/>
              <a:gdLst>
                <a:gd name="connsiteX0" fmla="*/ 274812 w 1035797"/>
                <a:gd name="connsiteY0" fmla="*/ 91436 h 114341"/>
                <a:gd name="connsiteX1" fmla="*/ 7006 w 1035797"/>
                <a:gd name="connsiteY1" fmla="*/ 91436 h 114341"/>
                <a:gd name="connsiteX2" fmla="*/ 7006 w 1035797"/>
                <a:gd name="connsiteY2" fmla="*/ 108316 h 114341"/>
                <a:gd name="connsiteX3" fmla="*/ 281799 w 1035797"/>
                <a:gd name="connsiteY3" fmla="*/ 108316 h 114341"/>
                <a:gd name="connsiteX4" fmla="*/ 366219 w 1035797"/>
                <a:gd name="connsiteY4" fmla="*/ 23896 h 114341"/>
                <a:gd name="connsiteX5" fmla="*/ 1030399 w 1035797"/>
                <a:gd name="connsiteY5" fmla="*/ 23896 h 114341"/>
                <a:gd name="connsiteX6" fmla="*/ 1030399 w 1035797"/>
                <a:gd name="connsiteY6" fmla="*/ 7006 h 114341"/>
                <a:gd name="connsiteX7" fmla="*/ 359232 w 1035797"/>
                <a:gd name="connsiteY7" fmla="*/ 7006 h 114341"/>
                <a:gd name="connsiteX8" fmla="*/ 274812 w 1035797"/>
                <a:gd name="connsiteY8" fmla="*/ 91436 h 11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5797" h="114341">
                  <a:moveTo>
                    <a:pt x="274812" y="91436"/>
                  </a:moveTo>
                  <a:lnTo>
                    <a:pt x="7006" y="91436"/>
                  </a:lnTo>
                  <a:lnTo>
                    <a:pt x="7006" y="108316"/>
                  </a:lnTo>
                  <a:lnTo>
                    <a:pt x="281799" y="108316"/>
                  </a:lnTo>
                  <a:lnTo>
                    <a:pt x="366219" y="23896"/>
                  </a:lnTo>
                  <a:lnTo>
                    <a:pt x="1030399" y="23896"/>
                  </a:lnTo>
                  <a:lnTo>
                    <a:pt x="1030399" y="7006"/>
                  </a:lnTo>
                  <a:lnTo>
                    <a:pt x="359232" y="7006"/>
                  </a:lnTo>
                  <a:lnTo>
                    <a:pt x="274812" y="914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0" name="Freeform: Shape 49">
              <a:extLst>
                <a:ext uri="{FF2B5EF4-FFF2-40B4-BE49-F238E27FC236}">
                  <a16:creationId xmlns:a16="http://schemas.microsoft.com/office/drawing/2014/main" id="{85EF8773-9F52-4559-A179-93BACC6FD988}"/>
                </a:ext>
              </a:extLst>
            </p:cNvPr>
            <p:cNvSpPr/>
            <p:nvPr/>
          </p:nvSpPr>
          <p:spPr bwMode="ltGray">
            <a:xfrm>
              <a:off x="3347810" y="2551625"/>
              <a:ext cx="654660" cy="29146"/>
            </a:xfrm>
            <a:custGeom>
              <a:avLst/>
              <a:gdLst>
                <a:gd name="connsiteX0" fmla="*/ 7006 w 654659"/>
                <a:gd name="connsiteY0" fmla="*/ 7006 h 29145"/>
                <a:gd name="connsiteX1" fmla="*/ 648187 w 654659"/>
                <a:gd name="connsiteY1" fmla="*/ 7006 h 29145"/>
                <a:gd name="connsiteX2" fmla="*/ 64818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87" y="7006"/>
                  </a:lnTo>
                  <a:lnTo>
                    <a:pt x="64818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1" name="Freeform: Shape 50">
              <a:extLst>
                <a:ext uri="{FF2B5EF4-FFF2-40B4-BE49-F238E27FC236}">
                  <a16:creationId xmlns:a16="http://schemas.microsoft.com/office/drawing/2014/main" id="{CAE7F514-1192-4D03-9626-17801F396360}"/>
                </a:ext>
              </a:extLst>
            </p:cNvPr>
            <p:cNvSpPr/>
            <p:nvPr/>
          </p:nvSpPr>
          <p:spPr bwMode="ltGray">
            <a:xfrm>
              <a:off x="3254599" y="2849716"/>
              <a:ext cx="798147" cy="255586"/>
            </a:xfrm>
            <a:custGeom>
              <a:avLst/>
              <a:gdLst>
                <a:gd name="connsiteX0" fmla="*/ 549875 w 798147"/>
                <a:gd name="connsiteY0" fmla="*/ 245068 h 255586"/>
                <a:gd name="connsiteX1" fmla="*/ 432610 w 798147"/>
                <a:gd name="connsiteY1" fmla="*/ 245068 h 255586"/>
                <a:gd name="connsiteX2" fmla="*/ 263303 w 798147"/>
                <a:gd name="connsiteY2" fmla="*/ 75760 h 255586"/>
                <a:gd name="connsiteX3" fmla="*/ 7006 w 798147"/>
                <a:gd name="connsiteY3" fmla="*/ 75760 h 255586"/>
                <a:gd name="connsiteX4" fmla="*/ 7006 w 798147"/>
                <a:gd name="connsiteY4" fmla="*/ 81384 h 255586"/>
                <a:gd name="connsiteX5" fmla="*/ 260977 w 798147"/>
                <a:gd name="connsiteY5" fmla="*/ 81384 h 255586"/>
                <a:gd name="connsiteX6" fmla="*/ 430284 w 798147"/>
                <a:gd name="connsiteY6" fmla="*/ 250701 h 255586"/>
                <a:gd name="connsiteX7" fmla="*/ 552211 w 798147"/>
                <a:gd name="connsiteY7" fmla="*/ 250701 h 255586"/>
                <a:gd name="connsiteX8" fmla="*/ 791926 w 798147"/>
                <a:gd name="connsiteY8" fmla="*/ 10986 h 255586"/>
                <a:gd name="connsiteX9" fmla="*/ 787937 w 798147"/>
                <a:gd name="connsiteY9" fmla="*/ 7006 h 255586"/>
                <a:gd name="connsiteX10" fmla="*/ 549875 w 798147"/>
                <a:gd name="connsiteY10" fmla="*/ 245068 h 2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8147" h="255586">
                  <a:moveTo>
                    <a:pt x="549875" y="245068"/>
                  </a:moveTo>
                  <a:lnTo>
                    <a:pt x="432610" y="245068"/>
                  </a:lnTo>
                  <a:lnTo>
                    <a:pt x="263303" y="75760"/>
                  </a:lnTo>
                  <a:lnTo>
                    <a:pt x="7006" y="75760"/>
                  </a:lnTo>
                  <a:lnTo>
                    <a:pt x="7006" y="81384"/>
                  </a:lnTo>
                  <a:lnTo>
                    <a:pt x="260977" y="81384"/>
                  </a:lnTo>
                  <a:lnTo>
                    <a:pt x="430284" y="250701"/>
                  </a:lnTo>
                  <a:lnTo>
                    <a:pt x="552211" y="250701"/>
                  </a:lnTo>
                  <a:lnTo>
                    <a:pt x="791926" y="10986"/>
                  </a:lnTo>
                  <a:lnTo>
                    <a:pt x="787937" y="7006"/>
                  </a:lnTo>
                  <a:lnTo>
                    <a:pt x="549875" y="2450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2" name="Freeform: Shape 51">
              <a:extLst>
                <a:ext uri="{FF2B5EF4-FFF2-40B4-BE49-F238E27FC236}">
                  <a16:creationId xmlns:a16="http://schemas.microsoft.com/office/drawing/2014/main" id="{6F084B42-FBFA-49C2-B741-086F981BCB9A}"/>
                </a:ext>
              </a:extLst>
            </p:cNvPr>
            <p:cNvSpPr/>
            <p:nvPr/>
          </p:nvSpPr>
          <p:spPr bwMode="ltGray">
            <a:xfrm>
              <a:off x="4174309" y="3678878"/>
              <a:ext cx="482027" cy="35872"/>
            </a:xfrm>
            <a:custGeom>
              <a:avLst/>
              <a:gdLst>
                <a:gd name="connsiteX0" fmla="*/ 7006 w 482027"/>
                <a:gd name="connsiteY0" fmla="*/ 7006 h 35871"/>
                <a:gd name="connsiteX1" fmla="*/ 476012 w 482027"/>
                <a:gd name="connsiteY1" fmla="*/ 7006 h 35871"/>
                <a:gd name="connsiteX2" fmla="*/ 476012 w 482027"/>
                <a:gd name="connsiteY2" fmla="*/ 29520 h 35871"/>
                <a:gd name="connsiteX3" fmla="*/ 7006 w 482027"/>
                <a:gd name="connsiteY3" fmla="*/ 29520 h 35871"/>
              </a:gdLst>
              <a:ahLst/>
              <a:cxnLst>
                <a:cxn ang="0">
                  <a:pos x="connsiteX0" y="connsiteY0"/>
                </a:cxn>
                <a:cxn ang="0">
                  <a:pos x="connsiteX1" y="connsiteY1"/>
                </a:cxn>
                <a:cxn ang="0">
                  <a:pos x="connsiteX2" y="connsiteY2"/>
                </a:cxn>
                <a:cxn ang="0">
                  <a:pos x="connsiteX3" y="connsiteY3"/>
                </a:cxn>
              </a:cxnLst>
              <a:rect l="l" t="t" r="r" b="b"/>
              <a:pathLst>
                <a:path w="482027" h="35871">
                  <a:moveTo>
                    <a:pt x="7006" y="7006"/>
                  </a:moveTo>
                  <a:lnTo>
                    <a:pt x="476012" y="7006"/>
                  </a:lnTo>
                  <a:lnTo>
                    <a:pt x="47601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3" name="Freeform: Shape 52">
              <a:extLst>
                <a:ext uri="{FF2B5EF4-FFF2-40B4-BE49-F238E27FC236}">
                  <a16:creationId xmlns:a16="http://schemas.microsoft.com/office/drawing/2014/main" id="{8F17A34A-D978-4F96-BDE4-485C7D5B7553}"/>
                </a:ext>
              </a:extLst>
            </p:cNvPr>
            <p:cNvSpPr/>
            <p:nvPr/>
          </p:nvSpPr>
          <p:spPr bwMode="ltGray">
            <a:xfrm>
              <a:off x="4154075" y="2551625"/>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4" name="Freeform: Shape 53">
              <a:extLst>
                <a:ext uri="{FF2B5EF4-FFF2-40B4-BE49-F238E27FC236}">
                  <a16:creationId xmlns:a16="http://schemas.microsoft.com/office/drawing/2014/main" id="{0EA5A6D4-F203-4715-AA5C-D23BF46ACC46}"/>
                </a:ext>
              </a:extLst>
            </p:cNvPr>
            <p:cNvSpPr/>
            <p:nvPr/>
          </p:nvSpPr>
          <p:spPr bwMode="ltGray">
            <a:xfrm>
              <a:off x="2696353" y="3575391"/>
              <a:ext cx="105373" cy="105373"/>
            </a:xfrm>
            <a:custGeom>
              <a:avLst/>
              <a:gdLst>
                <a:gd name="connsiteX0" fmla="*/ 52864 w 105373"/>
                <a:gd name="connsiteY0" fmla="*/ 7006 h 105373"/>
                <a:gd name="connsiteX1" fmla="*/ 7006 w 105373"/>
                <a:gd name="connsiteY1" fmla="*/ 52874 h 105373"/>
                <a:gd name="connsiteX2" fmla="*/ 52864 w 105373"/>
                <a:gd name="connsiteY2" fmla="*/ 9873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48"/>
                    <a:pt x="7006" y="52874"/>
                  </a:cubicBezTo>
                  <a:cubicBezTo>
                    <a:pt x="7006" y="78199"/>
                    <a:pt x="27539" y="98732"/>
                    <a:pt x="52864" y="98732"/>
                  </a:cubicBezTo>
                  <a:cubicBezTo>
                    <a:pt x="78199" y="98732"/>
                    <a:pt x="98722" y="78199"/>
                    <a:pt x="98722" y="52874"/>
                  </a:cubicBezTo>
                  <a:cubicBezTo>
                    <a:pt x="98722" y="27548"/>
                    <a:pt x="7819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5" name="Freeform: Shape 54">
              <a:extLst>
                <a:ext uri="{FF2B5EF4-FFF2-40B4-BE49-F238E27FC236}">
                  <a16:creationId xmlns:a16="http://schemas.microsoft.com/office/drawing/2014/main" id="{D4E26530-6081-4D0A-825C-C57AE49D4637}"/>
                </a:ext>
              </a:extLst>
            </p:cNvPr>
            <p:cNvSpPr/>
            <p:nvPr/>
          </p:nvSpPr>
          <p:spPr bwMode="ltGray">
            <a:xfrm>
              <a:off x="2012229" y="3612814"/>
              <a:ext cx="654660" cy="29146"/>
            </a:xfrm>
            <a:custGeom>
              <a:avLst/>
              <a:gdLst>
                <a:gd name="connsiteX0" fmla="*/ 7006 w 654659"/>
                <a:gd name="connsiteY0" fmla="*/ 7006 h 29145"/>
                <a:gd name="connsiteX1" fmla="*/ 648177 w 654659"/>
                <a:gd name="connsiteY1" fmla="*/ 7006 h 29145"/>
                <a:gd name="connsiteX2" fmla="*/ 64817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77" y="7006"/>
                  </a:lnTo>
                  <a:lnTo>
                    <a:pt x="64817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6" name="Freeform: Shape 55">
              <a:extLst>
                <a:ext uri="{FF2B5EF4-FFF2-40B4-BE49-F238E27FC236}">
                  <a16:creationId xmlns:a16="http://schemas.microsoft.com/office/drawing/2014/main" id="{103A0406-19B8-49CD-A370-74D8C9B65A10}"/>
                </a:ext>
              </a:extLst>
            </p:cNvPr>
            <p:cNvSpPr/>
            <p:nvPr/>
          </p:nvSpPr>
          <p:spPr bwMode="ltGray">
            <a:xfrm>
              <a:off x="2818486" y="3612823"/>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7" name="Freeform: Shape 56">
              <a:extLst>
                <a:ext uri="{FF2B5EF4-FFF2-40B4-BE49-F238E27FC236}">
                  <a16:creationId xmlns:a16="http://schemas.microsoft.com/office/drawing/2014/main" id="{FEBE628D-C225-4EA7-90CE-EFCDF11CA1E0}"/>
                </a:ext>
              </a:extLst>
            </p:cNvPr>
            <p:cNvSpPr/>
            <p:nvPr/>
          </p:nvSpPr>
          <p:spPr bwMode="ltGray">
            <a:xfrm>
              <a:off x="2941262" y="3164808"/>
              <a:ext cx="1802557" cy="181601"/>
            </a:xfrm>
            <a:custGeom>
              <a:avLst/>
              <a:gdLst>
                <a:gd name="connsiteX0" fmla="*/ 507950 w 1802556"/>
                <a:gd name="connsiteY0" fmla="*/ 7006 h 181600"/>
                <a:gd name="connsiteX1" fmla="*/ 7006 w 1802556"/>
                <a:gd name="connsiteY1" fmla="*/ 7006 h 181600"/>
                <a:gd name="connsiteX2" fmla="*/ 7006 w 1802556"/>
                <a:gd name="connsiteY2" fmla="*/ 23886 h 181600"/>
                <a:gd name="connsiteX3" fmla="*/ 500954 w 1802556"/>
                <a:gd name="connsiteY3" fmla="*/ 23886 h 181600"/>
                <a:gd name="connsiteX4" fmla="*/ 651980 w 1802556"/>
                <a:gd name="connsiteY4" fmla="*/ 174903 h 181600"/>
                <a:gd name="connsiteX5" fmla="*/ 1796617 w 1802556"/>
                <a:gd name="connsiteY5" fmla="*/ 174903 h 181600"/>
                <a:gd name="connsiteX6" fmla="*/ 1796617 w 1802556"/>
                <a:gd name="connsiteY6" fmla="*/ 158023 h 181600"/>
                <a:gd name="connsiteX7" fmla="*/ 658967 w 1802556"/>
                <a:gd name="connsiteY7" fmla="*/ 158023 h 181600"/>
                <a:gd name="connsiteX8" fmla="*/ 507950 w 1802556"/>
                <a:gd name="connsiteY8" fmla="*/ 7006 h 18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556" h="181600">
                  <a:moveTo>
                    <a:pt x="507950" y="7006"/>
                  </a:moveTo>
                  <a:lnTo>
                    <a:pt x="7006" y="7006"/>
                  </a:lnTo>
                  <a:lnTo>
                    <a:pt x="7006" y="23886"/>
                  </a:lnTo>
                  <a:lnTo>
                    <a:pt x="500954" y="23886"/>
                  </a:lnTo>
                  <a:lnTo>
                    <a:pt x="651980" y="174903"/>
                  </a:lnTo>
                  <a:lnTo>
                    <a:pt x="1796617" y="174903"/>
                  </a:lnTo>
                  <a:lnTo>
                    <a:pt x="1796617" y="158023"/>
                  </a:lnTo>
                  <a:lnTo>
                    <a:pt x="658967" y="158023"/>
                  </a:lnTo>
                  <a:lnTo>
                    <a:pt x="507950"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8" name="Freeform: Shape 57">
              <a:extLst>
                <a:ext uri="{FF2B5EF4-FFF2-40B4-BE49-F238E27FC236}">
                  <a16:creationId xmlns:a16="http://schemas.microsoft.com/office/drawing/2014/main" id="{E3054D2C-9504-44BF-BEE0-A50E4456623A}"/>
                </a:ext>
              </a:extLst>
            </p:cNvPr>
            <p:cNvSpPr/>
            <p:nvPr/>
          </p:nvSpPr>
          <p:spPr bwMode="ltGray">
            <a:xfrm>
              <a:off x="3436088" y="3562957"/>
              <a:ext cx="1107541" cy="257828"/>
            </a:xfrm>
            <a:custGeom>
              <a:avLst/>
              <a:gdLst>
                <a:gd name="connsiteX0" fmla="*/ 444820 w 1107541"/>
                <a:gd name="connsiteY0" fmla="*/ 245489 h 257828"/>
                <a:gd name="connsiteX1" fmla="*/ 7006 w 1107541"/>
                <a:gd name="connsiteY1" fmla="*/ 245489 h 257828"/>
                <a:gd name="connsiteX2" fmla="*/ 7006 w 1107541"/>
                <a:gd name="connsiteY2" fmla="*/ 251112 h 257828"/>
                <a:gd name="connsiteX3" fmla="*/ 447146 w 1107541"/>
                <a:gd name="connsiteY3" fmla="*/ 251112 h 257828"/>
                <a:gd name="connsiteX4" fmla="*/ 685638 w 1107541"/>
                <a:gd name="connsiteY4" fmla="*/ 12630 h 257828"/>
                <a:gd name="connsiteX5" fmla="*/ 1102218 w 1107541"/>
                <a:gd name="connsiteY5" fmla="*/ 12630 h 257828"/>
                <a:gd name="connsiteX6" fmla="*/ 1102218 w 1107541"/>
                <a:gd name="connsiteY6" fmla="*/ 7006 h 257828"/>
                <a:gd name="connsiteX7" fmla="*/ 683311 w 1107541"/>
                <a:gd name="connsiteY7" fmla="*/ 7006 h 257828"/>
                <a:gd name="connsiteX8" fmla="*/ 444820 w 1107541"/>
                <a:gd name="connsiteY8" fmla="*/ 245489 h 25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41" h="257828">
                  <a:moveTo>
                    <a:pt x="444820" y="245489"/>
                  </a:moveTo>
                  <a:lnTo>
                    <a:pt x="7006" y="245489"/>
                  </a:lnTo>
                  <a:lnTo>
                    <a:pt x="7006" y="251112"/>
                  </a:lnTo>
                  <a:lnTo>
                    <a:pt x="447146" y="251112"/>
                  </a:lnTo>
                  <a:lnTo>
                    <a:pt x="685638" y="12630"/>
                  </a:lnTo>
                  <a:lnTo>
                    <a:pt x="1102218" y="12630"/>
                  </a:lnTo>
                  <a:lnTo>
                    <a:pt x="1102218" y="7006"/>
                  </a:lnTo>
                  <a:lnTo>
                    <a:pt x="683311" y="7006"/>
                  </a:lnTo>
                  <a:lnTo>
                    <a:pt x="444820" y="24548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9" name="Freeform: Shape 58">
              <a:extLst>
                <a:ext uri="{FF2B5EF4-FFF2-40B4-BE49-F238E27FC236}">
                  <a16:creationId xmlns:a16="http://schemas.microsoft.com/office/drawing/2014/main" id="{5ED4B78C-3393-4D91-9940-4B96E102EB67}"/>
                </a:ext>
              </a:extLst>
            </p:cNvPr>
            <p:cNvSpPr/>
            <p:nvPr/>
          </p:nvSpPr>
          <p:spPr bwMode="ltGray">
            <a:xfrm>
              <a:off x="3520499" y="3599296"/>
              <a:ext cx="1567148" cy="224199"/>
            </a:xfrm>
            <a:custGeom>
              <a:avLst/>
              <a:gdLst>
                <a:gd name="connsiteX0" fmla="*/ 347023 w 1567148"/>
                <a:gd name="connsiteY0" fmla="*/ 7006 h 224198"/>
                <a:gd name="connsiteX1" fmla="*/ 7006 w 1567148"/>
                <a:gd name="connsiteY1" fmla="*/ 7006 h 224198"/>
                <a:gd name="connsiteX2" fmla="*/ 7006 w 1567148"/>
                <a:gd name="connsiteY2" fmla="*/ 18263 h 224198"/>
                <a:gd name="connsiteX3" fmla="*/ 342361 w 1567148"/>
                <a:gd name="connsiteY3" fmla="*/ 18263 h 224198"/>
                <a:gd name="connsiteX4" fmla="*/ 543393 w 1567148"/>
                <a:gd name="connsiteY4" fmla="*/ 219295 h 224198"/>
                <a:gd name="connsiteX5" fmla="*/ 1560330 w 1567148"/>
                <a:gd name="connsiteY5" fmla="*/ 219295 h 224198"/>
                <a:gd name="connsiteX6" fmla="*/ 1560330 w 1567148"/>
                <a:gd name="connsiteY6" fmla="*/ 208038 h 224198"/>
                <a:gd name="connsiteX7" fmla="*/ 548054 w 1567148"/>
                <a:gd name="connsiteY7" fmla="*/ 208038 h 224198"/>
                <a:gd name="connsiteX8" fmla="*/ 347023 w 1567148"/>
                <a:gd name="connsiteY8" fmla="*/ 7006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148" h="224198">
                  <a:moveTo>
                    <a:pt x="347023" y="7006"/>
                  </a:moveTo>
                  <a:lnTo>
                    <a:pt x="7006" y="7006"/>
                  </a:lnTo>
                  <a:lnTo>
                    <a:pt x="7006" y="18263"/>
                  </a:lnTo>
                  <a:lnTo>
                    <a:pt x="342361" y="18263"/>
                  </a:lnTo>
                  <a:lnTo>
                    <a:pt x="543393" y="219295"/>
                  </a:lnTo>
                  <a:lnTo>
                    <a:pt x="1560330" y="219295"/>
                  </a:lnTo>
                  <a:lnTo>
                    <a:pt x="1560330" y="208038"/>
                  </a:lnTo>
                  <a:lnTo>
                    <a:pt x="548054" y="208038"/>
                  </a:lnTo>
                  <a:lnTo>
                    <a:pt x="347023"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0" name="Freeform: Shape 59">
              <a:extLst>
                <a:ext uri="{FF2B5EF4-FFF2-40B4-BE49-F238E27FC236}">
                  <a16:creationId xmlns:a16="http://schemas.microsoft.com/office/drawing/2014/main" id="{3769700D-7D2B-4EE1-A78F-0F25587CE6A0}"/>
                </a:ext>
              </a:extLst>
            </p:cNvPr>
            <p:cNvSpPr/>
            <p:nvPr/>
          </p:nvSpPr>
          <p:spPr bwMode="ltGray">
            <a:xfrm>
              <a:off x="2861765" y="2305221"/>
              <a:ext cx="1161349" cy="103131"/>
            </a:xfrm>
            <a:custGeom>
              <a:avLst/>
              <a:gdLst>
                <a:gd name="connsiteX0" fmla="*/ 248580 w 1161348"/>
                <a:gd name="connsiteY0" fmla="*/ 89894 h 103131"/>
                <a:gd name="connsiteX1" fmla="*/ 7006 w 1161348"/>
                <a:gd name="connsiteY1" fmla="*/ 89894 h 103131"/>
                <a:gd name="connsiteX2" fmla="*/ 7006 w 1161348"/>
                <a:gd name="connsiteY2" fmla="*/ 98358 h 103131"/>
                <a:gd name="connsiteX3" fmla="*/ 252083 w 1161348"/>
                <a:gd name="connsiteY3" fmla="*/ 98358 h 103131"/>
                <a:gd name="connsiteX4" fmla="*/ 33497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94"/>
                  </a:moveTo>
                  <a:lnTo>
                    <a:pt x="7006" y="89894"/>
                  </a:lnTo>
                  <a:lnTo>
                    <a:pt x="7006" y="98358"/>
                  </a:lnTo>
                  <a:lnTo>
                    <a:pt x="252083" y="98358"/>
                  </a:lnTo>
                  <a:lnTo>
                    <a:pt x="334972" y="15470"/>
                  </a:lnTo>
                  <a:lnTo>
                    <a:pt x="1155633" y="15470"/>
                  </a:lnTo>
                  <a:lnTo>
                    <a:pt x="1155633" y="7006"/>
                  </a:lnTo>
                  <a:lnTo>
                    <a:pt x="331459" y="7006"/>
                  </a:lnTo>
                  <a:lnTo>
                    <a:pt x="248580"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1" name="Freeform: Shape 60">
              <a:extLst>
                <a:ext uri="{FF2B5EF4-FFF2-40B4-BE49-F238E27FC236}">
                  <a16:creationId xmlns:a16="http://schemas.microsoft.com/office/drawing/2014/main" id="{174648F4-61B6-4C08-A981-23B027EEA025}"/>
                </a:ext>
              </a:extLst>
            </p:cNvPr>
            <p:cNvSpPr/>
            <p:nvPr/>
          </p:nvSpPr>
          <p:spPr bwMode="ltGray">
            <a:xfrm>
              <a:off x="1819381" y="3761560"/>
              <a:ext cx="1161349" cy="103131"/>
            </a:xfrm>
            <a:custGeom>
              <a:avLst/>
              <a:gdLst>
                <a:gd name="connsiteX0" fmla="*/ 248580 w 1161348"/>
                <a:gd name="connsiteY0" fmla="*/ 89885 h 103131"/>
                <a:gd name="connsiteX1" fmla="*/ 7006 w 1161348"/>
                <a:gd name="connsiteY1" fmla="*/ 89885 h 103131"/>
                <a:gd name="connsiteX2" fmla="*/ 7006 w 1161348"/>
                <a:gd name="connsiteY2" fmla="*/ 98349 h 103131"/>
                <a:gd name="connsiteX3" fmla="*/ 252084 w 1161348"/>
                <a:gd name="connsiteY3" fmla="*/ 98349 h 103131"/>
                <a:gd name="connsiteX4" fmla="*/ 33496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85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85"/>
                  </a:moveTo>
                  <a:lnTo>
                    <a:pt x="7006" y="89885"/>
                  </a:lnTo>
                  <a:lnTo>
                    <a:pt x="7006" y="98349"/>
                  </a:lnTo>
                  <a:lnTo>
                    <a:pt x="252084" y="98349"/>
                  </a:lnTo>
                  <a:lnTo>
                    <a:pt x="334962" y="15470"/>
                  </a:lnTo>
                  <a:lnTo>
                    <a:pt x="1155633" y="15470"/>
                  </a:lnTo>
                  <a:lnTo>
                    <a:pt x="1155633" y="7006"/>
                  </a:lnTo>
                  <a:lnTo>
                    <a:pt x="331459" y="7006"/>
                  </a:lnTo>
                  <a:lnTo>
                    <a:pt x="248580" y="898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2" name="Freeform: Shape 61">
              <a:extLst>
                <a:ext uri="{FF2B5EF4-FFF2-40B4-BE49-F238E27FC236}">
                  <a16:creationId xmlns:a16="http://schemas.microsoft.com/office/drawing/2014/main" id="{EE751789-C3D1-4668-A9B2-B8380B5FC9E9}"/>
                </a:ext>
              </a:extLst>
            </p:cNvPr>
            <p:cNvSpPr/>
            <p:nvPr/>
          </p:nvSpPr>
          <p:spPr bwMode="ltGray">
            <a:xfrm>
              <a:off x="4190835" y="2514389"/>
              <a:ext cx="1161349" cy="103131"/>
            </a:xfrm>
            <a:custGeom>
              <a:avLst/>
              <a:gdLst>
                <a:gd name="connsiteX0" fmla="*/ 248581 w 1161348"/>
                <a:gd name="connsiteY0" fmla="*/ 89894 h 103131"/>
                <a:gd name="connsiteX1" fmla="*/ 7006 w 1161348"/>
                <a:gd name="connsiteY1" fmla="*/ 89894 h 103131"/>
                <a:gd name="connsiteX2" fmla="*/ 7006 w 1161348"/>
                <a:gd name="connsiteY2" fmla="*/ 98358 h 103131"/>
                <a:gd name="connsiteX3" fmla="*/ 252084 w 1161348"/>
                <a:gd name="connsiteY3" fmla="*/ 98358 h 103131"/>
                <a:gd name="connsiteX4" fmla="*/ 334962 w 1161348"/>
                <a:gd name="connsiteY4" fmla="*/ 15470 h 103131"/>
                <a:gd name="connsiteX5" fmla="*/ 1155623 w 1161348"/>
                <a:gd name="connsiteY5" fmla="*/ 15470 h 103131"/>
                <a:gd name="connsiteX6" fmla="*/ 1155623 w 1161348"/>
                <a:gd name="connsiteY6" fmla="*/ 7006 h 103131"/>
                <a:gd name="connsiteX7" fmla="*/ 331459 w 1161348"/>
                <a:gd name="connsiteY7" fmla="*/ 7006 h 103131"/>
                <a:gd name="connsiteX8" fmla="*/ 248581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1" y="89894"/>
                  </a:moveTo>
                  <a:lnTo>
                    <a:pt x="7006" y="89894"/>
                  </a:lnTo>
                  <a:lnTo>
                    <a:pt x="7006" y="98358"/>
                  </a:lnTo>
                  <a:lnTo>
                    <a:pt x="252084" y="98358"/>
                  </a:lnTo>
                  <a:lnTo>
                    <a:pt x="334962" y="15470"/>
                  </a:lnTo>
                  <a:lnTo>
                    <a:pt x="1155623" y="15470"/>
                  </a:lnTo>
                  <a:lnTo>
                    <a:pt x="1155623" y="7006"/>
                  </a:lnTo>
                  <a:lnTo>
                    <a:pt x="331459" y="7006"/>
                  </a:lnTo>
                  <a:lnTo>
                    <a:pt x="248581"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3" name="Freeform: Shape 62">
              <a:extLst>
                <a:ext uri="{FF2B5EF4-FFF2-40B4-BE49-F238E27FC236}">
                  <a16:creationId xmlns:a16="http://schemas.microsoft.com/office/drawing/2014/main" id="{EC21B41A-EBCB-496D-A58B-456A06C1B078}"/>
                </a:ext>
              </a:extLst>
            </p:cNvPr>
            <p:cNvSpPr/>
            <p:nvPr/>
          </p:nvSpPr>
          <p:spPr bwMode="ltGray">
            <a:xfrm>
              <a:off x="3194999" y="4629882"/>
              <a:ext cx="632240" cy="29146"/>
            </a:xfrm>
            <a:custGeom>
              <a:avLst/>
              <a:gdLst>
                <a:gd name="connsiteX0" fmla="*/ 7006 w 632240"/>
                <a:gd name="connsiteY0" fmla="*/ 7006 h 29145"/>
                <a:gd name="connsiteX1" fmla="*/ 626085 w 632240"/>
                <a:gd name="connsiteY1" fmla="*/ 7006 h 29145"/>
                <a:gd name="connsiteX2" fmla="*/ 626085 w 632240"/>
                <a:gd name="connsiteY2" fmla="*/ 23896 h 29145"/>
                <a:gd name="connsiteX3" fmla="*/ 7006 w 632240"/>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32240" h="29145">
                  <a:moveTo>
                    <a:pt x="7006" y="7006"/>
                  </a:moveTo>
                  <a:lnTo>
                    <a:pt x="626085" y="7006"/>
                  </a:lnTo>
                  <a:lnTo>
                    <a:pt x="626085"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2" name="Freeform: Shape 13311">
              <a:extLst>
                <a:ext uri="{FF2B5EF4-FFF2-40B4-BE49-F238E27FC236}">
                  <a16:creationId xmlns:a16="http://schemas.microsoft.com/office/drawing/2014/main" id="{2BEFE149-FF85-4758-B042-6F9916FE0C87}"/>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3" name="Freeform: Shape 13312">
              <a:extLst>
                <a:ext uri="{FF2B5EF4-FFF2-40B4-BE49-F238E27FC236}">
                  <a16:creationId xmlns:a16="http://schemas.microsoft.com/office/drawing/2014/main" id="{F12F186A-021C-421C-A011-0ADA179D819E}"/>
                </a:ext>
              </a:extLst>
            </p:cNvPr>
            <p:cNvSpPr/>
            <p:nvPr/>
          </p:nvSpPr>
          <p:spPr bwMode="ltGray">
            <a:xfrm>
              <a:off x="3939704"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6" name="Freeform: Shape 13315">
              <a:extLst>
                <a:ext uri="{FF2B5EF4-FFF2-40B4-BE49-F238E27FC236}">
                  <a16:creationId xmlns:a16="http://schemas.microsoft.com/office/drawing/2014/main" id="{DEC8D821-808F-4EFF-8CDD-8B2B94934C98}"/>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7" name="Freeform: Shape 13316">
              <a:extLst>
                <a:ext uri="{FF2B5EF4-FFF2-40B4-BE49-F238E27FC236}">
                  <a16:creationId xmlns:a16="http://schemas.microsoft.com/office/drawing/2014/main" id="{DA9AAB05-DD0E-41C6-8E0E-F877924B3128}"/>
                </a:ext>
              </a:extLst>
            </p:cNvPr>
            <p:cNvSpPr/>
            <p:nvPr/>
          </p:nvSpPr>
          <p:spPr bwMode="ltGray">
            <a:xfrm>
              <a:off x="3801523"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8" name="Freeform: Shape 13317">
              <a:extLst>
                <a:ext uri="{FF2B5EF4-FFF2-40B4-BE49-F238E27FC236}">
                  <a16:creationId xmlns:a16="http://schemas.microsoft.com/office/drawing/2014/main" id="{4284A3E6-DD8A-434F-BE53-59F555F8A836}"/>
                </a:ext>
              </a:extLst>
            </p:cNvPr>
            <p:cNvSpPr/>
            <p:nvPr/>
          </p:nvSpPr>
          <p:spPr bwMode="ltGray">
            <a:xfrm>
              <a:off x="3525160"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9" name="Freeform: Shape 13318">
              <a:extLst>
                <a:ext uri="{FF2B5EF4-FFF2-40B4-BE49-F238E27FC236}">
                  <a16:creationId xmlns:a16="http://schemas.microsoft.com/office/drawing/2014/main" id="{ABE75A4F-B2B9-4C07-8B95-CAA8AEEFF1A4}"/>
                </a:ext>
              </a:extLst>
            </p:cNvPr>
            <p:cNvSpPr/>
            <p:nvPr/>
          </p:nvSpPr>
          <p:spPr bwMode="ltGray">
            <a:xfrm>
              <a:off x="3663341"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0" name="Freeform: Shape 13319">
              <a:extLst>
                <a:ext uri="{FF2B5EF4-FFF2-40B4-BE49-F238E27FC236}">
                  <a16:creationId xmlns:a16="http://schemas.microsoft.com/office/drawing/2014/main" id="{B4E8A190-6304-4980-91BE-D6E4266BC929}"/>
                </a:ext>
              </a:extLst>
            </p:cNvPr>
            <p:cNvSpPr/>
            <p:nvPr/>
          </p:nvSpPr>
          <p:spPr bwMode="ltGray">
            <a:xfrm>
              <a:off x="4077885" y="3900405"/>
              <a:ext cx="71744" cy="47082"/>
            </a:xfrm>
            <a:custGeom>
              <a:avLst/>
              <a:gdLst>
                <a:gd name="connsiteX0" fmla="*/ 7006 w 71743"/>
                <a:gd name="connsiteY0" fmla="*/ 7006 h 47081"/>
                <a:gd name="connsiteX1" fmla="*/ 7006 w 71743"/>
                <a:gd name="connsiteY1" fmla="*/ 12621 h 47081"/>
                <a:gd name="connsiteX2" fmla="*/ 31892 w 71743"/>
                <a:gd name="connsiteY2" fmla="*/ 12621 h 47081"/>
                <a:gd name="connsiteX3" fmla="*/ 61496 w 71743"/>
                <a:gd name="connsiteY3" fmla="*/ 42233 h 47081"/>
                <a:gd name="connsiteX4" fmla="*/ 65475 w 71743"/>
                <a:gd name="connsiteY4" fmla="*/ 38245 h 47081"/>
                <a:gd name="connsiteX5" fmla="*/ 34218 w 71743"/>
                <a:gd name="connsiteY5" fmla="*/ 7006 h 47081"/>
                <a:gd name="connsiteX6" fmla="*/ 7006 w 71743"/>
                <a:gd name="connsiteY6" fmla="*/ 7006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43" h="47081">
                  <a:moveTo>
                    <a:pt x="7006" y="7006"/>
                  </a:moveTo>
                  <a:lnTo>
                    <a:pt x="7006" y="12621"/>
                  </a:lnTo>
                  <a:lnTo>
                    <a:pt x="31892" y="12621"/>
                  </a:lnTo>
                  <a:lnTo>
                    <a:pt x="61496" y="42233"/>
                  </a:lnTo>
                  <a:lnTo>
                    <a:pt x="65475" y="38245"/>
                  </a:lnTo>
                  <a:lnTo>
                    <a:pt x="34218" y="7006"/>
                  </a:lnTo>
                  <a:lnTo>
                    <a:pt x="700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1" name="Freeform: Shape 13320">
              <a:extLst>
                <a:ext uri="{FF2B5EF4-FFF2-40B4-BE49-F238E27FC236}">
                  <a16:creationId xmlns:a16="http://schemas.microsoft.com/office/drawing/2014/main" id="{B7462F1D-A9D7-4B8A-B22A-54336E5CA3C0}"/>
                </a:ext>
              </a:extLst>
            </p:cNvPr>
            <p:cNvSpPr/>
            <p:nvPr/>
          </p:nvSpPr>
          <p:spPr bwMode="ltGray">
            <a:xfrm>
              <a:off x="4339721"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2" name="Freeform: Shape 13321">
              <a:extLst>
                <a:ext uri="{FF2B5EF4-FFF2-40B4-BE49-F238E27FC236}">
                  <a16:creationId xmlns:a16="http://schemas.microsoft.com/office/drawing/2014/main" id="{70ED982C-FD0E-4C42-B540-8BE65612AF2E}"/>
                </a:ext>
              </a:extLst>
            </p:cNvPr>
            <p:cNvSpPr/>
            <p:nvPr/>
          </p:nvSpPr>
          <p:spPr bwMode="ltGray">
            <a:xfrm>
              <a:off x="4477902"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3" name="Freeform: Shape 13322">
              <a:extLst>
                <a:ext uri="{FF2B5EF4-FFF2-40B4-BE49-F238E27FC236}">
                  <a16:creationId xmlns:a16="http://schemas.microsoft.com/office/drawing/2014/main" id="{E878DF4D-7BCC-4CF7-9F67-76EA8BB2C377}"/>
                </a:ext>
              </a:extLst>
            </p:cNvPr>
            <p:cNvSpPr/>
            <p:nvPr/>
          </p:nvSpPr>
          <p:spPr bwMode="ltGray">
            <a:xfrm>
              <a:off x="4201549" y="3935445"/>
              <a:ext cx="82953" cy="17936"/>
            </a:xfrm>
            <a:custGeom>
              <a:avLst/>
              <a:gdLst>
                <a:gd name="connsiteX0" fmla="*/ 7006 w 82953"/>
                <a:gd name="connsiteY0" fmla="*/ 7006 h 17935"/>
                <a:gd name="connsiteX1" fmla="*/ 76087 w 82953"/>
                <a:gd name="connsiteY1" fmla="*/ 7006 h 17935"/>
                <a:gd name="connsiteX2" fmla="*/ 7608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87" y="7006"/>
                  </a:lnTo>
                  <a:lnTo>
                    <a:pt x="7608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4" name="Freeform: Shape 13323">
              <a:extLst>
                <a:ext uri="{FF2B5EF4-FFF2-40B4-BE49-F238E27FC236}">
                  <a16:creationId xmlns:a16="http://schemas.microsoft.com/office/drawing/2014/main" id="{E7D6B575-60FA-49DD-88F1-3F794D2C6F8E}"/>
                </a:ext>
              </a:extLst>
            </p:cNvPr>
            <p:cNvSpPr/>
            <p:nvPr/>
          </p:nvSpPr>
          <p:spPr bwMode="ltGray">
            <a:xfrm>
              <a:off x="4616084" y="3935445"/>
              <a:ext cx="47082" cy="17936"/>
            </a:xfrm>
            <a:custGeom>
              <a:avLst/>
              <a:gdLst>
                <a:gd name="connsiteX0" fmla="*/ 7006 w 47081"/>
                <a:gd name="connsiteY0" fmla="*/ 7006 h 17935"/>
                <a:gd name="connsiteX1" fmla="*/ 40776 w 47081"/>
                <a:gd name="connsiteY1" fmla="*/ 7006 h 17935"/>
                <a:gd name="connsiteX2" fmla="*/ 40776 w 47081"/>
                <a:gd name="connsiteY2" fmla="*/ 12630 h 17935"/>
                <a:gd name="connsiteX3" fmla="*/ 7006 w 47081"/>
                <a:gd name="connsiteY3" fmla="*/ 12630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5" name="Freeform: Shape 13324">
              <a:extLst>
                <a:ext uri="{FF2B5EF4-FFF2-40B4-BE49-F238E27FC236}">
                  <a16:creationId xmlns:a16="http://schemas.microsoft.com/office/drawing/2014/main" id="{F92C5791-AC65-436E-BF5F-47301ECDC72E}"/>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6" name="Freeform: Shape 13325">
              <a:extLst>
                <a:ext uri="{FF2B5EF4-FFF2-40B4-BE49-F238E27FC236}">
                  <a16:creationId xmlns:a16="http://schemas.microsoft.com/office/drawing/2014/main" id="{03B98DCB-C56F-4553-946A-910F76B39C93}"/>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7" name="Freeform: Shape 13326">
              <a:extLst>
                <a:ext uri="{FF2B5EF4-FFF2-40B4-BE49-F238E27FC236}">
                  <a16:creationId xmlns:a16="http://schemas.microsoft.com/office/drawing/2014/main" id="{3B3C9BCA-BAF3-4AF4-94ED-EBE91E3C2870}"/>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8" name="Freeform: Shape 13327">
              <a:extLst>
                <a:ext uri="{FF2B5EF4-FFF2-40B4-BE49-F238E27FC236}">
                  <a16:creationId xmlns:a16="http://schemas.microsoft.com/office/drawing/2014/main" id="{4F52FF49-C042-4D32-9B1B-412E9A0FF370}"/>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9" name="Freeform: Shape 13328">
              <a:extLst>
                <a:ext uri="{FF2B5EF4-FFF2-40B4-BE49-F238E27FC236}">
                  <a16:creationId xmlns:a16="http://schemas.microsoft.com/office/drawing/2014/main" id="{BF8054B7-244B-492E-8F9F-AE6ACE9E395F}"/>
                </a:ext>
              </a:extLst>
            </p:cNvPr>
            <p:cNvSpPr/>
            <p:nvPr/>
          </p:nvSpPr>
          <p:spPr bwMode="ltGray">
            <a:xfrm>
              <a:off x="2941421"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0" name="Freeform: Shape 13329">
              <a:extLst>
                <a:ext uri="{FF2B5EF4-FFF2-40B4-BE49-F238E27FC236}">
                  <a16:creationId xmlns:a16="http://schemas.microsoft.com/office/drawing/2014/main" id="{E3483E1A-7559-49EA-8460-FB87834695DF}"/>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1" name="Freeform: Shape 13330">
              <a:extLst>
                <a:ext uri="{FF2B5EF4-FFF2-40B4-BE49-F238E27FC236}">
                  <a16:creationId xmlns:a16="http://schemas.microsoft.com/office/drawing/2014/main" id="{A13C6F26-AEFE-4E25-8647-DE49638CB007}"/>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2" name="Freeform: Shape 13331">
              <a:extLst>
                <a:ext uri="{FF2B5EF4-FFF2-40B4-BE49-F238E27FC236}">
                  <a16:creationId xmlns:a16="http://schemas.microsoft.com/office/drawing/2014/main" id="{8DF3C697-10A6-4CA7-9BC0-082DAF9399C2}"/>
                </a:ext>
              </a:extLst>
            </p:cNvPr>
            <p:cNvSpPr/>
            <p:nvPr/>
          </p:nvSpPr>
          <p:spPr bwMode="ltGray">
            <a:xfrm>
              <a:off x="456228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3" name="Freeform: Shape 13332">
              <a:extLst>
                <a:ext uri="{FF2B5EF4-FFF2-40B4-BE49-F238E27FC236}">
                  <a16:creationId xmlns:a16="http://schemas.microsoft.com/office/drawing/2014/main" id="{33549792-A0AB-43CB-B850-15C05834B05A}"/>
                </a:ext>
              </a:extLst>
            </p:cNvPr>
            <p:cNvSpPr/>
            <p:nvPr/>
          </p:nvSpPr>
          <p:spPr bwMode="ltGray">
            <a:xfrm>
              <a:off x="442721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4" name="Freeform: Shape 13333">
              <a:extLst>
                <a:ext uri="{FF2B5EF4-FFF2-40B4-BE49-F238E27FC236}">
                  <a16:creationId xmlns:a16="http://schemas.microsoft.com/office/drawing/2014/main" id="{4193D4AB-E43F-4208-B74B-9BA055EC22E2}"/>
                </a:ext>
              </a:extLst>
            </p:cNvPr>
            <p:cNvSpPr/>
            <p:nvPr/>
          </p:nvSpPr>
          <p:spPr bwMode="ltGray">
            <a:xfrm>
              <a:off x="4292135" y="3122127"/>
              <a:ext cx="80712" cy="17936"/>
            </a:xfrm>
            <a:custGeom>
              <a:avLst/>
              <a:gdLst>
                <a:gd name="connsiteX0" fmla="*/ 7006 w 80711"/>
                <a:gd name="connsiteY0" fmla="*/ 7006 h 17935"/>
                <a:gd name="connsiteX1" fmla="*/ 74555 w 80711"/>
                <a:gd name="connsiteY1" fmla="*/ 7006 h 17935"/>
                <a:gd name="connsiteX2" fmla="*/ 74555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55" y="7006"/>
                  </a:lnTo>
                  <a:lnTo>
                    <a:pt x="74555"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5" name="Freeform: Shape 13334">
              <a:extLst>
                <a:ext uri="{FF2B5EF4-FFF2-40B4-BE49-F238E27FC236}">
                  <a16:creationId xmlns:a16="http://schemas.microsoft.com/office/drawing/2014/main" id="{D4AEADEA-0FED-4A3E-92F1-D38B9FA59DAE}"/>
                </a:ext>
              </a:extLst>
            </p:cNvPr>
            <p:cNvSpPr/>
            <p:nvPr/>
          </p:nvSpPr>
          <p:spPr bwMode="ltGray">
            <a:xfrm>
              <a:off x="388692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6" name="Freeform: Shape 13335">
              <a:extLst>
                <a:ext uri="{FF2B5EF4-FFF2-40B4-BE49-F238E27FC236}">
                  <a16:creationId xmlns:a16="http://schemas.microsoft.com/office/drawing/2014/main" id="{AE586CEF-1AD7-41FD-A059-B11AFB7D46B4}"/>
                </a:ext>
              </a:extLst>
            </p:cNvPr>
            <p:cNvSpPr/>
            <p:nvPr/>
          </p:nvSpPr>
          <p:spPr bwMode="ltGray">
            <a:xfrm>
              <a:off x="4697356" y="3122127"/>
              <a:ext cx="47082" cy="17936"/>
            </a:xfrm>
            <a:custGeom>
              <a:avLst/>
              <a:gdLst>
                <a:gd name="connsiteX0" fmla="*/ 7006 w 47081"/>
                <a:gd name="connsiteY0" fmla="*/ 7006 h 17935"/>
                <a:gd name="connsiteX1" fmla="*/ 40356 w 47081"/>
                <a:gd name="connsiteY1" fmla="*/ 7006 h 17935"/>
                <a:gd name="connsiteX2" fmla="*/ 40356 w 47081"/>
                <a:gd name="connsiteY2" fmla="*/ 12639 h 17935"/>
                <a:gd name="connsiteX3" fmla="*/ 7006 w 4708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356" y="7006"/>
                  </a:lnTo>
                  <a:lnTo>
                    <a:pt x="4035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7" name="Freeform: Shape 13336">
              <a:extLst>
                <a:ext uri="{FF2B5EF4-FFF2-40B4-BE49-F238E27FC236}">
                  <a16:creationId xmlns:a16="http://schemas.microsoft.com/office/drawing/2014/main" id="{0DC6C4EF-E2AE-4D16-9A41-67EFC604F02E}"/>
                </a:ext>
              </a:extLst>
            </p:cNvPr>
            <p:cNvSpPr/>
            <p:nvPr/>
          </p:nvSpPr>
          <p:spPr bwMode="ltGray">
            <a:xfrm>
              <a:off x="415706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8" name="Freeform: Shape 13337">
              <a:extLst>
                <a:ext uri="{FF2B5EF4-FFF2-40B4-BE49-F238E27FC236}">
                  <a16:creationId xmlns:a16="http://schemas.microsoft.com/office/drawing/2014/main" id="{DECEE376-419F-4EB8-B466-B14ABBE78D27}"/>
                </a:ext>
              </a:extLst>
            </p:cNvPr>
            <p:cNvSpPr/>
            <p:nvPr/>
          </p:nvSpPr>
          <p:spPr bwMode="ltGray">
            <a:xfrm>
              <a:off x="402199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9" name="Freeform: Shape 13338">
              <a:extLst>
                <a:ext uri="{FF2B5EF4-FFF2-40B4-BE49-F238E27FC236}">
                  <a16:creationId xmlns:a16="http://schemas.microsoft.com/office/drawing/2014/main" id="{C848B348-8563-4C93-BA40-204C414A8312}"/>
                </a:ext>
              </a:extLst>
            </p:cNvPr>
            <p:cNvSpPr/>
            <p:nvPr/>
          </p:nvSpPr>
          <p:spPr bwMode="ltGray">
            <a:xfrm>
              <a:off x="820687" y="3133383"/>
              <a:ext cx="394590" cy="17936"/>
            </a:xfrm>
            <a:custGeom>
              <a:avLst/>
              <a:gdLst>
                <a:gd name="connsiteX0" fmla="*/ 7006 w 394589"/>
                <a:gd name="connsiteY0" fmla="*/ 7006 h 17935"/>
                <a:gd name="connsiteX1" fmla="*/ 389723 w 394589"/>
                <a:gd name="connsiteY1" fmla="*/ 7006 h 17935"/>
                <a:gd name="connsiteX2" fmla="*/ 389723 w 394589"/>
                <a:gd name="connsiteY2" fmla="*/ 12639 h 17935"/>
                <a:gd name="connsiteX3" fmla="*/ 7006 w 394589"/>
                <a:gd name="connsiteY3" fmla="*/ 12639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23" y="7006"/>
                  </a:lnTo>
                  <a:lnTo>
                    <a:pt x="389723"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0" name="Freeform: Shape 13339">
              <a:extLst>
                <a:ext uri="{FF2B5EF4-FFF2-40B4-BE49-F238E27FC236}">
                  <a16:creationId xmlns:a16="http://schemas.microsoft.com/office/drawing/2014/main" id="{173B3AEA-3AA1-4C4B-9E9B-0C4F6D52A5B4}"/>
                </a:ext>
              </a:extLst>
            </p:cNvPr>
            <p:cNvSpPr/>
            <p:nvPr/>
          </p:nvSpPr>
          <p:spPr bwMode="ltGray">
            <a:xfrm>
              <a:off x="4913614" y="3321972"/>
              <a:ext cx="394590" cy="17936"/>
            </a:xfrm>
            <a:custGeom>
              <a:avLst/>
              <a:gdLst>
                <a:gd name="connsiteX0" fmla="*/ 7006 w 394589"/>
                <a:gd name="connsiteY0" fmla="*/ 7006 h 17935"/>
                <a:gd name="connsiteX1" fmla="*/ 389704 w 394589"/>
                <a:gd name="connsiteY1" fmla="*/ 7006 h 17935"/>
                <a:gd name="connsiteX2" fmla="*/ 389704 w 394589"/>
                <a:gd name="connsiteY2" fmla="*/ 12630 h 17935"/>
                <a:gd name="connsiteX3" fmla="*/ 7006 w 394589"/>
                <a:gd name="connsiteY3" fmla="*/ 12630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04" y="7006"/>
                  </a:lnTo>
                  <a:lnTo>
                    <a:pt x="389704"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1" name="Freeform: Shape 13340">
              <a:extLst>
                <a:ext uri="{FF2B5EF4-FFF2-40B4-BE49-F238E27FC236}">
                  <a16:creationId xmlns:a16="http://schemas.microsoft.com/office/drawing/2014/main" id="{59C858C6-4C7C-4942-8233-FD5808A15173}"/>
                </a:ext>
              </a:extLst>
            </p:cNvPr>
            <p:cNvSpPr/>
            <p:nvPr/>
          </p:nvSpPr>
          <p:spPr bwMode="ltGray">
            <a:xfrm>
              <a:off x="1349731" y="3124938"/>
              <a:ext cx="134519" cy="35872"/>
            </a:xfrm>
            <a:custGeom>
              <a:avLst/>
              <a:gdLst>
                <a:gd name="connsiteX0" fmla="*/ 7006 w 134519"/>
                <a:gd name="connsiteY0" fmla="*/ 7006 h 35871"/>
                <a:gd name="connsiteX1" fmla="*/ 128942 w 134519"/>
                <a:gd name="connsiteY1" fmla="*/ 7006 h 35871"/>
                <a:gd name="connsiteX2" fmla="*/ 128942 w 134519"/>
                <a:gd name="connsiteY2" fmla="*/ 29520 h 35871"/>
                <a:gd name="connsiteX3" fmla="*/ 7006 w 134519"/>
                <a:gd name="connsiteY3" fmla="*/ 2952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42" y="7006"/>
                  </a:lnTo>
                  <a:lnTo>
                    <a:pt x="12894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2" name="Freeform: Shape 13341">
              <a:extLst>
                <a:ext uri="{FF2B5EF4-FFF2-40B4-BE49-F238E27FC236}">
                  <a16:creationId xmlns:a16="http://schemas.microsoft.com/office/drawing/2014/main" id="{BE7E516B-108C-4304-8090-13DB79190654}"/>
                </a:ext>
              </a:extLst>
            </p:cNvPr>
            <p:cNvSpPr/>
            <p:nvPr/>
          </p:nvSpPr>
          <p:spPr bwMode="ltGray">
            <a:xfrm>
              <a:off x="6098682" y="3946104"/>
              <a:ext cx="134519" cy="35872"/>
            </a:xfrm>
            <a:custGeom>
              <a:avLst/>
              <a:gdLst>
                <a:gd name="connsiteX0" fmla="*/ 7006 w 134519"/>
                <a:gd name="connsiteY0" fmla="*/ 7006 h 35871"/>
                <a:gd name="connsiteX1" fmla="*/ 128952 w 134519"/>
                <a:gd name="connsiteY1" fmla="*/ 7006 h 35871"/>
                <a:gd name="connsiteX2" fmla="*/ 128952 w 134519"/>
                <a:gd name="connsiteY2" fmla="*/ 29510 h 35871"/>
                <a:gd name="connsiteX3" fmla="*/ 7006 w 134519"/>
                <a:gd name="connsiteY3" fmla="*/ 2951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52" y="7006"/>
                  </a:lnTo>
                  <a:lnTo>
                    <a:pt x="128952" y="29510"/>
                  </a:lnTo>
                  <a:lnTo>
                    <a:pt x="7006"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3" name="Freeform: Shape 13342">
              <a:extLst>
                <a:ext uri="{FF2B5EF4-FFF2-40B4-BE49-F238E27FC236}">
                  <a16:creationId xmlns:a16="http://schemas.microsoft.com/office/drawing/2014/main" id="{4102C674-B163-4434-97EC-E7B85BE4F86F}"/>
                </a:ext>
              </a:extLst>
            </p:cNvPr>
            <p:cNvSpPr/>
            <p:nvPr/>
          </p:nvSpPr>
          <p:spPr bwMode="ltGray">
            <a:xfrm>
              <a:off x="-2860" y="2172719"/>
              <a:ext cx="2315972" cy="755549"/>
            </a:xfrm>
            <a:custGeom>
              <a:avLst/>
              <a:gdLst>
                <a:gd name="connsiteX0" fmla="*/ 1997275 w 2315971"/>
                <a:gd name="connsiteY0" fmla="*/ 130829 h 755549"/>
                <a:gd name="connsiteX1" fmla="*/ 989576 w 2315971"/>
                <a:gd name="connsiteY1" fmla="*/ 130829 h 755549"/>
                <a:gd name="connsiteX2" fmla="*/ 854506 w 2315971"/>
                <a:gd name="connsiteY2" fmla="*/ 332020 h 755549"/>
                <a:gd name="connsiteX3" fmla="*/ 748366 w 2315971"/>
                <a:gd name="connsiteY3" fmla="*/ 332020 h 755549"/>
                <a:gd name="connsiteX4" fmla="*/ 337064 w 2315971"/>
                <a:gd name="connsiteY4" fmla="*/ 743331 h 755549"/>
                <a:gd name="connsiteX5" fmla="*/ 7006 w 2315971"/>
                <a:gd name="connsiteY5" fmla="*/ 743331 h 755549"/>
                <a:gd name="connsiteX6" fmla="*/ 7006 w 2315971"/>
                <a:gd name="connsiteY6" fmla="*/ 748955 h 755549"/>
                <a:gd name="connsiteX7" fmla="*/ 339400 w 2315971"/>
                <a:gd name="connsiteY7" fmla="*/ 748955 h 755549"/>
                <a:gd name="connsiteX8" fmla="*/ 750702 w 2315971"/>
                <a:gd name="connsiteY8" fmla="*/ 337653 h 755549"/>
                <a:gd name="connsiteX9" fmla="*/ 857504 w 2315971"/>
                <a:gd name="connsiteY9" fmla="*/ 337653 h 755549"/>
                <a:gd name="connsiteX10" fmla="*/ 992584 w 2315971"/>
                <a:gd name="connsiteY10" fmla="*/ 136453 h 755549"/>
                <a:gd name="connsiteX11" fmla="*/ 1999713 w 2315971"/>
                <a:gd name="connsiteY11" fmla="*/ 136453 h 755549"/>
                <a:gd name="connsiteX12" fmla="*/ 2116017 w 2315971"/>
                <a:gd name="connsiteY12" fmla="*/ 12639 h 755549"/>
                <a:gd name="connsiteX13" fmla="*/ 2310845 w 2315971"/>
                <a:gd name="connsiteY13" fmla="*/ 12639 h 755549"/>
                <a:gd name="connsiteX14" fmla="*/ 2310845 w 2315971"/>
                <a:gd name="connsiteY14" fmla="*/ 7006 h 755549"/>
                <a:gd name="connsiteX15" fmla="*/ 2113588 w 2315971"/>
                <a:gd name="connsiteY15" fmla="*/ 7006 h 755549"/>
                <a:gd name="connsiteX16" fmla="*/ 1997275 w 2315971"/>
                <a:gd name="connsiteY16" fmla="*/ 130829 h 7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15971" h="755549">
                  <a:moveTo>
                    <a:pt x="1997275" y="130829"/>
                  </a:moveTo>
                  <a:lnTo>
                    <a:pt x="989576" y="130829"/>
                  </a:lnTo>
                  <a:lnTo>
                    <a:pt x="854506" y="332020"/>
                  </a:lnTo>
                  <a:lnTo>
                    <a:pt x="748366" y="332020"/>
                  </a:lnTo>
                  <a:lnTo>
                    <a:pt x="337064" y="743331"/>
                  </a:lnTo>
                  <a:lnTo>
                    <a:pt x="7006" y="743331"/>
                  </a:lnTo>
                  <a:lnTo>
                    <a:pt x="7006" y="748955"/>
                  </a:lnTo>
                  <a:lnTo>
                    <a:pt x="339400" y="748955"/>
                  </a:lnTo>
                  <a:lnTo>
                    <a:pt x="750702" y="337653"/>
                  </a:lnTo>
                  <a:lnTo>
                    <a:pt x="857504" y="337653"/>
                  </a:lnTo>
                  <a:lnTo>
                    <a:pt x="992584" y="136453"/>
                  </a:lnTo>
                  <a:lnTo>
                    <a:pt x="1999713" y="136453"/>
                  </a:lnTo>
                  <a:lnTo>
                    <a:pt x="2116017" y="12639"/>
                  </a:lnTo>
                  <a:lnTo>
                    <a:pt x="2310845" y="12639"/>
                  </a:lnTo>
                  <a:lnTo>
                    <a:pt x="2310845" y="7006"/>
                  </a:lnTo>
                  <a:lnTo>
                    <a:pt x="2113588" y="7006"/>
                  </a:lnTo>
                  <a:lnTo>
                    <a:pt x="1997275" y="13082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4" name="Freeform: Shape 13343">
              <a:extLst>
                <a:ext uri="{FF2B5EF4-FFF2-40B4-BE49-F238E27FC236}">
                  <a16:creationId xmlns:a16="http://schemas.microsoft.com/office/drawing/2014/main" id="{3C889846-2A98-4A8B-8943-BE4FE14465DA}"/>
                </a:ext>
              </a:extLst>
            </p:cNvPr>
            <p:cNvSpPr/>
            <p:nvPr/>
          </p:nvSpPr>
          <p:spPr bwMode="ltGray">
            <a:xfrm>
              <a:off x="3063610" y="2093671"/>
              <a:ext cx="419251" cy="96405"/>
            </a:xfrm>
            <a:custGeom>
              <a:avLst/>
              <a:gdLst>
                <a:gd name="connsiteX0" fmla="*/ 184805 w 419251"/>
                <a:gd name="connsiteY0" fmla="*/ 80151 h 96405"/>
                <a:gd name="connsiteX1" fmla="*/ 7006 w 419251"/>
                <a:gd name="connsiteY1" fmla="*/ 80151 h 96405"/>
                <a:gd name="connsiteX2" fmla="*/ 7006 w 419251"/>
                <a:gd name="connsiteY2" fmla="*/ 91417 h 96405"/>
                <a:gd name="connsiteX3" fmla="*/ 189467 w 419251"/>
                <a:gd name="connsiteY3" fmla="*/ 91417 h 96405"/>
                <a:gd name="connsiteX4" fmla="*/ 262612 w 419251"/>
                <a:gd name="connsiteY4" fmla="*/ 18263 h 96405"/>
                <a:gd name="connsiteX5" fmla="*/ 414105 w 419251"/>
                <a:gd name="connsiteY5" fmla="*/ 18263 h 96405"/>
                <a:gd name="connsiteX6" fmla="*/ 414105 w 419251"/>
                <a:gd name="connsiteY6" fmla="*/ 7006 h 96405"/>
                <a:gd name="connsiteX7" fmla="*/ 257950 w 419251"/>
                <a:gd name="connsiteY7" fmla="*/ 7006 h 96405"/>
                <a:gd name="connsiteX8" fmla="*/ 184805 w 419251"/>
                <a:gd name="connsiteY8" fmla="*/ 80151 h 9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251" h="96405">
                  <a:moveTo>
                    <a:pt x="184805" y="80151"/>
                  </a:moveTo>
                  <a:lnTo>
                    <a:pt x="7006" y="80151"/>
                  </a:lnTo>
                  <a:lnTo>
                    <a:pt x="7006" y="91417"/>
                  </a:lnTo>
                  <a:lnTo>
                    <a:pt x="189467" y="91417"/>
                  </a:lnTo>
                  <a:lnTo>
                    <a:pt x="262612" y="18263"/>
                  </a:lnTo>
                  <a:lnTo>
                    <a:pt x="414105" y="18263"/>
                  </a:lnTo>
                  <a:lnTo>
                    <a:pt x="414105" y="7006"/>
                  </a:lnTo>
                  <a:lnTo>
                    <a:pt x="257950" y="7006"/>
                  </a:lnTo>
                  <a:lnTo>
                    <a:pt x="184805" y="8015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5" name="Freeform: Shape 13344">
              <a:extLst>
                <a:ext uri="{FF2B5EF4-FFF2-40B4-BE49-F238E27FC236}">
                  <a16:creationId xmlns:a16="http://schemas.microsoft.com/office/drawing/2014/main" id="{E318DFBE-F667-47A5-A7C3-D580A0B27468}"/>
                </a:ext>
              </a:extLst>
            </p:cNvPr>
            <p:cNvSpPr/>
            <p:nvPr/>
          </p:nvSpPr>
          <p:spPr bwMode="ltGray">
            <a:xfrm>
              <a:off x="6010105" y="3344308"/>
              <a:ext cx="1549213" cy="1358644"/>
            </a:xfrm>
            <a:custGeom>
              <a:avLst/>
              <a:gdLst>
                <a:gd name="connsiteX0" fmla="*/ 1155278 w 1549212"/>
                <a:gd name="connsiteY0" fmla="*/ 1353442 h 1358643"/>
                <a:gd name="connsiteX1" fmla="*/ 377906 w 1549212"/>
                <a:gd name="connsiteY1" fmla="*/ 1353442 h 1358643"/>
                <a:gd name="connsiteX2" fmla="*/ 7006 w 1549212"/>
                <a:gd name="connsiteY2" fmla="*/ 711018 h 1358643"/>
                <a:gd name="connsiteX3" fmla="*/ 59516 w 1549212"/>
                <a:gd name="connsiteY3" fmla="*/ 620059 h 1358643"/>
                <a:gd name="connsiteX4" fmla="*/ 41748 w 1549212"/>
                <a:gd name="connsiteY4" fmla="*/ 589269 h 1358643"/>
                <a:gd name="connsiteX5" fmla="*/ 377906 w 1549212"/>
                <a:gd name="connsiteY5" fmla="*/ 7006 h 1358643"/>
                <a:gd name="connsiteX6" fmla="*/ 1155278 w 1549212"/>
                <a:gd name="connsiteY6" fmla="*/ 7006 h 1358643"/>
                <a:gd name="connsiteX7" fmla="*/ 1543955 w 1549212"/>
                <a:gd name="connsiteY7" fmla="*/ 680228 h 1358643"/>
                <a:gd name="connsiteX8" fmla="*/ 1155278 w 1549212"/>
                <a:gd name="connsiteY8" fmla="*/ 1353442 h 1358643"/>
                <a:gd name="connsiteX9" fmla="*/ 110231 w 1549212"/>
                <a:gd name="connsiteY9" fmla="*/ 631306 h 1358643"/>
                <a:gd name="connsiteX10" fmla="*/ 81992 w 1549212"/>
                <a:gd name="connsiteY10" fmla="*/ 680228 h 1358643"/>
                <a:gd name="connsiteX11" fmla="*/ 424296 w 1549212"/>
                <a:gd name="connsiteY11" fmla="*/ 1273113 h 1358643"/>
                <a:gd name="connsiteX12" fmla="*/ 1108897 w 1549212"/>
                <a:gd name="connsiteY12" fmla="*/ 1273113 h 1358643"/>
                <a:gd name="connsiteX13" fmla="*/ 1451183 w 1549212"/>
                <a:gd name="connsiteY13" fmla="*/ 680228 h 1358643"/>
                <a:gd name="connsiteX14" fmla="*/ 1108897 w 1549212"/>
                <a:gd name="connsiteY14" fmla="*/ 87344 h 1358643"/>
                <a:gd name="connsiteX15" fmla="*/ 424296 w 1549212"/>
                <a:gd name="connsiteY15" fmla="*/ 87344 h 1358643"/>
                <a:gd name="connsiteX16" fmla="*/ 123226 w 1549212"/>
                <a:gd name="connsiteY16" fmla="*/ 608802 h 1358643"/>
                <a:gd name="connsiteX17" fmla="*/ 95583 w 1549212"/>
                <a:gd name="connsiteY17" fmla="*/ 608802 h 1358643"/>
                <a:gd name="connsiteX18" fmla="*/ 95583 w 1549212"/>
                <a:gd name="connsiteY18" fmla="*/ 631306 h 1358643"/>
                <a:gd name="connsiteX19" fmla="*/ 110231 w 1549212"/>
                <a:gd name="connsiteY19" fmla="*/ 631306 h 135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212" h="1358643">
                  <a:moveTo>
                    <a:pt x="1155278" y="1353442"/>
                  </a:moveTo>
                  <a:lnTo>
                    <a:pt x="377906" y="1353442"/>
                  </a:lnTo>
                  <a:lnTo>
                    <a:pt x="7006" y="711018"/>
                  </a:lnTo>
                  <a:lnTo>
                    <a:pt x="59516" y="620059"/>
                  </a:lnTo>
                  <a:lnTo>
                    <a:pt x="41748" y="589269"/>
                  </a:lnTo>
                  <a:lnTo>
                    <a:pt x="377906" y="7006"/>
                  </a:lnTo>
                  <a:lnTo>
                    <a:pt x="1155278" y="7006"/>
                  </a:lnTo>
                  <a:lnTo>
                    <a:pt x="1543955" y="680228"/>
                  </a:lnTo>
                  <a:lnTo>
                    <a:pt x="1155278" y="1353442"/>
                  </a:lnTo>
                  <a:close/>
                  <a:moveTo>
                    <a:pt x="110231" y="631306"/>
                  </a:moveTo>
                  <a:lnTo>
                    <a:pt x="81992" y="680228"/>
                  </a:lnTo>
                  <a:lnTo>
                    <a:pt x="424296" y="1273113"/>
                  </a:lnTo>
                  <a:lnTo>
                    <a:pt x="1108897" y="1273113"/>
                  </a:lnTo>
                  <a:lnTo>
                    <a:pt x="1451183" y="680228"/>
                  </a:lnTo>
                  <a:lnTo>
                    <a:pt x="1108897" y="87344"/>
                  </a:lnTo>
                  <a:lnTo>
                    <a:pt x="424296" y="87344"/>
                  </a:lnTo>
                  <a:lnTo>
                    <a:pt x="123226" y="608802"/>
                  </a:lnTo>
                  <a:lnTo>
                    <a:pt x="95583" y="608802"/>
                  </a:lnTo>
                  <a:lnTo>
                    <a:pt x="95583" y="631306"/>
                  </a:lnTo>
                  <a:lnTo>
                    <a:pt x="110231" y="63130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6" name="Freeform: Shape 13345">
              <a:extLst>
                <a:ext uri="{FF2B5EF4-FFF2-40B4-BE49-F238E27FC236}">
                  <a16:creationId xmlns:a16="http://schemas.microsoft.com/office/drawing/2014/main" id="{7331F67B-9AEF-4556-801B-6DACF75CBA70}"/>
                </a:ext>
              </a:extLst>
            </p:cNvPr>
            <p:cNvSpPr/>
            <p:nvPr/>
          </p:nvSpPr>
          <p:spPr bwMode="ltGray">
            <a:xfrm>
              <a:off x="5992328" y="3926571"/>
              <a:ext cx="82953" cy="134519"/>
            </a:xfrm>
            <a:custGeom>
              <a:avLst/>
              <a:gdLst>
                <a:gd name="connsiteX0" fmla="*/ 24783 w 82953"/>
                <a:gd name="connsiteY0" fmla="*/ 128755 h 134519"/>
                <a:gd name="connsiteX1" fmla="*/ 7006 w 82953"/>
                <a:gd name="connsiteY1" fmla="*/ 97966 h 134519"/>
                <a:gd name="connsiteX2" fmla="*/ 59525 w 82953"/>
                <a:gd name="connsiteY2" fmla="*/ 7006 h 134519"/>
                <a:gd name="connsiteX3" fmla="*/ 77293 w 82953"/>
                <a:gd name="connsiteY3" fmla="*/ 37796 h 134519"/>
                <a:gd name="connsiteX4" fmla="*/ 24783 w 82953"/>
                <a:gd name="connsiteY4" fmla="*/ 128755 h 13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134519">
                  <a:moveTo>
                    <a:pt x="24783" y="128755"/>
                  </a:moveTo>
                  <a:lnTo>
                    <a:pt x="7006" y="97966"/>
                  </a:lnTo>
                  <a:lnTo>
                    <a:pt x="59525" y="7006"/>
                  </a:lnTo>
                  <a:lnTo>
                    <a:pt x="77293" y="37796"/>
                  </a:lnTo>
                  <a:lnTo>
                    <a:pt x="24783" y="12875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7" name="Freeform: Shape 13346">
              <a:extLst>
                <a:ext uri="{FF2B5EF4-FFF2-40B4-BE49-F238E27FC236}">
                  <a16:creationId xmlns:a16="http://schemas.microsoft.com/office/drawing/2014/main" id="{91DC5730-B161-4B50-801D-5C35D4ACF1E4}"/>
                </a:ext>
              </a:extLst>
            </p:cNvPr>
            <p:cNvSpPr/>
            <p:nvPr/>
          </p:nvSpPr>
          <p:spPr bwMode="ltGray">
            <a:xfrm>
              <a:off x="6098682" y="3946104"/>
              <a:ext cx="40356" cy="35872"/>
            </a:xfrm>
            <a:custGeom>
              <a:avLst/>
              <a:gdLst>
                <a:gd name="connsiteX0" fmla="*/ 21654 w 40355"/>
                <a:gd name="connsiteY0" fmla="*/ 29510 h 35871"/>
                <a:gd name="connsiteX1" fmla="*/ 7006 w 40355"/>
                <a:gd name="connsiteY1" fmla="*/ 29510 h 35871"/>
                <a:gd name="connsiteX2" fmla="*/ 7006 w 40355"/>
                <a:gd name="connsiteY2" fmla="*/ 7006 h 35871"/>
                <a:gd name="connsiteX3" fmla="*/ 34648 w 40355"/>
                <a:gd name="connsiteY3" fmla="*/ 7006 h 35871"/>
                <a:gd name="connsiteX4" fmla="*/ 21654 w 40355"/>
                <a:gd name="connsiteY4" fmla="*/ 29510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35871">
                  <a:moveTo>
                    <a:pt x="21654" y="29510"/>
                  </a:moveTo>
                  <a:lnTo>
                    <a:pt x="7006" y="29510"/>
                  </a:lnTo>
                  <a:lnTo>
                    <a:pt x="7006" y="7006"/>
                  </a:lnTo>
                  <a:lnTo>
                    <a:pt x="34648" y="7006"/>
                  </a:lnTo>
                  <a:lnTo>
                    <a:pt x="21654"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8" name="Freeform: Shape 13347">
              <a:extLst>
                <a:ext uri="{FF2B5EF4-FFF2-40B4-BE49-F238E27FC236}">
                  <a16:creationId xmlns:a16="http://schemas.microsoft.com/office/drawing/2014/main" id="{A902CE54-F709-4C59-A132-D9175B4E9CE5}"/>
                </a:ext>
              </a:extLst>
            </p:cNvPr>
            <p:cNvSpPr/>
            <p:nvPr/>
          </p:nvSpPr>
          <p:spPr bwMode="ltGray">
            <a:xfrm>
              <a:off x="4352463" y="1673083"/>
              <a:ext cx="1163591" cy="1008894"/>
            </a:xfrm>
            <a:custGeom>
              <a:avLst/>
              <a:gdLst>
                <a:gd name="connsiteX0" fmla="*/ 869807 w 1163590"/>
                <a:gd name="connsiteY0" fmla="*/ 1003280 h 1008893"/>
                <a:gd name="connsiteX1" fmla="*/ 294607 w 1163590"/>
                <a:gd name="connsiteY1" fmla="*/ 1003280 h 1008893"/>
                <a:gd name="connsiteX2" fmla="*/ 210028 w 1163590"/>
                <a:gd name="connsiteY2" fmla="*/ 856776 h 1008893"/>
                <a:gd name="connsiteX3" fmla="*/ 342538 w 1163590"/>
                <a:gd name="connsiteY3" fmla="*/ 856776 h 1008893"/>
                <a:gd name="connsiteX4" fmla="*/ 360867 w 1163590"/>
                <a:gd name="connsiteY4" fmla="*/ 888519 h 1008893"/>
                <a:gd name="connsiteX5" fmla="*/ 803547 w 1163590"/>
                <a:gd name="connsiteY5" fmla="*/ 888519 h 1008893"/>
                <a:gd name="connsiteX6" fmla="*/ 821876 w 1163590"/>
                <a:gd name="connsiteY6" fmla="*/ 856776 h 1008893"/>
                <a:gd name="connsiteX7" fmla="*/ 954396 w 1163590"/>
                <a:gd name="connsiteY7" fmla="*/ 856776 h 1008893"/>
                <a:gd name="connsiteX8" fmla="*/ 869807 w 1163590"/>
                <a:gd name="connsiteY8" fmla="*/ 1003280 h 1008893"/>
                <a:gd name="connsiteX9" fmla="*/ 959281 w 1163590"/>
                <a:gd name="connsiteY9" fmla="*/ 848312 h 1008893"/>
                <a:gd name="connsiteX10" fmla="*/ 826761 w 1163590"/>
                <a:gd name="connsiteY10" fmla="*/ 848312 h 1008893"/>
                <a:gd name="connsiteX11" fmla="*/ 1024897 w 1163590"/>
                <a:gd name="connsiteY11" fmla="*/ 505148 h 1008893"/>
                <a:gd name="connsiteX12" fmla="*/ 803547 w 1163590"/>
                <a:gd name="connsiteY12" fmla="*/ 121777 h 1008893"/>
                <a:gd name="connsiteX13" fmla="*/ 360867 w 1163590"/>
                <a:gd name="connsiteY13" fmla="*/ 121777 h 1008893"/>
                <a:gd name="connsiteX14" fmla="*/ 139526 w 1163590"/>
                <a:gd name="connsiteY14" fmla="*/ 505148 h 1008893"/>
                <a:gd name="connsiteX15" fmla="*/ 337653 w 1163590"/>
                <a:gd name="connsiteY15" fmla="*/ 848312 h 1008893"/>
                <a:gd name="connsiteX16" fmla="*/ 205133 w 1163590"/>
                <a:gd name="connsiteY16" fmla="*/ 848312 h 1008893"/>
                <a:gd name="connsiteX17" fmla="*/ 7006 w 1163590"/>
                <a:gd name="connsiteY17" fmla="*/ 505148 h 1008893"/>
                <a:gd name="connsiteX18" fmla="*/ 294607 w 1163590"/>
                <a:gd name="connsiteY18" fmla="*/ 7006 h 1008893"/>
                <a:gd name="connsiteX19" fmla="*/ 869807 w 1163590"/>
                <a:gd name="connsiteY19" fmla="*/ 7006 h 1008893"/>
                <a:gd name="connsiteX20" fmla="*/ 1157408 w 1163590"/>
                <a:gd name="connsiteY20" fmla="*/ 505148 h 1008893"/>
                <a:gd name="connsiteX21" fmla="*/ 959281 w 1163590"/>
                <a:gd name="connsiteY21" fmla="*/ 848312 h 100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3590" h="1008893">
                  <a:moveTo>
                    <a:pt x="869807" y="1003280"/>
                  </a:moveTo>
                  <a:lnTo>
                    <a:pt x="294607" y="1003280"/>
                  </a:lnTo>
                  <a:lnTo>
                    <a:pt x="210028" y="856776"/>
                  </a:lnTo>
                  <a:lnTo>
                    <a:pt x="342538" y="856776"/>
                  </a:lnTo>
                  <a:lnTo>
                    <a:pt x="360867" y="888519"/>
                  </a:lnTo>
                  <a:lnTo>
                    <a:pt x="803547" y="888519"/>
                  </a:lnTo>
                  <a:lnTo>
                    <a:pt x="821876" y="856776"/>
                  </a:lnTo>
                  <a:lnTo>
                    <a:pt x="954396" y="856776"/>
                  </a:lnTo>
                  <a:lnTo>
                    <a:pt x="869807" y="1003280"/>
                  </a:lnTo>
                  <a:close/>
                  <a:moveTo>
                    <a:pt x="959281" y="848312"/>
                  </a:moveTo>
                  <a:lnTo>
                    <a:pt x="826761" y="848312"/>
                  </a:lnTo>
                  <a:lnTo>
                    <a:pt x="1024897" y="505148"/>
                  </a:lnTo>
                  <a:lnTo>
                    <a:pt x="803547" y="121777"/>
                  </a:lnTo>
                  <a:lnTo>
                    <a:pt x="360867" y="121777"/>
                  </a:lnTo>
                  <a:lnTo>
                    <a:pt x="139526" y="505148"/>
                  </a:lnTo>
                  <a:lnTo>
                    <a:pt x="337653" y="848312"/>
                  </a:lnTo>
                  <a:lnTo>
                    <a:pt x="205133" y="848312"/>
                  </a:lnTo>
                  <a:lnTo>
                    <a:pt x="7006" y="505148"/>
                  </a:lnTo>
                  <a:lnTo>
                    <a:pt x="294607" y="7006"/>
                  </a:lnTo>
                  <a:lnTo>
                    <a:pt x="869807" y="7006"/>
                  </a:lnTo>
                  <a:lnTo>
                    <a:pt x="1157408" y="505148"/>
                  </a:lnTo>
                  <a:lnTo>
                    <a:pt x="959281" y="848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9" name="Freeform: Shape 13348">
              <a:extLst>
                <a:ext uri="{FF2B5EF4-FFF2-40B4-BE49-F238E27FC236}">
                  <a16:creationId xmlns:a16="http://schemas.microsoft.com/office/drawing/2014/main" id="{1F673CD9-9D6E-4396-ADA6-42EE6807D6FE}"/>
                </a:ext>
              </a:extLst>
            </p:cNvPr>
            <p:cNvSpPr/>
            <p:nvPr/>
          </p:nvSpPr>
          <p:spPr bwMode="ltGray">
            <a:xfrm>
              <a:off x="4550590" y="2514389"/>
              <a:ext cx="766759" cy="22420"/>
            </a:xfrm>
            <a:custGeom>
              <a:avLst/>
              <a:gdLst>
                <a:gd name="connsiteX0" fmla="*/ 756269 w 766759"/>
                <a:gd name="connsiteY0" fmla="*/ 15470 h 22419"/>
                <a:gd name="connsiteX1" fmla="*/ 623749 w 766759"/>
                <a:gd name="connsiteY1" fmla="*/ 15470 h 22419"/>
                <a:gd name="connsiteX2" fmla="*/ 628635 w 766759"/>
                <a:gd name="connsiteY2" fmla="*/ 7006 h 22419"/>
                <a:gd name="connsiteX3" fmla="*/ 761155 w 766759"/>
                <a:gd name="connsiteY3" fmla="*/ 7006 h 22419"/>
                <a:gd name="connsiteX4" fmla="*/ 756269 w 766759"/>
                <a:gd name="connsiteY4" fmla="*/ 15470 h 22419"/>
                <a:gd name="connsiteX5" fmla="*/ 144412 w 766759"/>
                <a:gd name="connsiteY5" fmla="*/ 15470 h 22419"/>
                <a:gd name="connsiteX6" fmla="*/ 11901 w 766759"/>
                <a:gd name="connsiteY6" fmla="*/ 15470 h 22419"/>
                <a:gd name="connsiteX7" fmla="*/ 7006 w 766759"/>
                <a:gd name="connsiteY7" fmla="*/ 7006 h 22419"/>
                <a:gd name="connsiteX8" fmla="*/ 139526 w 766759"/>
                <a:gd name="connsiteY8" fmla="*/ 7006 h 22419"/>
                <a:gd name="connsiteX9" fmla="*/ 144412 w 766759"/>
                <a:gd name="connsiteY9" fmla="*/ 15470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22419">
                  <a:moveTo>
                    <a:pt x="756269" y="15470"/>
                  </a:moveTo>
                  <a:lnTo>
                    <a:pt x="623749" y="15470"/>
                  </a:lnTo>
                  <a:lnTo>
                    <a:pt x="628635" y="7006"/>
                  </a:lnTo>
                  <a:lnTo>
                    <a:pt x="761155" y="7006"/>
                  </a:lnTo>
                  <a:lnTo>
                    <a:pt x="756269" y="15470"/>
                  </a:lnTo>
                  <a:close/>
                  <a:moveTo>
                    <a:pt x="144412" y="15470"/>
                  </a:moveTo>
                  <a:lnTo>
                    <a:pt x="11901" y="15470"/>
                  </a:lnTo>
                  <a:lnTo>
                    <a:pt x="7006" y="7006"/>
                  </a:lnTo>
                  <a:lnTo>
                    <a:pt x="139526" y="7006"/>
                  </a:lnTo>
                  <a:lnTo>
                    <a:pt x="144412"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0" name="Freeform: Shape 13349">
              <a:extLst>
                <a:ext uri="{FF2B5EF4-FFF2-40B4-BE49-F238E27FC236}">
                  <a16:creationId xmlns:a16="http://schemas.microsoft.com/office/drawing/2014/main" id="{CE263E70-2187-4562-AA99-6586376B8012}"/>
                </a:ext>
              </a:extLst>
            </p:cNvPr>
            <p:cNvSpPr/>
            <p:nvPr/>
          </p:nvSpPr>
          <p:spPr bwMode="ltGray">
            <a:xfrm>
              <a:off x="7779744" y="1366846"/>
              <a:ext cx="618788" cy="618788"/>
            </a:xfrm>
            <a:custGeom>
              <a:avLst/>
              <a:gdLst>
                <a:gd name="connsiteX0" fmla="*/ 310319 w 618788"/>
                <a:gd name="connsiteY0" fmla="*/ 613632 h 618788"/>
                <a:gd name="connsiteX1" fmla="*/ 7006 w 618788"/>
                <a:gd name="connsiteY1" fmla="*/ 310319 h 618788"/>
                <a:gd name="connsiteX2" fmla="*/ 310319 w 618788"/>
                <a:gd name="connsiteY2" fmla="*/ 7006 h 618788"/>
                <a:gd name="connsiteX3" fmla="*/ 613632 w 618788"/>
                <a:gd name="connsiteY3" fmla="*/ 310319 h 618788"/>
                <a:gd name="connsiteX4" fmla="*/ 310319 w 618788"/>
                <a:gd name="connsiteY4" fmla="*/ 613632 h 618788"/>
                <a:gd name="connsiteX5" fmla="*/ 310319 w 618788"/>
                <a:gd name="connsiteY5" fmla="*/ 64382 h 618788"/>
                <a:gd name="connsiteX6" fmla="*/ 64392 w 618788"/>
                <a:gd name="connsiteY6" fmla="*/ 310319 h 618788"/>
                <a:gd name="connsiteX7" fmla="*/ 310319 w 618788"/>
                <a:gd name="connsiteY7" fmla="*/ 556247 h 618788"/>
                <a:gd name="connsiteX8" fmla="*/ 556246 w 618788"/>
                <a:gd name="connsiteY8" fmla="*/ 310319 h 618788"/>
                <a:gd name="connsiteX9" fmla="*/ 310319 w 618788"/>
                <a:gd name="connsiteY9" fmla="*/ 64382 h 61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788" h="618788">
                  <a:moveTo>
                    <a:pt x="310319" y="613632"/>
                  </a:moveTo>
                  <a:cubicBezTo>
                    <a:pt x="143067" y="613632"/>
                    <a:pt x="7006" y="477572"/>
                    <a:pt x="7006" y="310319"/>
                  </a:cubicBezTo>
                  <a:cubicBezTo>
                    <a:pt x="7006" y="143076"/>
                    <a:pt x="143067" y="7006"/>
                    <a:pt x="310319" y="7006"/>
                  </a:cubicBezTo>
                  <a:cubicBezTo>
                    <a:pt x="477562" y="7006"/>
                    <a:pt x="613632" y="143076"/>
                    <a:pt x="613632" y="310319"/>
                  </a:cubicBezTo>
                  <a:cubicBezTo>
                    <a:pt x="613632" y="477572"/>
                    <a:pt x="477562" y="613632"/>
                    <a:pt x="310319" y="613632"/>
                  </a:cubicBezTo>
                  <a:close/>
                  <a:moveTo>
                    <a:pt x="310319" y="64382"/>
                  </a:moveTo>
                  <a:cubicBezTo>
                    <a:pt x="174707" y="64382"/>
                    <a:pt x="64392" y="174707"/>
                    <a:pt x="64392" y="310319"/>
                  </a:cubicBezTo>
                  <a:cubicBezTo>
                    <a:pt x="64392" y="445922"/>
                    <a:pt x="174707" y="556247"/>
                    <a:pt x="310319" y="556247"/>
                  </a:cubicBezTo>
                  <a:cubicBezTo>
                    <a:pt x="445922" y="556247"/>
                    <a:pt x="556246" y="445922"/>
                    <a:pt x="556246" y="310319"/>
                  </a:cubicBezTo>
                  <a:cubicBezTo>
                    <a:pt x="556246" y="174707"/>
                    <a:pt x="445922" y="64382"/>
                    <a:pt x="310319" y="64382"/>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1" name="Freeform: Shape 13350">
              <a:extLst>
                <a:ext uri="{FF2B5EF4-FFF2-40B4-BE49-F238E27FC236}">
                  <a16:creationId xmlns:a16="http://schemas.microsoft.com/office/drawing/2014/main" id="{803CC444-6862-410B-8E89-C553F34D0968}"/>
                </a:ext>
              </a:extLst>
            </p:cNvPr>
            <p:cNvSpPr/>
            <p:nvPr/>
          </p:nvSpPr>
          <p:spPr bwMode="ltGray">
            <a:xfrm>
              <a:off x="6678470"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70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70" y="57441"/>
                    <a:pt x="24270" y="98218"/>
                  </a:cubicBezTo>
                  <a:cubicBezTo>
                    <a:pt x="24270"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2" name="Freeform: Shape 13351">
              <a:extLst>
                <a:ext uri="{FF2B5EF4-FFF2-40B4-BE49-F238E27FC236}">
                  <a16:creationId xmlns:a16="http://schemas.microsoft.com/office/drawing/2014/main" id="{BCA64109-3856-4AA7-89F9-F8D84F3E214C}"/>
                </a:ext>
              </a:extLst>
            </p:cNvPr>
            <p:cNvSpPr/>
            <p:nvPr/>
          </p:nvSpPr>
          <p:spPr bwMode="ltGray">
            <a:xfrm>
              <a:off x="6615003" y="5383078"/>
              <a:ext cx="195053" cy="195053"/>
            </a:xfrm>
            <a:custGeom>
              <a:avLst/>
              <a:gdLst>
                <a:gd name="connsiteX0" fmla="*/ 98227 w 195052"/>
                <a:gd name="connsiteY0" fmla="*/ 189448 h 195052"/>
                <a:gd name="connsiteX1" fmla="*/ 7006 w 195052"/>
                <a:gd name="connsiteY1" fmla="*/ 98227 h 195052"/>
                <a:gd name="connsiteX2" fmla="*/ 98227 w 195052"/>
                <a:gd name="connsiteY2" fmla="*/ 7006 h 195052"/>
                <a:gd name="connsiteX3" fmla="*/ 189448 w 195052"/>
                <a:gd name="connsiteY3" fmla="*/ 98227 h 195052"/>
                <a:gd name="connsiteX4" fmla="*/ 98227 w 195052"/>
                <a:gd name="connsiteY4" fmla="*/ 189448 h 195052"/>
                <a:gd name="connsiteX5" fmla="*/ 98227 w 195052"/>
                <a:gd name="connsiteY5" fmla="*/ 24270 h 195052"/>
                <a:gd name="connsiteX6" fmla="*/ 24270 w 195052"/>
                <a:gd name="connsiteY6" fmla="*/ 98227 h 195052"/>
                <a:gd name="connsiteX7" fmla="*/ 98227 w 195052"/>
                <a:gd name="connsiteY7" fmla="*/ 172185 h 195052"/>
                <a:gd name="connsiteX8" fmla="*/ 172185 w 195052"/>
                <a:gd name="connsiteY8" fmla="*/ 98227 h 195052"/>
                <a:gd name="connsiteX9" fmla="*/ 98227 w 195052"/>
                <a:gd name="connsiteY9" fmla="*/ 2427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48"/>
                  </a:moveTo>
                  <a:cubicBezTo>
                    <a:pt x="47932" y="189448"/>
                    <a:pt x="7006" y="148532"/>
                    <a:pt x="7006" y="98227"/>
                  </a:cubicBezTo>
                  <a:cubicBezTo>
                    <a:pt x="7006" y="47932"/>
                    <a:pt x="47932" y="7006"/>
                    <a:pt x="98227" y="7006"/>
                  </a:cubicBezTo>
                  <a:cubicBezTo>
                    <a:pt x="148532" y="7006"/>
                    <a:pt x="189448" y="47932"/>
                    <a:pt x="189448" y="98227"/>
                  </a:cubicBezTo>
                  <a:cubicBezTo>
                    <a:pt x="189448" y="148532"/>
                    <a:pt x="148532" y="189448"/>
                    <a:pt x="98227" y="189448"/>
                  </a:cubicBezTo>
                  <a:close/>
                  <a:moveTo>
                    <a:pt x="98227" y="24270"/>
                  </a:moveTo>
                  <a:cubicBezTo>
                    <a:pt x="57451" y="24270"/>
                    <a:pt x="24270" y="57451"/>
                    <a:pt x="24270" y="98227"/>
                  </a:cubicBezTo>
                  <a:cubicBezTo>
                    <a:pt x="24270" y="139013"/>
                    <a:pt x="57451" y="172185"/>
                    <a:pt x="98227" y="172185"/>
                  </a:cubicBezTo>
                  <a:cubicBezTo>
                    <a:pt x="139013" y="172185"/>
                    <a:pt x="172185" y="139013"/>
                    <a:pt x="172185" y="98227"/>
                  </a:cubicBezTo>
                  <a:cubicBezTo>
                    <a:pt x="172185" y="57451"/>
                    <a:pt x="139013" y="24270"/>
                    <a:pt x="98227" y="242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3" name="Freeform: Shape 13352">
              <a:extLst>
                <a:ext uri="{FF2B5EF4-FFF2-40B4-BE49-F238E27FC236}">
                  <a16:creationId xmlns:a16="http://schemas.microsoft.com/office/drawing/2014/main" id="{5D9FA834-89D1-49C3-A5DA-9AFA1734C7BA}"/>
                </a:ext>
              </a:extLst>
            </p:cNvPr>
            <p:cNvSpPr/>
            <p:nvPr/>
          </p:nvSpPr>
          <p:spPr bwMode="ltGray">
            <a:xfrm>
              <a:off x="6988332"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39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4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2" y="189429"/>
                    <a:pt x="7006" y="148522"/>
                    <a:pt x="7006" y="98218"/>
                  </a:cubicBezTo>
                  <a:cubicBezTo>
                    <a:pt x="7006" y="47923"/>
                    <a:pt x="47922" y="7006"/>
                    <a:pt x="98227" y="7006"/>
                  </a:cubicBezTo>
                  <a:cubicBezTo>
                    <a:pt x="148522" y="7006"/>
                    <a:pt x="189439" y="47923"/>
                    <a:pt x="189439" y="98218"/>
                  </a:cubicBezTo>
                  <a:cubicBezTo>
                    <a:pt x="189439"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4" y="139003"/>
                    <a:pt x="172184" y="98218"/>
                  </a:cubicBezTo>
                  <a:cubicBezTo>
                    <a:pt x="172184"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4" name="Freeform: Shape 13353">
              <a:extLst>
                <a:ext uri="{FF2B5EF4-FFF2-40B4-BE49-F238E27FC236}">
                  <a16:creationId xmlns:a16="http://schemas.microsoft.com/office/drawing/2014/main" id="{F2B2EC74-20BA-439C-9702-67E74EF6FE8B}"/>
                </a:ext>
              </a:extLst>
            </p:cNvPr>
            <p:cNvSpPr/>
            <p:nvPr/>
          </p:nvSpPr>
          <p:spPr bwMode="ltGray">
            <a:xfrm>
              <a:off x="7298193"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5" name="Freeform: Shape 13354">
              <a:extLst>
                <a:ext uri="{FF2B5EF4-FFF2-40B4-BE49-F238E27FC236}">
                  <a16:creationId xmlns:a16="http://schemas.microsoft.com/office/drawing/2014/main" id="{1D5FBED1-5C41-4E03-8BCC-75878A0EDFD6}"/>
                </a:ext>
              </a:extLst>
            </p:cNvPr>
            <p:cNvSpPr/>
            <p:nvPr/>
          </p:nvSpPr>
          <p:spPr bwMode="ltGray">
            <a:xfrm>
              <a:off x="7608054" y="4933167"/>
              <a:ext cx="195053" cy="195053"/>
            </a:xfrm>
            <a:custGeom>
              <a:avLst/>
              <a:gdLst>
                <a:gd name="connsiteX0" fmla="*/ 98218 w 195052"/>
                <a:gd name="connsiteY0" fmla="*/ 189429 h 195052"/>
                <a:gd name="connsiteX1" fmla="*/ 7006 w 195052"/>
                <a:gd name="connsiteY1" fmla="*/ 98218 h 195052"/>
                <a:gd name="connsiteX2" fmla="*/ 98218 w 195052"/>
                <a:gd name="connsiteY2" fmla="*/ 7006 h 195052"/>
                <a:gd name="connsiteX3" fmla="*/ 189439 w 195052"/>
                <a:gd name="connsiteY3" fmla="*/ 98218 h 195052"/>
                <a:gd name="connsiteX4" fmla="*/ 98218 w 195052"/>
                <a:gd name="connsiteY4" fmla="*/ 189429 h 195052"/>
                <a:gd name="connsiteX5" fmla="*/ 98218 w 195052"/>
                <a:gd name="connsiteY5" fmla="*/ 24260 h 195052"/>
                <a:gd name="connsiteX6" fmla="*/ 24260 w 195052"/>
                <a:gd name="connsiteY6" fmla="*/ 98218 h 195052"/>
                <a:gd name="connsiteX7" fmla="*/ 98218 w 195052"/>
                <a:gd name="connsiteY7" fmla="*/ 172176 h 195052"/>
                <a:gd name="connsiteX8" fmla="*/ 172185 w 195052"/>
                <a:gd name="connsiteY8" fmla="*/ 98218 h 195052"/>
                <a:gd name="connsiteX9" fmla="*/ 98218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18" y="189429"/>
                  </a:moveTo>
                  <a:cubicBezTo>
                    <a:pt x="47923" y="189429"/>
                    <a:pt x="7006" y="148522"/>
                    <a:pt x="7006" y="98218"/>
                  </a:cubicBezTo>
                  <a:cubicBezTo>
                    <a:pt x="7006" y="47923"/>
                    <a:pt x="47923" y="7006"/>
                    <a:pt x="98218" y="7006"/>
                  </a:cubicBezTo>
                  <a:cubicBezTo>
                    <a:pt x="148522" y="7006"/>
                    <a:pt x="189439" y="47923"/>
                    <a:pt x="189439" y="98218"/>
                  </a:cubicBezTo>
                  <a:cubicBezTo>
                    <a:pt x="189439" y="148522"/>
                    <a:pt x="148522" y="189429"/>
                    <a:pt x="98218" y="189429"/>
                  </a:cubicBezTo>
                  <a:close/>
                  <a:moveTo>
                    <a:pt x="98218" y="24260"/>
                  </a:moveTo>
                  <a:cubicBezTo>
                    <a:pt x="57441" y="24260"/>
                    <a:pt x="24260" y="57441"/>
                    <a:pt x="24260" y="98218"/>
                  </a:cubicBezTo>
                  <a:cubicBezTo>
                    <a:pt x="24260" y="139003"/>
                    <a:pt x="57441" y="172176"/>
                    <a:pt x="98218" y="172176"/>
                  </a:cubicBezTo>
                  <a:cubicBezTo>
                    <a:pt x="139003" y="172176"/>
                    <a:pt x="172185" y="139003"/>
                    <a:pt x="172185" y="98218"/>
                  </a:cubicBezTo>
                  <a:cubicBezTo>
                    <a:pt x="172185" y="57441"/>
                    <a:pt x="139003" y="24260"/>
                    <a:pt x="98218"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6" name="Freeform: Shape 13355">
              <a:extLst>
                <a:ext uri="{FF2B5EF4-FFF2-40B4-BE49-F238E27FC236}">
                  <a16:creationId xmlns:a16="http://schemas.microsoft.com/office/drawing/2014/main" id="{E0365BE8-8938-43CC-8C9B-99DD33310C63}"/>
                </a:ext>
              </a:extLst>
            </p:cNvPr>
            <p:cNvSpPr/>
            <p:nvPr/>
          </p:nvSpPr>
          <p:spPr bwMode="ltGray">
            <a:xfrm>
              <a:off x="8266152" y="3011251"/>
              <a:ext cx="269038" cy="269038"/>
            </a:xfrm>
            <a:custGeom>
              <a:avLst/>
              <a:gdLst>
                <a:gd name="connsiteX0" fmla="*/ 134949 w 269038"/>
                <a:gd name="connsiteY0" fmla="*/ 262882 h 269038"/>
                <a:gd name="connsiteX1" fmla="*/ 7006 w 269038"/>
                <a:gd name="connsiteY1" fmla="*/ 134940 h 269038"/>
                <a:gd name="connsiteX2" fmla="*/ 134949 w 269038"/>
                <a:gd name="connsiteY2" fmla="*/ 7006 h 269038"/>
                <a:gd name="connsiteX3" fmla="*/ 262892 w 269038"/>
                <a:gd name="connsiteY3" fmla="*/ 134940 h 269038"/>
                <a:gd name="connsiteX4" fmla="*/ 134949 w 269038"/>
                <a:gd name="connsiteY4" fmla="*/ 262882 h 269038"/>
                <a:gd name="connsiteX5" fmla="*/ 134949 w 269038"/>
                <a:gd name="connsiteY5" fmla="*/ 75863 h 269038"/>
                <a:gd name="connsiteX6" fmla="*/ 75864 w 269038"/>
                <a:gd name="connsiteY6" fmla="*/ 134940 h 269038"/>
                <a:gd name="connsiteX7" fmla="*/ 134949 w 269038"/>
                <a:gd name="connsiteY7" fmla="*/ 194026 h 269038"/>
                <a:gd name="connsiteX8" fmla="*/ 194035 w 269038"/>
                <a:gd name="connsiteY8" fmla="*/ 134940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82"/>
                  </a:moveTo>
                  <a:cubicBezTo>
                    <a:pt x="64401" y="262882"/>
                    <a:pt x="7006" y="205488"/>
                    <a:pt x="7006" y="134940"/>
                  </a:cubicBezTo>
                  <a:cubicBezTo>
                    <a:pt x="7006" y="64401"/>
                    <a:pt x="64401" y="7006"/>
                    <a:pt x="134949" y="7006"/>
                  </a:cubicBezTo>
                  <a:cubicBezTo>
                    <a:pt x="205497" y="7006"/>
                    <a:pt x="262892" y="64401"/>
                    <a:pt x="262892" y="134940"/>
                  </a:cubicBezTo>
                  <a:cubicBezTo>
                    <a:pt x="262892" y="205488"/>
                    <a:pt x="205497" y="262882"/>
                    <a:pt x="134949" y="262882"/>
                  </a:cubicBezTo>
                  <a:close/>
                  <a:moveTo>
                    <a:pt x="134949" y="75863"/>
                  </a:moveTo>
                  <a:cubicBezTo>
                    <a:pt x="102366" y="75863"/>
                    <a:pt x="75864" y="102375"/>
                    <a:pt x="75864" y="134940"/>
                  </a:cubicBezTo>
                  <a:cubicBezTo>
                    <a:pt x="75864" y="167514"/>
                    <a:pt x="102366" y="194026"/>
                    <a:pt x="134949" y="194026"/>
                  </a:cubicBezTo>
                  <a:cubicBezTo>
                    <a:pt x="167523" y="194026"/>
                    <a:pt x="194035" y="167514"/>
                    <a:pt x="194035" y="134940"/>
                  </a:cubicBezTo>
                  <a:cubicBezTo>
                    <a:pt x="194035"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7" name="Freeform: Shape 13356">
              <a:extLst>
                <a:ext uri="{FF2B5EF4-FFF2-40B4-BE49-F238E27FC236}">
                  <a16:creationId xmlns:a16="http://schemas.microsoft.com/office/drawing/2014/main" id="{782DA11B-C92A-4421-BCC9-EEBCC94AC6C9}"/>
                </a:ext>
              </a:extLst>
            </p:cNvPr>
            <p:cNvSpPr/>
            <p:nvPr/>
          </p:nvSpPr>
          <p:spPr bwMode="ltGray">
            <a:xfrm>
              <a:off x="4799730" y="4135393"/>
              <a:ext cx="269038" cy="269038"/>
            </a:xfrm>
            <a:custGeom>
              <a:avLst/>
              <a:gdLst>
                <a:gd name="connsiteX0" fmla="*/ 134949 w 269038"/>
                <a:gd name="connsiteY0" fmla="*/ 262892 h 269038"/>
                <a:gd name="connsiteX1" fmla="*/ 7006 w 269038"/>
                <a:gd name="connsiteY1" fmla="*/ 134949 h 269038"/>
                <a:gd name="connsiteX2" fmla="*/ 134949 w 269038"/>
                <a:gd name="connsiteY2" fmla="*/ 7006 h 269038"/>
                <a:gd name="connsiteX3" fmla="*/ 262882 w 269038"/>
                <a:gd name="connsiteY3" fmla="*/ 134949 h 269038"/>
                <a:gd name="connsiteX4" fmla="*/ 134949 w 269038"/>
                <a:gd name="connsiteY4" fmla="*/ 262892 h 269038"/>
                <a:gd name="connsiteX5" fmla="*/ 134949 w 269038"/>
                <a:gd name="connsiteY5" fmla="*/ 75863 h 269038"/>
                <a:gd name="connsiteX6" fmla="*/ 75864 w 269038"/>
                <a:gd name="connsiteY6" fmla="*/ 134949 h 269038"/>
                <a:gd name="connsiteX7" fmla="*/ 134949 w 269038"/>
                <a:gd name="connsiteY7" fmla="*/ 194035 h 269038"/>
                <a:gd name="connsiteX8" fmla="*/ 194026 w 269038"/>
                <a:gd name="connsiteY8" fmla="*/ 134949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92"/>
                  </a:moveTo>
                  <a:cubicBezTo>
                    <a:pt x="64392" y="262892"/>
                    <a:pt x="7006" y="205506"/>
                    <a:pt x="7006" y="134949"/>
                  </a:cubicBezTo>
                  <a:cubicBezTo>
                    <a:pt x="7006" y="64401"/>
                    <a:pt x="64392" y="7006"/>
                    <a:pt x="134949" y="7006"/>
                  </a:cubicBezTo>
                  <a:cubicBezTo>
                    <a:pt x="205488" y="7006"/>
                    <a:pt x="262882" y="64401"/>
                    <a:pt x="262882" y="134949"/>
                  </a:cubicBezTo>
                  <a:cubicBezTo>
                    <a:pt x="262882" y="205506"/>
                    <a:pt x="205488" y="262892"/>
                    <a:pt x="134949" y="262892"/>
                  </a:cubicBezTo>
                  <a:close/>
                  <a:moveTo>
                    <a:pt x="134949" y="75863"/>
                  </a:moveTo>
                  <a:cubicBezTo>
                    <a:pt x="102366" y="75863"/>
                    <a:pt x="75864" y="102375"/>
                    <a:pt x="75864" y="134949"/>
                  </a:cubicBezTo>
                  <a:cubicBezTo>
                    <a:pt x="75864" y="167532"/>
                    <a:pt x="102366" y="194035"/>
                    <a:pt x="134949" y="194035"/>
                  </a:cubicBezTo>
                  <a:cubicBezTo>
                    <a:pt x="167523" y="194035"/>
                    <a:pt x="194026" y="167532"/>
                    <a:pt x="194026" y="134949"/>
                  </a:cubicBezTo>
                  <a:cubicBezTo>
                    <a:pt x="194026"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8" name="Freeform: Shape 13357">
              <a:extLst>
                <a:ext uri="{FF2B5EF4-FFF2-40B4-BE49-F238E27FC236}">
                  <a16:creationId xmlns:a16="http://schemas.microsoft.com/office/drawing/2014/main" id="{2B57B89B-5C34-41E6-A3AD-8004FC96DF7B}"/>
                </a:ext>
              </a:extLst>
            </p:cNvPr>
            <p:cNvSpPr/>
            <p:nvPr/>
          </p:nvSpPr>
          <p:spPr bwMode="ltGray">
            <a:xfrm>
              <a:off x="9135408" y="3924020"/>
              <a:ext cx="199537" cy="199537"/>
            </a:xfrm>
            <a:custGeom>
              <a:avLst/>
              <a:gdLst>
                <a:gd name="connsiteX0" fmla="*/ 100525 w 199536"/>
                <a:gd name="connsiteY0" fmla="*/ 194026 h 199536"/>
                <a:gd name="connsiteX1" fmla="*/ 7006 w 199536"/>
                <a:gd name="connsiteY1" fmla="*/ 100516 h 199536"/>
                <a:gd name="connsiteX2" fmla="*/ 100525 w 199536"/>
                <a:gd name="connsiteY2" fmla="*/ 7006 h 199536"/>
                <a:gd name="connsiteX3" fmla="*/ 194035 w 199536"/>
                <a:gd name="connsiteY3" fmla="*/ 100516 h 199536"/>
                <a:gd name="connsiteX4" fmla="*/ 100525 w 199536"/>
                <a:gd name="connsiteY4" fmla="*/ 194026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25" y="194026"/>
                  </a:moveTo>
                  <a:cubicBezTo>
                    <a:pt x="48875" y="194026"/>
                    <a:pt x="7006" y="152157"/>
                    <a:pt x="7006" y="100516"/>
                  </a:cubicBezTo>
                  <a:cubicBezTo>
                    <a:pt x="7006" y="48866"/>
                    <a:pt x="48875" y="7006"/>
                    <a:pt x="100525" y="7006"/>
                  </a:cubicBezTo>
                  <a:cubicBezTo>
                    <a:pt x="152166" y="7006"/>
                    <a:pt x="194035" y="48866"/>
                    <a:pt x="194035" y="100516"/>
                  </a:cubicBezTo>
                  <a:cubicBezTo>
                    <a:pt x="194035" y="152157"/>
                    <a:pt x="152166" y="194026"/>
                    <a:pt x="100525" y="194026"/>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9" name="Freeform: Shape 13358">
              <a:extLst>
                <a:ext uri="{FF2B5EF4-FFF2-40B4-BE49-F238E27FC236}">
                  <a16:creationId xmlns:a16="http://schemas.microsoft.com/office/drawing/2014/main" id="{BC072B1D-1CF3-416D-BA72-A00DAAB20F3C}"/>
                </a:ext>
              </a:extLst>
            </p:cNvPr>
            <p:cNvSpPr/>
            <p:nvPr/>
          </p:nvSpPr>
          <p:spPr bwMode="ltGray">
            <a:xfrm>
              <a:off x="7699275" y="5380789"/>
              <a:ext cx="199537" cy="199537"/>
            </a:xfrm>
            <a:custGeom>
              <a:avLst/>
              <a:gdLst>
                <a:gd name="connsiteX0" fmla="*/ 100516 w 199536"/>
                <a:gd name="connsiteY0" fmla="*/ 194035 h 199536"/>
                <a:gd name="connsiteX1" fmla="*/ 7006 w 199536"/>
                <a:gd name="connsiteY1" fmla="*/ 100516 h 199536"/>
                <a:gd name="connsiteX2" fmla="*/ 100516 w 199536"/>
                <a:gd name="connsiteY2" fmla="*/ 7006 h 199536"/>
                <a:gd name="connsiteX3" fmla="*/ 194016 w 199536"/>
                <a:gd name="connsiteY3" fmla="*/ 100516 h 199536"/>
                <a:gd name="connsiteX4" fmla="*/ 100516 w 199536"/>
                <a:gd name="connsiteY4" fmla="*/ 194035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16" y="194035"/>
                  </a:moveTo>
                  <a:cubicBezTo>
                    <a:pt x="48866" y="194035"/>
                    <a:pt x="7006" y="152166"/>
                    <a:pt x="7006" y="100516"/>
                  </a:cubicBezTo>
                  <a:cubicBezTo>
                    <a:pt x="7006" y="48875"/>
                    <a:pt x="48866" y="7006"/>
                    <a:pt x="100516" y="7006"/>
                  </a:cubicBezTo>
                  <a:cubicBezTo>
                    <a:pt x="152156" y="7006"/>
                    <a:pt x="194016" y="48875"/>
                    <a:pt x="194016" y="100516"/>
                  </a:cubicBezTo>
                  <a:cubicBezTo>
                    <a:pt x="194016" y="152166"/>
                    <a:pt x="152156" y="194035"/>
                    <a:pt x="100516" y="19403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0" name="Freeform: Shape 13359">
              <a:extLst>
                <a:ext uri="{FF2B5EF4-FFF2-40B4-BE49-F238E27FC236}">
                  <a16:creationId xmlns:a16="http://schemas.microsoft.com/office/drawing/2014/main" id="{8C6CEADA-A4BE-4561-84DF-BD69FA244557}"/>
                </a:ext>
              </a:extLst>
            </p:cNvPr>
            <p:cNvSpPr/>
            <p:nvPr/>
          </p:nvSpPr>
          <p:spPr bwMode="ltGray">
            <a:xfrm>
              <a:off x="7701592" y="2237074"/>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63" y="84579"/>
                    <a:pt x="7006" y="67213"/>
                    <a:pt x="7006" y="45793"/>
                  </a:cubicBezTo>
                  <a:cubicBezTo>
                    <a:pt x="7006" y="24372"/>
                    <a:pt x="24363" y="7006"/>
                    <a:pt x="45783" y="7006"/>
                  </a:cubicBezTo>
                  <a:cubicBezTo>
                    <a:pt x="67204" y="7006"/>
                    <a:pt x="84579" y="24372"/>
                    <a:pt x="84579" y="45793"/>
                  </a:cubicBezTo>
                  <a:cubicBezTo>
                    <a:pt x="84579" y="67213"/>
                    <a:pt x="67204"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1" name="Freeform: Shape 13360">
              <a:extLst>
                <a:ext uri="{FF2B5EF4-FFF2-40B4-BE49-F238E27FC236}">
                  <a16:creationId xmlns:a16="http://schemas.microsoft.com/office/drawing/2014/main" id="{B0172D1C-DA1F-4DEC-B9A1-C82327B05263}"/>
                </a:ext>
              </a:extLst>
            </p:cNvPr>
            <p:cNvSpPr/>
            <p:nvPr/>
          </p:nvSpPr>
          <p:spPr bwMode="ltGray">
            <a:xfrm>
              <a:off x="4834154" y="3097016"/>
              <a:ext cx="89679" cy="89679"/>
            </a:xfrm>
            <a:custGeom>
              <a:avLst/>
              <a:gdLst>
                <a:gd name="connsiteX0" fmla="*/ 45783 w 89679"/>
                <a:gd name="connsiteY0" fmla="*/ 84570 h 89679"/>
                <a:gd name="connsiteX1" fmla="*/ 7006 w 89679"/>
                <a:gd name="connsiteY1" fmla="*/ 45783 h 89679"/>
                <a:gd name="connsiteX2" fmla="*/ 45783 w 89679"/>
                <a:gd name="connsiteY2" fmla="*/ 7006 h 89679"/>
                <a:gd name="connsiteX3" fmla="*/ 84579 w 89679"/>
                <a:gd name="connsiteY3" fmla="*/ 45783 h 89679"/>
                <a:gd name="connsiteX4" fmla="*/ 45783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0"/>
                  </a:moveTo>
                  <a:cubicBezTo>
                    <a:pt x="24372" y="84570"/>
                    <a:pt x="7006" y="67204"/>
                    <a:pt x="7006" y="45783"/>
                  </a:cubicBezTo>
                  <a:cubicBezTo>
                    <a:pt x="7006" y="24372"/>
                    <a:pt x="24372" y="7006"/>
                    <a:pt x="45783" y="7006"/>
                  </a:cubicBezTo>
                  <a:cubicBezTo>
                    <a:pt x="67213" y="7006"/>
                    <a:pt x="84579" y="24372"/>
                    <a:pt x="84579" y="45783"/>
                  </a:cubicBezTo>
                  <a:cubicBezTo>
                    <a:pt x="84579" y="67204"/>
                    <a:pt x="67213" y="84570"/>
                    <a:pt x="45783"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2" name="Freeform: Shape 13361">
              <a:extLst>
                <a:ext uri="{FF2B5EF4-FFF2-40B4-BE49-F238E27FC236}">
                  <a16:creationId xmlns:a16="http://schemas.microsoft.com/office/drawing/2014/main" id="{ADBB8F31-94D3-4F47-859A-E307F6CBC0E2}"/>
                </a:ext>
              </a:extLst>
            </p:cNvPr>
            <p:cNvSpPr/>
            <p:nvPr/>
          </p:nvSpPr>
          <p:spPr bwMode="ltGray">
            <a:xfrm>
              <a:off x="7977020" y="2238326"/>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72" y="84579"/>
                    <a:pt x="7006" y="67213"/>
                    <a:pt x="7006" y="45793"/>
                  </a:cubicBezTo>
                  <a:cubicBezTo>
                    <a:pt x="7006" y="24372"/>
                    <a:pt x="24372" y="7006"/>
                    <a:pt x="45783" y="7006"/>
                  </a:cubicBezTo>
                  <a:cubicBezTo>
                    <a:pt x="67213" y="7006"/>
                    <a:pt x="84579" y="24372"/>
                    <a:pt x="84579" y="45793"/>
                  </a:cubicBezTo>
                  <a:cubicBezTo>
                    <a:pt x="84579" y="67213"/>
                    <a:pt x="67213"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3" name="Freeform: Shape 13362">
              <a:extLst>
                <a:ext uri="{FF2B5EF4-FFF2-40B4-BE49-F238E27FC236}">
                  <a16:creationId xmlns:a16="http://schemas.microsoft.com/office/drawing/2014/main" id="{630594AB-4703-45A0-961A-ED469779DD6F}"/>
                </a:ext>
              </a:extLst>
            </p:cNvPr>
            <p:cNvSpPr/>
            <p:nvPr/>
          </p:nvSpPr>
          <p:spPr bwMode="ltGray">
            <a:xfrm>
              <a:off x="8114724" y="2238961"/>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8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89" y="24363"/>
                    <a:pt x="84589" y="45783"/>
                  </a:cubicBezTo>
                  <a:cubicBezTo>
                    <a:pt x="8458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4" name="Freeform: Shape 13363">
              <a:extLst>
                <a:ext uri="{FF2B5EF4-FFF2-40B4-BE49-F238E27FC236}">
                  <a16:creationId xmlns:a16="http://schemas.microsoft.com/office/drawing/2014/main" id="{9660E0C2-7B4B-4600-8744-376B29BB2E29}"/>
                </a:ext>
              </a:extLst>
            </p:cNvPr>
            <p:cNvSpPr/>
            <p:nvPr/>
          </p:nvSpPr>
          <p:spPr bwMode="ltGray">
            <a:xfrm>
              <a:off x="7256296" y="1219295"/>
              <a:ext cx="174875" cy="174875"/>
            </a:xfrm>
            <a:custGeom>
              <a:avLst/>
              <a:gdLst>
                <a:gd name="connsiteX0" fmla="*/ 87606 w 174874"/>
                <a:gd name="connsiteY0" fmla="*/ 168215 h 174874"/>
                <a:gd name="connsiteX1" fmla="*/ 7006 w 174874"/>
                <a:gd name="connsiteY1" fmla="*/ 87606 h 174874"/>
                <a:gd name="connsiteX2" fmla="*/ 87606 w 174874"/>
                <a:gd name="connsiteY2" fmla="*/ 7006 h 174874"/>
                <a:gd name="connsiteX3" fmla="*/ 168205 w 174874"/>
                <a:gd name="connsiteY3" fmla="*/ 87606 h 174874"/>
                <a:gd name="connsiteX4" fmla="*/ 87606 w 174874"/>
                <a:gd name="connsiteY4" fmla="*/ 168215 h 17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74874">
                  <a:moveTo>
                    <a:pt x="87606" y="168215"/>
                  </a:moveTo>
                  <a:cubicBezTo>
                    <a:pt x="43093" y="168215"/>
                    <a:pt x="7006" y="132119"/>
                    <a:pt x="7006" y="87606"/>
                  </a:cubicBezTo>
                  <a:cubicBezTo>
                    <a:pt x="7006" y="43093"/>
                    <a:pt x="43093" y="7006"/>
                    <a:pt x="87606" y="7006"/>
                  </a:cubicBezTo>
                  <a:cubicBezTo>
                    <a:pt x="132118" y="7006"/>
                    <a:pt x="168205" y="43093"/>
                    <a:pt x="168205" y="87606"/>
                  </a:cubicBezTo>
                  <a:cubicBezTo>
                    <a:pt x="168205" y="132119"/>
                    <a:pt x="132118" y="168215"/>
                    <a:pt x="87606" y="16821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5" name="Freeform: Shape 13364">
              <a:extLst>
                <a:ext uri="{FF2B5EF4-FFF2-40B4-BE49-F238E27FC236}">
                  <a16:creationId xmlns:a16="http://schemas.microsoft.com/office/drawing/2014/main" id="{873F306F-20D9-4121-8479-3DAC08ACC7EA}"/>
                </a:ext>
              </a:extLst>
            </p:cNvPr>
            <p:cNvSpPr/>
            <p:nvPr/>
          </p:nvSpPr>
          <p:spPr bwMode="ltGray">
            <a:xfrm>
              <a:off x="8252439" y="2239587"/>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7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79" y="24363"/>
                    <a:pt x="84579" y="45783"/>
                  </a:cubicBezTo>
                  <a:cubicBezTo>
                    <a:pt x="8457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6" name="Freeform: Shape 13365">
              <a:extLst>
                <a:ext uri="{FF2B5EF4-FFF2-40B4-BE49-F238E27FC236}">
                  <a16:creationId xmlns:a16="http://schemas.microsoft.com/office/drawing/2014/main" id="{E02548BD-4FA2-42A8-B7F3-1ED3B43E7F14}"/>
                </a:ext>
              </a:extLst>
            </p:cNvPr>
            <p:cNvSpPr/>
            <p:nvPr/>
          </p:nvSpPr>
          <p:spPr bwMode="ltGray">
            <a:xfrm>
              <a:off x="8355309" y="3100398"/>
              <a:ext cx="89679" cy="89679"/>
            </a:xfrm>
            <a:custGeom>
              <a:avLst/>
              <a:gdLst>
                <a:gd name="connsiteX0" fmla="*/ 45792 w 89679"/>
                <a:gd name="connsiteY0" fmla="*/ 84579 h 89679"/>
                <a:gd name="connsiteX1" fmla="*/ 7006 w 89679"/>
                <a:gd name="connsiteY1" fmla="*/ 45793 h 89679"/>
                <a:gd name="connsiteX2" fmla="*/ 45792 w 89679"/>
                <a:gd name="connsiteY2" fmla="*/ 7006 h 89679"/>
                <a:gd name="connsiteX3" fmla="*/ 84579 w 89679"/>
                <a:gd name="connsiteY3" fmla="*/ 45793 h 89679"/>
                <a:gd name="connsiteX4" fmla="*/ 45792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2" y="84579"/>
                  </a:moveTo>
                  <a:cubicBezTo>
                    <a:pt x="24372" y="84579"/>
                    <a:pt x="7006" y="67213"/>
                    <a:pt x="7006" y="45793"/>
                  </a:cubicBezTo>
                  <a:cubicBezTo>
                    <a:pt x="7006" y="24372"/>
                    <a:pt x="24372" y="7006"/>
                    <a:pt x="45792" y="7006"/>
                  </a:cubicBezTo>
                  <a:cubicBezTo>
                    <a:pt x="67213" y="7006"/>
                    <a:pt x="84579" y="24372"/>
                    <a:pt x="84579" y="45793"/>
                  </a:cubicBezTo>
                  <a:cubicBezTo>
                    <a:pt x="84579" y="67213"/>
                    <a:pt x="67213" y="84579"/>
                    <a:pt x="45792"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7" name="Freeform: Shape 13366">
              <a:extLst>
                <a:ext uri="{FF2B5EF4-FFF2-40B4-BE49-F238E27FC236}">
                  <a16:creationId xmlns:a16="http://schemas.microsoft.com/office/drawing/2014/main" id="{E08963D8-41DD-45A7-BBE8-D7CA6CF7B577}"/>
                </a:ext>
              </a:extLst>
            </p:cNvPr>
            <p:cNvSpPr/>
            <p:nvPr/>
          </p:nvSpPr>
          <p:spPr bwMode="ltGray">
            <a:xfrm>
              <a:off x="3918358" y="2776487"/>
              <a:ext cx="654660" cy="654660"/>
            </a:xfrm>
            <a:custGeom>
              <a:avLst/>
              <a:gdLst>
                <a:gd name="connsiteX0" fmla="*/ 327526 w 654659"/>
                <a:gd name="connsiteY0" fmla="*/ 648065 h 654660"/>
                <a:gd name="connsiteX1" fmla="*/ 110521 w 654659"/>
                <a:gd name="connsiteY1" fmla="*/ 563225 h 654660"/>
                <a:gd name="connsiteX2" fmla="*/ 544541 w 654659"/>
                <a:gd name="connsiteY2" fmla="*/ 563225 h 654660"/>
                <a:gd name="connsiteX3" fmla="*/ 327526 w 654659"/>
                <a:gd name="connsiteY3" fmla="*/ 648065 h 654660"/>
                <a:gd name="connsiteX4" fmla="*/ 561553 w 654659"/>
                <a:gd name="connsiteY4" fmla="*/ 546344 h 654660"/>
                <a:gd name="connsiteX5" fmla="*/ 394198 w 654659"/>
                <a:gd name="connsiteY5" fmla="*/ 546344 h 654660"/>
                <a:gd name="connsiteX6" fmla="*/ 554182 w 654659"/>
                <a:gd name="connsiteY6" fmla="*/ 358279 h 654660"/>
                <a:gd name="connsiteX7" fmla="*/ 583403 w 654659"/>
                <a:gd name="connsiteY7" fmla="*/ 358279 h 654660"/>
                <a:gd name="connsiteX8" fmla="*/ 583403 w 654659"/>
                <a:gd name="connsiteY8" fmla="*/ 352646 h 654660"/>
                <a:gd name="connsiteX9" fmla="*/ 554873 w 654659"/>
                <a:gd name="connsiteY9" fmla="*/ 352646 h 654660"/>
                <a:gd name="connsiteX10" fmla="*/ 556247 w 654659"/>
                <a:gd name="connsiteY10" fmla="*/ 327536 h 654660"/>
                <a:gd name="connsiteX11" fmla="*/ 327526 w 654659"/>
                <a:gd name="connsiteY11" fmla="*/ 98815 h 654660"/>
                <a:gd name="connsiteX12" fmla="*/ 98816 w 654659"/>
                <a:gd name="connsiteY12" fmla="*/ 327536 h 654660"/>
                <a:gd name="connsiteX13" fmla="*/ 260855 w 654659"/>
                <a:gd name="connsiteY13" fmla="*/ 546344 h 654660"/>
                <a:gd name="connsiteX14" fmla="*/ 93510 w 654659"/>
                <a:gd name="connsiteY14" fmla="*/ 546344 h 654660"/>
                <a:gd name="connsiteX15" fmla="*/ 8464 w 654659"/>
                <a:gd name="connsiteY15" fmla="*/ 358279 h 654660"/>
                <a:gd name="connsiteX16" fmla="*/ 43111 w 654659"/>
                <a:gd name="connsiteY16" fmla="*/ 358279 h 654660"/>
                <a:gd name="connsiteX17" fmla="*/ 43111 w 654659"/>
                <a:gd name="connsiteY17" fmla="*/ 352646 h 654660"/>
                <a:gd name="connsiteX18" fmla="*/ 7978 w 654659"/>
                <a:gd name="connsiteY18" fmla="*/ 352646 h 654660"/>
                <a:gd name="connsiteX19" fmla="*/ 7006 w 654659"/>
                <a:gd name="connsiteY19" fmla="*/ 327536 h 654660"/>
                <a:gd name="connsiteX20" fmla="*/ 57731 w 654659"/>
                <a:gd name="connsiteY20" fmla="*/ 154650 h 654660"/>
                <a:gd name="connsiteX21" fmla="*/ 128167 w 654659"/>
                <a:gd name="connsiteY21" fmla="*/ 84215 h 654660"/>
                <a:gd name="connsiteX22" fmla="*/ 124178 w 654659"/>
                <a:gd name="connsiteY22" fmla="*/ 80235 h 654660"/>
                <a:gd name="connsiteX23" fmla="*/ 78619 w 654659"/>
                <a:gd name="connsiteY23" fmla="*/ 125794 h 654660"/>
                <a:gd name="connsiteX24" fmla="*/ 140349 w 654659"/>
                <a:gd name="connsiteY24" fmla="*/ 67474 h 654660"/>
                <a:gd name="connsiteX25" fmla="*/ 138704 w 654659"/>
                <a:gd name="connsiteY25" fmla="*/ 75218 h 654660"/>
                <a:gd name="connsiteX26" fmla="*/ 157724 w 654659"/>
                <a:gd name="connsiteY26" fmla="*/ 94238 h 654660"/>
                <a:gd name="connsiteX27" fmla="*/ 176753 w 654659"/>
                <a:gd name="connsiteY27" fmla="*/ 75218 h 654660"/>
                <a:gd name="connsiteX28" fmla="*/ 157724 w 654659"/>
                <a:gd name="connsiteY28" fmla="*/ 56199 h 654660"/>
                <a:gd name="connsiteX29" fmla="*/ 157033 w 654659"/>
                <a:gd name="connsiteY29" fmla="*/ 56208 h 654660"/>
                <a:gd name="connsiteX30" fmla="*/ 327526 w 654659"/>
                <a:gd name="connsiteY30" fmla="*/ 7006 h 654660"/>
                <a:gd name="connsiteX31" fmla="*/ 648056 w 654659"/>
                <a:gd name="connsiteY31" fmla="*/ 327536 h 654660"/>
                <a:gd name="connsiteX32" fmla="*/ 561553 w 654659"/>
                <a:gd name="connsiteY32" fmla="*/ 546344 h 654660"/>
                <a:gd name="connsiteX33" fmla="*/ 367294 w 654659"/>
                <a:gd name="connsiteY33" fmla="*/ 56199 h 654660"/>
                <a:gd name="connsiteX34" fmla="*/ 348274 w 654659"/>
                <a:gd name="connsiteY34" fmla="*/ 75218 h 654660"/>
                <a:gd name="connsiteX35" fmla="*/ 367294 w 654659"/>
                <a:gd name="connsiteY35" fmla="*/ 94238 h 654660"/>
                <a:gd name="connsiteX36" fmla="*/ 386313 w 654659"/>
                <a:gd name="connsiteY36" fmla="*/ 75218 h 654660"/>
                <a:gd name="connsiteX37" fmla="*/ 367294 w 654659"/>
                <a:gd name="connsiteY37" fmla="*/ 56199 h 654660"/>
                <a:gd name="connsiteX38" fmla="*/ 297437 w 654659"/>
                <a:gd name="connsiteY38" fmla="*/ 56199 h 654660"/>
                <a:gd name="connsiteX39" fmla="*/ 278418 w 654659"/>
                <a:gd name="connsiteY39" fmla="*/ 75218 h 654660"/>
                <a:gd name="connsiteX40" fmla="*/ 297437 w 654659"/>
                <a:gd name="connsiteY40" fmla="*/ 94238 h 654660"/>
                <a:gd name="connsiteX41" fmla="*/ 316457 w 654659"/>
                <a:gd name="connsiteY41" fmla="*/ 75218 h 654660"/>
                <a:gd name="connsiteX42" fmla="*/ 297437 w 654659"/>
                <a:gd name="connsiteY42" fmla="*/ 56199 h 654660"/>
                <a:gd name="connsiteX43" fmla="*/ 227580 w 654659"/>
                <a:gd name="connsiteY43" fmla="*/ 56199 h 654660"/>
                <a:gd name="connsiteX44" fmla="*/ 208561 w 654659"/>
                <a:gd name="connsiteY44" fmla="*/ 75218 h 654660"/>
                <a:gd name="connsiteX45" fmla="*/ 227580 w 654659"/>
                <a:gd name="connsiteY45" fmla="*/ 94238 h 654660"/>
                <a:gd name="connsiteX46" fmla="*/ 246600 w 654659"/>
                <a:gd name="connsiteY46" fmla="*/ 75218 h 654660"/>
                <a:gd name="connsiteX47" fmla="*/ 227580 w 654659"/>
                <a:gd name="connsiteY47" fmla="*/ 56199 h 6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54659" h="654660">
                  <a:moveTo>
                    <a:pt x="327526" y="648065"/>
                  </a:moveTo>
                  <a:cubicBezTo>
                    <a:pt x="243891" y="648065"/>
                    <a:pt x="167645" y="615874"/>
                    <a:pt x="110521" y="563225"/>
                  </a:cubicBezTo>
                  <a:lnTo>
                    <a:pt x="544541" y="563225"/>
                  </a:lnTo>
                  <a:cubicBezTo>
                    <a:pt x="487408" y="615874"/>
                    <a:pt x="411162" y="648065"/>
                    <a:pt x="327526" y="648065"/>
                  </a:cubicBezTo>
                  <a:close/>
                  <a:moveTo>
                    <a:pt x="561553" y="546344"/>
                  </a:moveTo>
                  <a:lnTo>
                    <a:pt x="394198" y="546344"/>
                  </a:lnTo>
                  <a:cubicBezTo>
                    <a:pt x="478403" y="520636"/>
                    <a:pt x="542141" y="447538"/>
                    <a:pt x="554182" y="358279"/>
                  </a:cubicBezTo>
                  <a:lnTo>
                    <a:pt x="583403" y="358279"/>
                  </a:lnTo>
                  <a:lnTo>
                    <a:pt x="583403" y="352646"/>
                  </a:lnTo>
                  <a:lnTo>
                    <a:pt x="554873" y="352646"/>
                  </a:lnTo>
                  <a:cubicBezTo>
                    <a:pt x="555779" y="344397"/>
                    <a:pt x="556247" y="336018"/>
                    <a:pt x="556247" y="327536"/>
                  </a:cubicBezTo>
                  <a:cubicBezTo>
                    <a:pt x="556247" y="201414"/>
                    <a:pt x="453648" y="98815"/>
                    <a:pt x="327526" y="98815"/>
                  </a:cubicBezTo>
                  <a:cubicBezTo>
                    <a:pt x="201415" y="98815"/>
                    <a:pt x="98816" y="201414"/>
                    <a:pt x="98816" y="327536"/>
                  </a:cubicBezTo>
                  <a:cubicBezTo>
                    <a:pt x="98816" y="430462"/>
                    <a:pt x="167168" y="517731"/>
                    <a:pt x="260855" y="546344"/>
                  </a:cubicBezTo>
                  <a:lnTo>
                    <a:pt x="93510" y="546344"/>
                  </a:lnTo>
                  <a:cubicBezTo>
                    <a:pt x="46456" y="496049"/>
                    <a:pt x="15376" y="430639"/>
                    <a:pt x="8464" y="358279"/>
                  </a:cubicBezTo>
                  <a:lnTo>
                    <a:pt x="43111" y="358279"/>
                  </a:lnTo>
                  <a:lnTo>
                    <a:pt x="43111" y="352646"/>
                  </a:lnTo>
                  <a:lnTo>
                    <a:pt x="7978" y="352646"/>
                  </a:lnTo>
                  <a:cubicBezTo>
                    <a:pt x="7333" y="344360"/>
                    <a:pt x="7006" y="335980"/>
                    <a:pt x="7006" y="327536"/>
                  </a:cubicBezTo>
                  <a:cubicBezTo>
                    <a:pt x="7006" y="263910"/>
                    <a:pt x="25634" y="204563"/>
                    <a:pt x="57731" y="154650"/>
                  </a:cubicBezTo>
                  <a:lnTo>
                    <a:pt x="128167" y="84215"/>
                  </a:lnTo>
                  <a:lnTo>
                    <a:pt x="124178" y="80235"/>
                  </a:lnTo>
                  <a:lnTo>
                    <a:pt x="78619" y="125794"/>
                  </a:lnTo>
                  <a:cubicBezTo>
                    <a:pt x="96518" y="103757"/>
                    <a:pt x="117303" y="84112"/>
                    <a:pt x="140349" y="67474"/>
                  </a:cubicBezTo>
                  <a:cubicBezTo>
                    <a:pt x="139293" y="69838"/>
                    <a:pt x="138704" y="72463"/>
                    <a:pt x="138704" y="75218"/>
                  </a:cubicBezTo>
                  <a:cubicBezTo>
                    <a:pt x="138704" y="85728"/>
                    <a:pt x="147224" y="94238"/>
                    <a:pt x="157724" y="94238"/>
                  </a:cubicBezTo>
                  <a:cubicBezTo>
                    <a:pt x="168233" y="94238"/>
                    <a:pt x="176753" y="85728"/>
                    <a:pt x="176753" y="75218"/>
                  </a:cubicBezTo>
                  <a:cubicBezTo>
                    <a:pt x="176753" y="64719"/>
                    <a:pt x="168233" y="56199"/>
                    <a:pt x="157724" y="56199"/>
                  </a:cubicBezTo>
                  <a:cubicBezTo>
                    <a:pt x="157490" y="56199"/>
                    <a:pt x="157257" y="56208"/>
                    <a:pt x="157033" y="56208"/>
                  </a:cubicBezTo>
                  <a:cubicBezTo>
                    <a:pt x="206440" y="25054"/>
                    <a:pt x="264919" y="7006"/>
                    <a:pt x="327526" y="7006"/>
                  </a:cubicBezTo>
                  <a:cubicBezTo>
                    <a:pt x="504261" y="7006"/>
                    <a:pt x="648056" y="150792"/>
                    <a:pt x="648056" y="327536"/>
                  </a:cubicBezTo>
                  <a:cubicBezTo>
                    <a:pt x="648056" y="412040"/>
                    <a:pt x="615183" y="489015"/>
                    <a:pt x="561553" y="546344"/>
                  </a:cubicBezTo>
                  <a:close/>
                  <a:moveTo>
                    <a:pt x="367294" y="56199"/>
                  </a:moveTo>
                  <a:cubicBezTo>
                    <a:pt x="356784" y="56199"/>
                    <a:pt x="348274" y="64719"/>
                    <a:pt x="348274" y="75218"/>
                  </a:cubicBezTo>
                  <a:cubicBezTo>
                    <a:pt x="348274" y="85728"/>
                    <a:pt x="356784" y="94238"/>
                    <a:pt x="367294" y="94238"/>
                  </a:cubicBezTo>
                  <a:cubicBezTo>
                    <a:pt x="377794" y="94238"/>
                    <a:pt x="386313" y="85728"/>
                    <a:pt x="386313" y="75218"/>
                  </a:cubicBezTo>
                  <a:cubicBezTo>
                    <a:pt x="386313" y="64719"/>
                    <a:pt x="377794" y="56199"/>
                    <a:pt x="367294" y="56199"/>
                  </a:cubicBezTo>
                  <a:close/>
                  <a:moveTo>
                    <a:pt x="297437" y="56199"/>
                  </a:moveTo>
                  <a:cubicBezTo>
                    <a:pt x="286928" y="56199"/>
                    <a:pt x="278418" y="64719"/>
                    <a:pt x="278418" y="75218"/>
                  </a:cubicBezTo>
                  <a:cubicBezTo>
                    <a:pt x="278418" y="85728"/>
                    <a:pt x="286928" y="94238"/>
                    <a:pt x="297437" y="94238"/>
                  </a:cubicBezTo>
                  <a:cubicBezTo>
                    <a:pt x="307937" y="94238"/>
                    <a:pt x="316457" y="85728"/>
                    <a:pt x="316457" y="75218"/>
                  </a:cubicBezTo>
                  <a:cubicBezTo>
                    <a:pt x="316457" y="64719"/>
                    <a:pt x="307937" y="56199"/>
                    <a:pt x="297437" y="56199"/>
                  </a:cubicBezTo>
                  <a:close/>
                  <a:moveTo>
                    <a:pt x="227580" y="56199"/>
                  </a:moveTo>
                  <a:cubicBezTo>
                    <a:pt x="217081" y="56199"/>
                    <a:pt x="208561" y="64719"/>
                    <a:pt x="208561" y="75218"/>
                  </a:cubicBezTo>
                  <a:cubicBezTo>
                    <a:pt x="208561" y="85728"/>
                    <a:pt x="217081" y="94238"/>
                    <a:pt x="227580" y="94238"/>
                  </a:cubicBezTo>
                  <a:cubicBezTo>
                    <a:pt x="238080" y="94238"/>
                    <a:pt x="246600" y="85728"/>
                    <a:pt x="246600" y="75218"/>
                  </a:cubicBezTo>
                  <a:cubicBezTo>
                    <a:pt x="246600" y="64719"/>
                    <a:pt x="238080" y="56199"/>
                    <a:pt x="227580" y="5619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8" name="Freeform: Shape 13367">
              <a:extLst>
                <a:ext uri="{FF2B5EF4-FFF2-40B4-BE49-F238E27FC236}">
                  <a16:creationId xmlns:a16="http://schemas.microsoft.com/office/drawing/2014/main" id="{8344BF1C-6BEB-4867-A149-B5E5B25B65DC}"/>
                </a:ext>
              </a:extLst>
            </p:cNvPr>
            <p:cNvSpPr/>
            <p:nvPr/>
          </p:nvSpPr>
          <p:spPr bwMode="ltGray">
            <a:xfrm>
              <a:off x="4050056" y="2825680"/>
              <a:ext cx="51566" cy="51566"/>
            </a:xfrm>
            <a:custGeom>
              <a:avLst/>
              <a:gdLst>
                <a:gd name="connsiteX0" fmla="*/ 26026 w 51565"/>
                <a:gd name="connsiteY0" fmla="*/ 45045 h 51565"/>
                <a:gd name="connsiteX1" fmla="*/ 7006 w 51565"/>
                <a:gd name="connsiteY1" fmla="*/ 26026 h 51565"/>
                <a:gd name="connsiteX2" fmla="*/ 8651 w 51565"/>
                <a:gd name="connsiteY2" fmla="*/ 18282 h 51565"/>
                <a:gd name="connsiteX3" fmla="*/ 25335 w 51565"/>
                <a:gd name="connsiteY3" fmla="*/ 7016 h 51565"/>
                <a:gd name="connsiteX4" fmla="*/ 26026 w 51565"/>
                <a:gd name="connsiteY4" fmla="*/ 7006 h 51565"/>
                <a:gd name="connsiteX5" fmla="*/ 45055 w 51565"/>
                <a:gd name="connsiteY5" fmla="*/ 26026 h 51565"/>
                <a:gd name="connsiteX6" fmla="*/ 26026 w 51565"/>
                <a:gd name="connsiteY6" fmla="*/ 45045 h 5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51565">
                  <a:moveTo>
                    <a:pt x="26026" y="45045"/>
                  </a:moveTo>
                  <a:cubicBezTo>
                    <a:pt x="15526" y="45045"/>
                    <a:pt x="7006" y="36535"/>
                    <a:pt x="7006" y="26026"/>
                  </a:cubicBezTo>
                  <a:cubicBezTo>
                    <a:pt x="7006" y="23270"/>
                    <a:pt x="7595" y="20645"/>
                    <a:pt x="8651" y="18282"/>
                  </a:cubicBezTo>
                  <a:cubicBezTo>
                    <a:pt x="14087" y="14358"/>
                    <a:pt x="19646" y="10603"/>
                    <a:pt x="25335" y="7016"/>
                  </a:cubicBezTo>
                  <a:cubicBezTo>
                    <a:pt x="25559" y="7016"/>
                    <a:pt x="25792" y="7006"/>
                    <a:pt x="26026" y="7006"/>
                  </a:cubicBezTo>
                  <a:cubicBezTo>
                    <a:pt x="36535" y="7006"/>
                    <a:pt x="45055" y="15526"/>
                    <a:pt x="45055" y="26026"/>
                  </a:cubicBezTo>
                  <a:cubicBezTo>
                    <a:pt x="45055" y="36535"/>
                    <a:pt x="3653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9" name="Freeform: Shape 13368">
              <a:extLst>
                <a:ext uri="{FF2B5EF4-FFF2-40B4-BE49-F238E27FC236}">
                  <a16:creationId xmlns:a16="http://schemas.microsoft.com/office/drawing/2014/main" id="{353450B1-037A-463E-93A9-204F588D3F15}"/>
                </a:ext>
              </a:extLst>
            </p:cNvPr>
            <p:cNvSpPr/>
            <p:nvPr/>
          </p:nvSpPr>
          <p:spPr bwMode="ltGray">
            <a:xfrm>
              <a:off x="4119913"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26" y="45045"/>
                    <a:pt x="7006" y="36535"/>
                    <a:pt x="7006" y="26026"/>
                  </a:cubicBezTo>
                  <a:cubicBezTo>
                    <a:pt x="7006" y="15526"/>
                    <a:pt x="1552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0" name="Freeform: Shape 13369">
              <a:extLst>
                <a:ext uri="{FF2B5EF4-FFF2-40B4-BE49-F238E27FC236}">
                  <a16:creationId xmlns:a16="http://schemas.microsoft.com/office/drawing/2014/main" id="{B61AE524-7871-4E1A-B6C5-BEC6D5344BC0}"/>
                </a:ext>
              </a:extLst>
            </p:cNvPr>
            <p:cNvSpPr/>
            <p:nvPr/>
          </p:nvSpPr>
          <p:spPr bwMode="ltGray">
            <a:xfrm>
              <a:off x="4189770"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1" name="Freeform: Shape 13370">
              <a:extLst>
                <a:ext uri="{FF2B5EF4-FFF2-40B4-BE49-F238E27FC236}">
                  <a16:creationId xmlns:a16="http://schemas.microsoft.com/office/drawing/2014/main" id="{E61EEAB4-D2A5-4AA3-B09A-915DF29011D6}"/>
                </a:ext>
              </a:extLst>
            </p:cNvPr>
            <p:cNvSpPr/>
            <p:nvPr/>
          </p:nvSpPr>
          <p:spPr bwMode="ltGray">
            <a:xfrm>
              <a:off x="4259626"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6" y="7006"/>
                    <a:pt x="45045" y="15526"/>
                    <a:pt x="45045" y="26026"/>
                  </a:cubicBezTo>
                  <a:cubicBezTo>
                    <a:pt x="45045" y="36535"/>
                    <a:pt x="36526"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2" name="Freeform: Shape 13371">
              <a:extLst>
                <a:ext uri="{FF2B5EF4-FFF2-40B4-BE49-F238E27FC236}">
                  <a16:creationId xmlns:a16="http://schemas.microsoft.com/office/drawing/2014/main" id="{5F500D42-2782-4F01-A8D3-0E688767F665}"/>
                </a:ext>
              </a:extLst>
            </p:cNvPr>
            <p:cNvSpPr/>
            <p:nvPr/>
          </p:nvSpPr>
          <p:spPr bwMode="ltGray">
            <a:xfrm>
              <a:off x="3969083" y="2849716"/>
              <a:ext cx="82953" cy="87437"/>
            </a:xfrm>
            <a:custGeom>
              <a:avLst/>
              <a:gdLst>
                <a:gd name="connsiteX0" fmla="*/ 7006 w 82953"/>
                <a:gd name="connsiteY0" fmla="*/ 81422 h 87437"/>
                <a:gd name="connsiteX1" fmla="*/ 27894 w 82953"/>
                <a:gd name="connsiteY1" fmla="*/ 52565 h 87437"/>
                <a:gd name="connsiteX2" fmla="*/ 73453 w 82953"/>
                <a:gd name="connsiteY2" fmla="*/ 7006 h 87437"/>
                <a:gd name="connsiteX3" fmla="*/ 77442 w 82953"/>
                <a:gd name="connsiteY3" fmla="*/ 10986 h 87437"/>
                <a:gd name="connsiteX4" fmla="*/ 7006 w 82953"/>
                <a:gd name="connsiteY4" fmla="*/ 81422 h 87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87437">
                  <a:moveTo>
                    <a:pt x="7006" y="81422"/>
                  </a:moveTo>
                  <a:cubicBezTo>
                    <a:pt x="13443" y="71407"/>
                    <a:pt x="20421" y="61776"/>
                    <a:pt x="27894" y="52565"/>
                  </a:cubicBezTo>
                  <a:lnTo>
                    <a:pt x="73453" y="7006"/>
                  </a:lnTo>
                  <a:lnTo>
                    <a:pt x="77442" y="10986"/>
                  </a:lnTo>
                  <a:lnTo>
                    <a:pt x="7006" y="81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3" name="Freeform: Shape 13372">
              <a:extLst>
                <a:ext uri="{FF2B5EF4-FFF2-40B4-BE49-F238E27FC236}">
                  <a16:creationId xmlns:a16="http://schemas.microsoft.com/office/drawing/2014/main" id="{6114D7B7-92F2-4ACF-A9EB-E20F84463FE0}"/>
                </a:ext>
              </a:extLst>
            </p:cNvPr>
            <p:cNvSpPr/>
            <p:nvPr/>
          </p:nvSpPr>
          <p:spPr bwMode="ltGray">
            <a:xfrm>
              <a:off x="4004862" y="3315825"/>
              <a:ext cx="482027" cy="29146"/>
            </a:xfrm>
            <a:custGeom>
              <a:avLst/>
              <a:gdLst>
                <a:gd name="connsiteX0" fmla="*/ 458038 w 482027"/>
                <a:gd name="connsiteY0" fmla="*/ 23887 h 29145"/>
                <a:gd name="connsiteX1" fmla="*/ 24017 w 482027"/>
                <a:gd name="connsiteY1" fmla="*/ 23887 h 29145"/>
                <a:gd name="connsiteX2" fmla="*/ 7006 w 482027"/>
                <a:gd name="connsiteY2" fmla="*/ 7006 h 29145"/>
                <a:gd name="connsiteX3" fmla="*/ 174352 w 482027"/>
                <a:gd name="connsiteY3" fmla="*/ 7006 h 29145"/>
                <a:gd name="connsiteX4" fmla="*/ 241023 w 482027"/>
                <a:gd name="connsiteY4" fmla="*/ 16918 h 29145"/>
                <a:gd name="connsiteX5" fmla="*/ 307694 w 482027"/>
                <a:gd name="connsiteY5" fmla="*/ 7006 h 29145"/>
                <a:gd name="connsiteX6" fmla="*/ 475049 w 482027"/>
                <a:gd name="connsiteY6" fmla="*/ 7006 h 29145"/>
                <a:gd name="connsiteX7" fmla="*/ 458038 w 482027"/>
                <a:gd name="connsiteY7" fmla="*/ 23887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027" h="29145">
                  <a:moveTo>
                    <a:pt x="458038" y="23887"/>
                  </a:moveTo>
                  <a:lnTo>
                    <a:pt x="24017" y="23887"/>
                  </a:lnTo>
                  <a:cubicBezTo>
                    <a:pt x="18141" y="18478"/>
                    <a:pt x="12462" y="12835"/>
                    <a:pt x="7006" y="7006"/>
                  </a:cubicBezTo>
                  <a:lnTo>
                    <a:pt x="174352" y="7006"/>
                  </a:lnTo>
                  <a:cubicBezTo>
                    <a:pt x="195455" y="13452"/>
                    <a:pt x="217837" y="16918"/>
                    <a:pt x="241023" y="16918"/>
                  </a:cubicBezTo>
                  <a:cubicBezTo>
                    <a:pt x="264209" y="16918"/>
                    <a:pt x="286591" y="13452"/>
                    <a:pt x="307694" y="7006"/>
                  </a:cubicBezTo>
                  <a:lnTo>
                    <a:pt x="475049" y="7006"/>
                  </a:lnTo>
                  <a:cubicBezTo>
                    <a:pt x="469594" y="12835"/>
                    <a:pt x="463914" y="18478"/>
                    <a:pt x="458038" y="238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4" name="Freeform: Shape 13373">
              <a:extLst>
                <a:ext uri="{FF2B5EF4-FFF2-40B4-BE49-F238E27FC236}">
                  <a16:creationId xmlns:a16="http://schemas.microsoft.com/office/drawing/2014/main" id="{EEDAF40D-0DD6-48FB-8358-B6B263A6201C}"/>
                </a:ext>
              </a:extLst>
            </p:cNvPr>
            <p:cNvSpPr/>
            <p:nvPr/>
          </p:nvSpPr>
          <p:spPr bwMode="ltGray">
            <a:xfrm>
              <a:off x="4465534" y="3122127"/>
              <a:ext cx="42598" cy="17936"/>
            </a:xfrm>
            <a:custGeom>
              <a:avLst/>
              <a:gdLst>
                <a:gd name="connsiteX0" fmla="*/ 36227 w 42597"/>
                <a:gd name="connsiteY0" fmla="*/ 12639 h 17935"/>
                <a:gd name="connsiteX1" fmla="*/ 7006 w 42597"/>
                <a:gd name="connsiteY1" fmla="*/ 12639 h 17935"/>
                <a:gd name="connsiteX2" fmla="*/ 7698 w 42597"/>
                <a:gd name="connsiteY2" fmla="*/ 7006 h 17935"/>
                <a:gd name="connsiteX3" fmla="*/ 36227 w 42597"/>
                <a:gd name="connsiteY3" fmla="*/ 7006 h 17935"/>
                <a:gd name="connsiteX4" fmla="*/ 36227 w 42597"/>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17935">
                  <a:moveTo>
                    <a:pt x="36227" y="12639"/>
                  </a:moveTo>
                  <a:lnTo>
                    <a:pt x="7006" y="12639"/>
                  </a:lnTo>
                  <a:cubicBezTo>
                    <a:pt x="7259" y="10771"/>
                    <a:pt x="7492" y="8884"/>
                    <a:pt x="7698" y="7006"/>
                  </a:cubicBezTo>
                  <a:lnTo>
                    <a:pt x="36227" y="7006"/>
                  </a:lnTo>
                  <a:lnTo>
                    <a:pt x="36227"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5" name="Freeform: Shape 13374">
              <a:extLst>
                <a:ext uri="{FF2B5EF4-FFF2-40B4-BE49-F238E27FC236}">
                  <a16:creationId xmlns:a16="http://schemas.microsoft.com/office/drawing/2014/main" id="{D75F7643-8B49-488B-BC61-3449A920961B}"/>
                </a:ext>
              </a:extLst>
            </p:cNvPr>
            <p:cNvSpPr/>
            <p:nvPr/>
          </p:nvSpPr>
          <p:spPr bwMode="ltGray">
            <a:xfrm>
              <a:off x="3919330" y="3122127"/>
              <a:ext cx="47082" cy="17936"/>
            </a:xfrm>
            <a:custGeom>
              <a:avLst/>
              <a:gdLst>
                <a:gd name="connsiteX0" fmla="*/ 42140 w 47081"/>
                <a:gd name="connsiteY0" fmla="*/ 12639 h 17935"/>
                <a:gd name="connsiteX1" fmla="*/ 7492 w 47081"/>
                <a:gd name="connsiteY1" fmla="*/ 12639 h 17935"/>
                <a:gd name="connsiteX2" fmla="*/ 7006 w 47081"/>
                <a:gd name="connsiteY2" fmla="*/ 7006 h 17935"/>
                <a:gd name="connsiteX3" fmla="*/ 42140 w 47081"/>
                <a:gd name="connsiteY3" fmla="*/ 7006 h 17935"/>
                <a:gd name="connsiteX4" fmla="*/ 42140 w 47081"/>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17935">
                  <a:moveTo>
                    <a:pt x="42140" y="12639"/>
                  </a:moveTo>
                  <a:lnTo>
                    <a:pt x="7492" y="12639"/>
                  </a:lnTo>
                  <a:cubicBezTo>
                    <a:pt x="7314" y="10761"/>
                    <a:pt x="7156" y="8893"/>
                    <a:pt x="7006" y="7006"/>
                  </a:cubicBezTo>
                  <a:lnTo>
                    <a:pt x="42140" y="7006"/>
                  </a:lnTo>
                  <a:lnTo>
                    <a:pt x="42140"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6" name="Freeform: Shape 13375">
              <a:extLst>
                <a:ext uri="{FF2B5EF4-FFF2-40B4-BE49-F238E27FC236}">
                  <a16:creationId xmlns:a16="http://schemas.microsoft.com/office/drawing/2014/main" id="{1EE62D92-C13E-4544-98C6-EB5B35F91B1F}"/>
                </a:ext>
              </a:extLst>
            </p:cNvPr>
            <p:cNvSpPr/>
            <p:nvPr/>
          </p:nvSpPr>
          <p:spPr bwMode="ltGray">
            <a:xfrm>
              <a:off x="578618" y="2372929"/>
              <a:ext cx="2674690" cy="304910"/>
            </a:xfrm>
            <a:custGeom>
              <a:avLst/>
              <a:gdLst>
                <a:gd name="connsiteX0" fmla="*/ 2375125 w 2674689"/>
                <a:gd name="connsiteY0" fmla="*/ 299660 h 304910"/>
                <a:gd name="connsiteX1" fmla="*/ 1962786 w 2674689"/>
                <a:gd name="connsiteY1" fmla="*/ 299660 h 304910"/>
                <a:gd name="connsiteX2" fmla="*/ 1921048 w 2674689"/>
                <a:gd name="connsiteY2" fmla="*/ 227366 h 304910"/>
                <a:gd name="connsiteX3" fmla="*/ 1475518 w 2674689"/>
                <a:gd name="connsiteY3" fmla="*/ 227366 h 304910"/>
                <a:gd name="connsiteX4" fmla="*/ 1433780 w 2674689"/>
                <a:gd name="connsiteY4" fmla="*/ 299660 h 304910"/>
                <a:gd name="connsiteX5" fmla="*/ 691485 w 2674689"/>
                <a:gd name="connsiteY5" fmla="*/ 299660 h 304910"/>
                <a:gd name="connsiteX6" fmla="*/ 569344 w 2674689"/>
                <a:gd name="connsiteY6" fmla="*/ 235708 h 304910"/>
                <a:gd name="connsiteX7" fmla="*/ 447193 w 2674689"/>
                <a:gd name="connsiteY7" fmla="*/ 299660 h 304910"/>
                <a:gd name="connsiteX8" fmla="*/ 7006 w 2674689"/>
                <a:gd name="connsiteY8" fmla="*/ 299660 h 304910"/>
                <a:gd name="connsiteX9" fmla="*/ 121777 w 2674689"/>
                <a:gd name="connsiteY9" fmla="*/ 184889 h 304910"/>
                <a:gd name="connsiteX10" fmla="*/ 2327585 w 2674689"/>
                <a:gd name="connsiteY10" fmla="*/ 184889 h 304910"/>
                <a:gd name="connsiteX11" fmla="*/ 2481825 w 2674689"/>
                <a:gd name="connsiteY11" fmla="*/ 30650 h 304910"/>
                <a:gd name="connsiteX12" fmla="*/ 2535231 w 2674689"/>
                <a:gd name="connsiteY12" fmla="*/ 30650 h 304910"/>
                <a:gd name="connsiteX13" fmla="*/ 2558875 w 2674689"/>
                <a:gd name="connsiteY13" fmla="*/ 7006 h 304910"/>
                <a:gd name="connsiteX14" fmla="*/ 2667770 w 2674689"/>
                <a:gd name="connsiteY14" fmla="*/ 7006 h 304910"/>
                <a:gd name="connsiteX15" fmla="*/ 2375125 w 2674689"/>
                <a:gd name="connsiteY15" fmla="*/ 299660 h 304910"/>
                <a:gd name="connsiteX16" fmla="*/ 1943514 w 2674689"/>
                <a:gd name="connsiteY16" fmla="*/ 299660 h 304910"/>
                <a:gd name="connsiteX17" fmla="*/ 1453042 w 2674689"/>
                <a:gd name="connsiteY17" fmla="*/ 299660 h 304910"/>
                <a:gd name="connsiteX18" fmla="*/ 1485149 w 2674689"/>
                <a:gd name="connsiteY18" fmla="*/ 244050 h 304910"/>
                <a:gd name="connsiteX19" fmla="*/ 1911407 w 2674689"/>
                <a:gd name="connsiteY19" fmla="*/ 244050 h 304910"/>
                <a:gd name="connsiteX20" fmla="*/ 1943514 w 2674689"/>
                <a:gd name="connsiteY20" fmla="*/ 299660 h 304910"/>
                <a:gd name="connsiteX21" fmla="*/ 655025 w 2674689"/>
                <a:gd name="connsiteY21" fmla="*/ 299660 h 304910"/>
                <a:gd name="connsiteX22" fmla="*/ 483653 w 2674689"/>
                <a:gd name="connsiteY22" fmla="*/ 299660 h 304910"/>
                <a:gd name="connsiteX23" fmla="*/ 569344 w 2674689"/>
                <a:gd name="connsiteY23" fmla="*/ 263845 h 304910"/>
                <a:gd name="connsiteX24" fmla="*/ 655025 w 2674689"/>
                <a:gd name="connsiteY24" fmla="*/ 299660 h 30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74689" h="304910">
                  <a:moveTo>
                    <a:pt x="2375125" y="299660"/>
                  </a:moveTo>
                  <a:lnTo>
                    <a:pt x="1962786" y="299660"/>
                  </a:lnTo>
                  <a:lnTo>
                    <a:pt x="1921048" y="227366"/>
                  </a:lnTo>
                  <a:lnTo>
                    <a:pt x="1475518" y="227366"/>
                  </a:lnTo>
                  <a:lnTo>
                    <a:pt x="1433780" y="299660"/>
                  </a:lnTo>
                  <a:lnTo>
                    <a:pt x="691485" y="299660"/>
                  </a:lnTo>
                  <a:cubicBezTo>
                    <a:pt x="664591" y="261033"/>
                    <a:pt x="619872" y="235708"/>
                    <a:pt x="569344" y="235708"/>
                  </a:cubicBezTo>
                  <a:cubicBezTo>
                    <a:pt x="518805" y="235708"/>
                    <a:pt x="474087" y="261033"/>
                    <a:pt x="447193" y="299660"/>
                  </a:cubicBezTo>
                  <a:lnTo>
                    <a:pt x="7006" y="299660"/>
                  </a:lnTo>
                  <a:lnTo>
                    <a:pt x="121777" y="184889"/>
                  </a:lnTo>
                  <a:lnTo>
                    <a:pt x="2327585" y="184889"/>
                  </a:lnTo>
                  <a:lnTo>
                    <a:pt x="2481825" y="30650"/>
                  </a:lnTo>
                  <a:lnTo>
                    <a:pt x="2535231" y="30650"/>
                  </a:lnTo>
                  <a:lnTo>
                    <a:pt x="2558875" y="7006"/>
                  </a:lnTo>
                  <a:lnTo>
                    <a:pt x="2667770" y="7006"/>
                  </a:lnTo>
                  <a:lnTo>
                    <a:pt x="2375125" y="299660"/>
                  </a:lnTo>
                  <a:close/>
                  <a:moveTo>
                    <a:pt x="1943514" y="299660"/>
                  </a:moveTo>
                  <a:lnTo>
                    <a:pt x="1453042" y="299660"/>
                  </a:lnTo>
                  <a:lnTo>
                    <a:pt x="1485149" y="244050"/>
                  </a:lnTo>
                  <a:lnTo>
                    <a:pt x="1911407" y="244050"/>
                  </a:lnTo>
                  <a:lnTo>
                    <a:pt x="1943514" y="299660"/>
                  </a:lnTo>
                  <a:close/>
                  <a:moveTo>
                    <a:pt x="655025" y="299660"/>
                  </a:moveTo>
                  <a:lnTo>
                    <a:pt x="483653" y="299660"/>
                  </a:lnTo>
                  <a:cubicBezTo>
                    <a:pt x="505531" y="277558"/>
                    <a:pt x="535863" y="263845"/>
                    <a:pt x="569344" y="263845"/>
                  </a:cubicBezTo>
                  <a:cubicBezTo>
                    <a:pt x="602815" y="263845"/>
                    <a:pt x="633156" y="277558"/>
                    <a:pt x="655025" y="2996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7" name="Freeform: Shape 13376">
              <a:extLst>
                <a:ext uri="{FF2B5EF4-FFF2-40B4-BE49-F238E27FC236}">
                  <a16:creationId xmlns:a16="http://schemas.microsoft.com/office/drawing/2014/main" id="{1DD531D3-AA17-4197-A220-38C03F891F4B}"/>
                </a:ext>
              </a:extLst>
            </p:cNvPr>
            <p:cNvSpPr/>
            <p:nvPr/>
          </p:nvSpPr>
          <p:spPr bwMode="ltGray">
            <a:xfrm>
              <a:off x="2005391" y="2593288"/>
              <a:ext cx="542561" cy="85195"/>
            </a:xfrm>
            <a:custGeom>
              <a:avLst/>
              <a:gdLst>
                <a:gd name="connsiteX0" fmla="*/ 536013 w 542560"/>
                <a:gd name="connsiteY0" fmla="*/ 79301 h 85195"/>
                <a:gd name="connsiteX1" fmla="*/ 516741 w 542560"/>
                <a:gd name="connsiteY1" fmla="*/ 79301 h 85195"/>
                <a:gd name="connsiteX2" fmla="*/ 484634 w 542560"/>
                <a:gd name="connsiteY2" fmla="*/ 23690 h 85195"/>
                <a:gd name="connsiteX3" fmla="*/ 58376 w 542560"/>
                <a:gd name="connsiteY3" fmla="*/ 23690 h 85195"/>
                <a:gd name="connsiteX4" fmla="*/ 26269 w 542560"/>
                <a:gd name="connsiteY4" fmla="*/ 79301 h 85195"/>
                <a:gd name="connsiteX5" fmla="*/ 7006 w 542560"/>
                <a:gd name="connsiteY5" fmla="*/ 79301 h 85195"/>
                <a:gd name="connsiteX6" fmla="*/ 48745 w 542560"/>
                <a:gd name="connsiteY6" fmla="*/ 7006 h 85195"/>
                <a:gd name="connsiteX7" fmla="*/ 494274 w 542560"/>
                <a:gd name="connsiteY7" fmla="*/ 7006 h 85195"/>
                <a:gd name="connsiteX8" fmla="*/ 536013 w 542560"/>
                <a:gd name="connsiteY8" fmla="*/ 79301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560" h="85195">
                  <a:moveTo>
                    <a:pt x="536013" y="79301"/>
                  </a:moveTo>
                  <a:lnTo>
                    <a:pt x="516741" y="79301"/>
                  </a:lnTo>
                  <a:lnTo>
                    <a:pt x="484634" y="23690"/>
                  </a:lnTo>
                  <a:lnTo>
                    <a:pt x="58376" y="23690"/>
                  </a:lnTo>
                  <a:lnTo>
                    <a:pt x="26269" y="79301"/>
                  </a:lnTo>
                  <a:lnTo>
                    <a:pt x="7006" y="79301"/>
                  </a:lnTo>
                  <a:lnTo>
                    <a:pt x="48745" y="7006"/>
                  </a:lnTo>
                  <a:lnTo>
                    <a:pt x="494274" y="7006"/>
                  </a:lnTo>
                  <a:lnTo>
                    <a:pt x="536013" y="7930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8" name="Freeform: Shape 13377">
              <a:extLst>
                <a:ext uri="{FF2B5EF4-FFF2-40B4-BE49-F238E27FC236}">
                  <a16:creationId xmlns:a16="http://schemas.microsoft.com/office/drawing/2014/main" id="{819B8437-E4A0-4C74-A40B-1B7AA88C28AF}"/>
                </a:ext>
              </a:extLst>
            </p:cNvPr>
            <p:cNvSpPr/>
            <p:nvPr/>
          </p:nvSpPr>
          <p:spPr bwMode="ltGray">
            <a:xfrm>
              <a:off x="1018804" y="2601630"/>
              <a:ext cx="257828" cy="76228"/>
            </a:xfrm>
            <a:custGeom>
              <a:avLst/>
              <a:gdLst>
                <a:gd name="connsiteX0" fmla="*/ 251299 w 257828"/>
                <a:gd name="connsiteY0" fmla="*/ 70959 h 76227"/>
                <a:gd name="connsiteX1" fmla="*/ 214839 w 257828"/>
                <a:gd name="connsiteY1" fmla="*/ 70959 h 76227"/>
                <a:gd name="connsiteX2" fmla="*/ 129157 w 257828"/>
                <a:gd name="connsiteY2" fmla="*/ 35143 h 76227"/>
                <a:gd name="connsiteX3" fmla="*/ 43467 w 257828"/>
                <a:gd name="connsiteY3" fmla="*/ 70959 h 76227"/>
                <a:gd name="connsiteX4" fmla="*/ 7006 w 257828"/>
                <a:gd name="connsiteY4" fmla="*/ 70959 h 76227"/>
                <a:gd name="connsiteX5" fmla="*/ 129157 w 257828"/>
                <a:gd name="connsiteY5" fmla="*/ 7006 h 76227"/>
                <a:gd name="connsiteX6" fmla="*/ 251299 w 257828"/>
                <a:gd name="connsiteY6" fmla="*/ 70959 h 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828" h="76227">
                  <a:moveTo>
                    <a:pt x="251299" y="70959"/>
                  </a:moveTo>
                  <a:lnTo>
                    <a:pt x="214839" y="70959"/>
                  </a:lnTo>
                  <a:cubicBezTo>
                    <a:pt x="192970" y="48857"/>
                    <a:pt x="162628" y="35143"/>
                    <a:pt x="129157" y="35143"/>
                  </a:cubicBezTo>
                  <a:cubicBezTo>
                    <a:pt x="95677" y="35143"/>
                    <a:pt x="65345" y="48857"/>
                    <a:pt x="43467" y="70959"/>
                  </a:cubicBezTo>
                  <a:lnTo>
                    <a:pt x="7006" y="70959"/>
                  </a:lnTo>
                  <a:cubicBezTo>
                    <a:pt x="33901" y="32331"/>
                    <a:pt x="78619" y="7006"/>
                    <a:pt x="129157" y="7006"/>
                  </a:cubicBezTo>
                  <a:cubicBezTo>
                    <a:pt x="179686" y="7006"/>
                    <a:pt x="224404" y="32331"/>
                    <a:pt x="251299" y="7095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9" name="Freeform: Shape 13378">
              <a:extLst>
                <a:ext uri="{FF2B5EF4-FFF2-40B4-BE49-F238E27FC236}">
                  <a16:creationId xmlns:a16="http://schemas.microsoft.com/office/drawing/2014/main" id="{154D122E-91B5-4DD2-A9F8-0DCA982FABEC}"/>
                </a:ext>
              </a:extLst>
            </p:cNvPr>
            <p:cNvSpPr/>
            <p:nvPr/>
          </p:nvSpPr>
          <p:spPr bwMode="ltGray">
            <a:xfrm>
              <a:off x="3061909" y="2372929"/>
              <a:ext cx="69502" cy="29146"/>
            </a:xfrm>
            <a:custGeom>
              <a:avLst/>
              <a:gdLst>
                <a:gd name="connsiteX0" fmla="*/ 48436 w 69501"/>
                <a:gd name="connsiteY0" fmla="*/ 22186 h 29145"/>
                <a:gd name="connsiteX1" fmla="*/ 7006 w 69501"/>
                <a:gd name="connsiteY1" fmla="*/ 22186 h 29145"/>
                <a:gd name="connsiteX2" fmla="*/ 22177 w 69501"/>
                <a:gd name="connsiteY2" fmla="*/ 7006 h 29145"/>
                <a:gd name="connsiteX3" fmla="*/ 63607 w 69501"/>
                <a:gd name="connsiteY3" fmla="*/ 7006 h 29145"/>
                <a:gd name="connsiteX4" fmla="*/ 48436 w 69501"/>
                <a:gd name="connsiteY4" fmla="*/ 221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9145">
                  <a:moveTo>
                    <a:pt x="48436" y="22186"/>
                  </a:moveTo>
                  <a:lnTo>
                    <a:pt x="7006" y="22186"/>
                  </a:lnTo>
                  <a:lnTo>
                    <a:pt x="22177" y="7006"/>
                  </a:lnTo>
                  <a:lnTo>
                    <a:pt x="63607" y="7006"/>
                  </a:lnTo>
                  <a:lnTo>
                    <a:pt x="48436" y="2218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0" name="Freeform: Shape 13379">
              <a:extLst>
                <a:ext uri="{FF2B5EF4-FFF2-40B4-BE49-F238E27FC236}">
                  <a16:creationId xmlns:a16="http://schemas.microsoft.com/office/drawing/2014/main" id="{4D300360-7DC5-4827-84D4-25100870E5BF}"/>
                </a:ext>
              </a:extLst>
            </p:cNvPr>
            <p:cNvSpPr/>
            <p:nvPr/>
          </p:nvSpPr>
          <p:spPr bwMode="ltGray">
            <a:xfrm>
              <a:off x="3053437" y="2372929"/>
              <a:ext cx="89679" cy="35872"/>
            </a:xfrm>
            <a:custGeom>
              <a:avLst/>
              <a:gdLst>
                <a:gd name="connsiteX0" fmla="*/ 60412 w 89679"/>
                <a:gd name="connsiteY0" fmla="*/ 30650 h 35871"/>
                <a:gd name="connsiteX1" fmla="*/ 7006 w 89679"/>
                <a:gd name="connsiteY1" fmla="*/ 30650 h 35871"/>
                <a:gd name="connsiteX2" fmla="*/ 15479 w 89679"/>
                <a:gd name="connsiteY2" fmla="*/ 22186 h 35871"/>
                <a:gd name="connsiteX3" fmla="*/ 56909 w 89679"/>
                <a:gd name="connsiteY3" fmla="*/ 22186 h 35871"/>
                <a:gd name="connsiteX4" fmla="*/ 72080 w 89679"/>
                <a:gd name="connsiteY4" fmla="*/ 7006 h 35871"/>
                <a:gd name="connsiteX5" fmla="*/ 84056 w 89679"/>
                <a:gd name="connsiteY5" fmla="*/ 7006 h 35871"/>
                <a:gd name="connsiteX6" fmla="*/ 60412 w 89679"/>
                <a:gd name="connsiteY6" fmla="*/ 30650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79" h="35871">
                  <a:moveTo>
                    <a:pt x="60412" y="30650"/>
                  </a:moveTo>
                  <a:lnTo>
                    <a:pt x="7006" y="30650"/>
                  </a:lnTo>
                  <a:lnTo>
                    <a:pt x="15479" y="22186"/>
                  </a:lnTo>
                  <a:lnTo>
                    <a:pt x="56909" y="22186"/>
                  </a:lnTo>
                  <a:lnTo>
                    <a:pt x="72080" y="7006"/>
                  </a:lnTo>
                  <a:lnTo>
                    <a:pt x="84056" y="7006"/>
                  </a:lnTo>
                  <a:lnTo>
                    <a:pt x="60412" y="3065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1" name="Freeform: Shape 13380">
              <a:extLst>
                <a:ext uri="{FF2B5EF4-FFF2-40B4-BE49-F238E27FC236}">
                  <a16:creationId xmlns:a16="http://schemas.microsoft.com/office/drawing/2014/main" id="{521CB059-D7E6-4CD2-866F-D5547DB5AA6B}"/>
                </a:ext>
              </a:extLst>
            </p:cNvPr>
            <p:cNvSpPr/>
            <p:nvPr/>
          </p:nvSpPr>
          <p:spPr bwMode="ltGray">
            <a:xfrm>
              <a:off x="-2860" y="2550812"/>
              <a:ext cx="701742" cy="127793"/>
            </a:xfrm>
            <a:custGeom>
              <a:avLst/>
              <a:gdLst>
                <a:gd name="connsiteX0" fmla="*/ 580525 w 701741"/>
                <a:gd name="connsiteY0" fmla="*/ 121777 h 127793"/>
                <a:gd name="connsiteX1" fmla="*/ 7006 w 701741"/>
                <a:gd name="connsiteY1" fmla="*/ 121777 h 127793"/>
                <a:gd name="connsiteX2" fmla="*/ 7006 w 701741"/>
                <a:gd name="connsiteY2" fmla="*/ 7006 h 127793"/>
                <a:gd name="connsiteX3" fmla="*/ 695287 w 701741"/>
                <a:gd name="connsiteY3" fmla="*/ 7006 h 127793"/>
                <a:gd name="connsiteX4" fmla="*/ 580525 w 701741"/>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741" h="127793">
                  <a:moveTo>
                    <a:pt x="580525" y="121777"/>
                  </a:moveTo>
                  <a:lnTo>
                    <a:pt x="7006" y="121777"/>
                  </a:lnTo>
                  <a:lnTo>
                    <a:pt x="7006" y="7006"/>
                  </a:lnTo>
                  <a:lnTo>
                    <a:pt x="695287" y="7006"/>
                  </a:lnTo>
                  <a:lnTo>
                    <a:pt x="580525" y="12177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2" name="Freeform: Shape 13381">
              <a:extLst>
                <a:ext uri="{FF2B5EF4-FFF2-40B4-BE49-F238E27FC236}">
                  <a16:creationId xmlns:a16="http://schemas.microsoft.com/office/drawing/2014/main" id="{618DDA9A-4E3F-453D-A856-4F7B4F4DE546}"/>
                </a:ext>
              </a:extLst>
            </p:cNvPr>
            <p:cNvSpPr/>
            <p:nvPr/>
          </p:nvSpPr>
          <p:spPr bwMode="ltGray">
            <a:xfrm>
              <a:off x="570659" y="2550812"/>
              <a:ext cx="134519" cy="127793"/>
            </a:xfrm>
            <a:custGeom>
              <a:avLst/>
              <a:gdLst>
                <a:gd name="connsiteX0" fmla="*/ 14965 w 134519"/>
                <a:gd name="connsiteY0" fmla="*/ 121777 h 127793"/>
                <a:gd name="connsiteX1" fmla="*/ 7006 w 134519"/>
                <a:gd name="connsiteY1" fmla="*/ 121777 h 127793"/>
                <a:gd name="connsiteX2" fmla="*/ 121768 w 134519"/>
                <a:gd name="connsiteY2" fmla="*/ 7006 h 127793"/>
                <a:gd name="connsiteX3" fmla="*/ 129736 w 134519"/>
                <a:gd name="connsiteY3" fmla="*/ 7006 h 127793"/>
                <a:gd name="connsiteX4" fmla="*/ 14965 w 134519"/>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27793">
                  <a:moveTo>
                    <a:pt x="14965" y="121777"/>
                  </a:moveTo>
                  <a:lnTo>
                    <a:pt x="7006" y="121777"/>
                  </a:lnTo>
                  <a:lnTo>
                    <a:pt x="121768" y="7006"/>
                  </a:lnTo>
                  <a:lnTo>
                    <a:pt x="129736" y="7006"/>
                  </a:lnTo>
                  <a:lnTo>
                    <a:pt x="14965" y="12177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3" name="Freeform: Shape 13382">
              <a:extLst>
                <a:ext uri="{FF2B5EF4-FFF2-40B4-BE49-F238E27FC236}">
                  <a16:creationId xmlns:a16="http://schemas.microsoft.com/office/drawing/2014/main" id="{63AA2DA8-84C5-4CD6-B25E-772B274DB0B7}"/>
                </a:ext>
              </a:extLst>
            </p:cNvPr>
            <p:cNvSpPr/>
            <p:nvPr/>
          </p:nvSpPr>
          <p:spPr bwMode="ltGray">
            <a:xfrm>
              <a:off x="3111504" y="2113839"/>
              <a:ext cx="791421" cy="237651"/>
            </a:xfrm>
            <a:custGeom>
              <a:avLst/>
              <a:gdLst>
                <a:gd name="connsiteX0" fmla="*/ 169317 w 791421"/>
                <a:gd name="connsiteY0" fmla="*/ 231672 h 237650"/>
                <a:gd name="connsiteX1" fmla="*/ 60412 w 791421"/>
                <a:gd name="connsiteY1" fmla="*/ 231672 h 237650"/>
                <a:gd name="connsiteX2" fmla="*/ 85233 w 791421"/>
                <a:gd name="connsiteY2" fmla="*/ 206851 h 237650"/>
                <a:gd name="connsiteX3" fmla="*/ 194128 w 791421"/>
                <a:gd name="connsiteY3" fmla="*/ 206851 h 237650"/>
                <a:gd name="connsiteX4" fmla="*/ 169317 w 791421"/>
                <a:gd name="connsiteY4" fmla="*/ 231672 h 237650"/>
                <a:gd name="connsiteX5" fmla="*/ 48446 w 791421"/>
                <a:gd name="connsiteY5" fmla="*/ 231672 h 237650"/>
                <a:gd name="connsiteX6" fmla="*/ 7006 w 791421"/>
                <a:gd name="connsiteY6" fmla="*/ 231672 h 237650"/>
                <a:gd name="connsiteX7" fmla="*/ 231672 w 791421"/>
                <a:gd name="connsiteY7" fmla="*/ 7006 h 237650"/>
                <a:gd name="connsiteX8" fmla="*/ 785126 w 791421"/>
                <a:gd name="connsiteY8" fmla="*/ 7006 h 237650"/>
                <a:gd name="connsiteX9" fmla="*/ 670364 w 791421"/>
                <a:gd name="connsiteY9" fmla="*/ 121768 h 237650"/>
                <a:gd name="connsiteX10" fmla="*/ 279212 w 791421"/>
                <a:gd name="connsiteY10" fmla="*/ 121768 h 237650"/>
                <a:gd name="connsiteX11" fmla="*/ 202592 w 791421"/>
                <a:gd name="connsiteY11" fmla="*/ 198388 h 237650"/>
                <a:gd name="connsiteX12" fmla="*/ 81721 w 791421"/>
                <a:gd name="connsiteY12" fmla="*/ 198388 h 237650"/>
                <a:gd name="connsiteX13" fmla="*/ 48446 w 791421"/>
                <a:gd name="connsiteY13" fmla="*/ 231672 h 23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1421" h="237650">
                  <a:moveTo>
                    <a:pt x="169317" y="231672"/>
                  </a:moveTo>
                  <a:lnTo>
                    <a:pt x="60412" y="231672"/>
                  </a:lnTo>
                  <a:lnTo>
                    <a:pt x="85233" y="206851"/>
                  </a:lnTo>
                  <a:lnTo>
                    <a:pt x="194128" y="206851"/>
                  </a:lnTo>
                  <a:lnTo>
                    <a:pt x="169317" y="231672"/>
                  </a:lnTo>
                  <a:close/>
                  <a:moveTo>
                    <a:pt x="48446" y="231672"/>
                  </a:moveTo>
                  <a:lnTo>
                    <a:pt x="7006" y="231672"/>
                  </a:lnTo>
                  <a:lnTo>
                    <a:pt x="231672" y="7006"/>
                  </a:lnTo>
                  <a:lnTo>
                    <a:pt x="785126" y="7006"/>
                  </a:lnTo>
                  <a:lnTo>
                    <a:pt x="670364" y="121768"/>
                  </a:lnTo>
                  <a:lnTo>
                    <a:pt x="279212" y="121768"/>
                  </a:lnTo>
                  <a:lnTo>
                    <a:pt x="202592" y="198388"/>
                  </a:lnTo>
                  <a:lnTo>
                    <a:pt x="81721" y="198388"/>
                  </a:lnTo>
                  <a:lnTo>
                    <a:pt x="48446" y="23167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4" name="Freeform: Shape 13383">
              <a:extLst>
                <a:ext uri="{FF2B5EF4-FFF2-40B4-BE49-F238E27FC236}">
                  <a16:creationId xmlns:a16="http://schemas.microsoft.com/office/drawing/2014/main" id="{C8CC7498-168D-437B-9DD5-574502937340}"/>
                </a:ext>
              </a:extLst>
            </p:cNvPr>
            <p:cNvSpPr/>
            <p:nvPr/>
          </p:nvSpPr>
          <p:spPr bwMode="ltGray">
            <a:xfrm>
              <a:off x="3152943" y="2305221"/>
              <a:ext cx="168149" cy="47082"/>
            </a:xfrm>
            <a:custGeom>
              <a:avLst/>
              <a:gdLst>
                <a:gd name="connsiteX0" fmla="*/ 18973 w 168148"/>
                <a:gd name="connsiteY0" fmla="*/ 40290 h 47081"/>
                <a:gd name="connsiteX1" fmla="*/ 7006 w 168148"/>
                <a:gd name="connsiteY1" fmla="*/ 40290 h 47081"/>
                <a:gd name="connsiteX2" fmla="*/ 40281 w 168148"/>
                <a:gd name="connsiteY2" fmla="*/ 7006 h 47081"/>
                <a:gd name="connsiteX3" fmla="*/ 161152 w 168148"/>
                <a:gd name="connsiteY3" fmla="*/ 7006 h 47081"/>
                <a:gd name="connsiteX4" fmla="*/ 152689 w 168148"/>
                <a:gd name="connsiteY4" fmla="*/ 15470 h 47081"/>
                <a:gd name="connsiteX5" fmla="*/ 43794 w 168148"/>
                <a:gd name="connsiteY5" fmla="*/ 15470 h 47081"/>
                <a:gd name="connsiteX6" fmla="*/ 18973 w 168148"/>
                <a:gd name="connsiteY6" fmla="*/ 4029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148" h="47081">
                  <a:moveTo>
                    <a:pt x="18973" y="40290"/>
                  </a:moveTo>
                  <a:lnTo>
                    <a:pt x="7006" y="40290"/>
                  </a:lnTo>
                  <a:lnTo>
                    <a:pt x="40281" y="7006"/>
                  </a:lnTo>
                  <a:lnTo>
                    <a:pt x="161152" y="7006"/>
                  </a:lnTo>
                  <a:lnTo>
                    <a:pt x="152689" y="15470"/>
                  </a:lnTo>
                  <a:lnTo>
                    <a:pt x="43794" y="15470"/>
                  </a:lnTo>
                  <a:lnTo>
                    <a:pt x="18973" y="402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5" name="Freeform: Shape 13384">
              <a:extLst>
                <a:ext uri="{FF2B5EF4-FFF2-40B4-BE49-F238E27FC236}">
                  <a16:creationId xmlns:a16="http://schemas.microsoft.com/office/drawing/2014/main" id="{2A4A8CC7-8CBD-47CF-B2D9-29212E8C0ABB}"/>
                </a:ext>
              </a:extLst>
            </p:cNvPr>
            <p:cNvSpPr/>
            <p:nvPr/>
          </p:nvSpPr>
          <p:spPr bwMode="ltGray">
            <a:xfrm>
              <a:off x="3791079" y="2113839"/>
              <a:ext cx="459607" cy="127793"/>
            </a:xfrm>
            <a:custGeom>
              <a:avLst/>
              <a:gdLst>
                <a:gd name="connsiteX0" fmla="*/ 454806 w 459607"/>
                <a:gd name="connsiteY0" fmla="*/ 121768 h 127793"/>
                <a:gd name="connsiteX1" fmla="*/ 7006 w 459607"/>
                <a:gd name="connsiteY1" fmla="*/ 121768 h 127793"/>
                <a:gd name="connsiteX2" fmla="*/ 121777 w 459607"/>
                <a:gd name="connsiteY2" fmla="*/ 7006 h 127793"/>
                <a:gd name="connsiteX3" fmla="*/ 454806 w 459607"/>
                <a:gd name="connsiteY3" fmla="*/ 7006 h 127793"/>
                <a:gd name="connsiteX4" fmla="*/ 454806 w 459607"/>
                <a:gd name="connsiteY4" fmla="*/ 121768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607" h="127793">
                  <a:moveTo>
                    <a:pt x="454806" y="121768"/>
                  </a:moveTo>
                  <a:lnTo>
                    <a:pt x="7006" y="121768"/>
                  </a:lnTo>
                  <a:lnTo>
                    <a:pt x="121777" y="7006"/>
                  </a:lnTo>
                  <a:lnTo>
                    <a:pt x="454806" y="7006"/>
                  </a:lnTo>
                  <a:lnTo>
                    <a:pt x="454806" y="1217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6" name="Freeform: Shape 13385">
              <a:extLst>
                <a:ext uri="{FF2B5EF4-FFF2-40B4-BE49-F238E27FC236}">
                  <a16:creationId xmlns:a16="http://schemas.microsoft.com/office/drawing/2014/main" id="{B19B7CB1-BCFF-4B6A-915D-B52BAC4BA615}"/>
                </a:ext>
              </a:extLst>
            </p:cNvPr>
            <p:cNvSpPr/>
            <p:nvPr/>
          </p:nvSpPr>
          <p:spPr bwMode="ltGray">
            <a:xfrm>
              <a:off x="5673153" y="1612773"/>
              <a:ext cx="2008820" cy="627756"/>
            </a:xfrm>
            <a:custGeom>
              <a:avLst/>
              <a:gdLst>
                <a:gd name="connsiteX0" fmla="*/ 822605 w 2008819"/>
                <a:gd name="connsiteY0" fmla="*/ 622834 h 627756"/>
                <a:gd name="connsiteX1" fmla="*/ 7006 w 2008819"/>
                <a:gd name="connsiteY1" fmla="*/ 622834 h 627756"/>
                <a:gd name="connsiteX2" fmla="*/ 7006 w 2008819"/>
                <a:gd name="connsiteY2" fmla="*/ 508072 h 627756"/>
                <a:gd name="connsiteX3" fmla="*/ 775065 w 2008819"/>
                <a:gd name="connsiteY3" fmla="*/ 508072 h 627756"/>
                <a:gd name="connsiteX4" fmla="*/ 1276121 w 2008819"/>
                <a:gd name="connsiteY4" fmla="*/ 7006 h 627756"/>
                <a:gd name="connsiteX5" fmla="*/ 2003777 w 2008819"/>
                <a:gd name="connsiteY5" fmla="*/ 7006 h 627756"/>
                <a:gd name="connsiteX6" fmla="*/ 2003777 w 2008819"/>
                <a:gd name="connsiteY6" fmla="*/ 121768 h 627756"/>
                <a:gd name="connsiteX7" fmla="*/ 1323670 w 2008819"/>
                <a:gd name="connsiteY7" fmla="*/ 121768 h 627756"/>
                <a:gd name="connsiteX8" fmla="*/ 822605 w 2008819"/>
                <a:gd name="connsiteY8" fmla="*/ 622834 h 62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819" h="627756">
                  <a:moveTo>
                    <a:pt x="822605" y="622834"/>
                  </a:moveTo>
                  <a:lnTo>
                    <a:pt x="7006" y="622834"/>
                  </a:lnTo>
                  <a:lnTo>
                    <a:pt x="7006" y="508072"/>
                  </a:lnTo>
                  <a:lnTo>
                    <a:pt x="775065" y="508072"/>
                  </a:lnTo>
                  <a:lnTo>
                    <a:pt x="1276121" y="7006"/>
                  </a:lnTo>
                  <a:lnTo>
                    <a:pt x="2003777" y="7006"/>
                  </a:lnTo>
                  <a:lnTo>
                    <a:pt x="2003777" y="121768"/>
                  </a:lnTo>
                  <a:lnTo>
                    <a:pt x="1323670" y="121768"/>
                  </a:lnTo>
                  <a:lnTo>
                    <a:pt x="822605" y="622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7" name="Freeform: Shape 13386">
              <a:extLst>
                <a:ext uri="{FF2B5EF4-FFF2-40B4-BE49-F238E27FC236}">
                  <a16:creationId xmlns:a16="http://schemas.microsoft.com/office/drawing/2014/main" id="{5C8E0ED5-4229-48CF-A2AD-CF00A1B8D2EC}"/>
                </a:ext>
              </a:extLst>
            </p:cNvPr>
            <p:cNvSpPr/>
            <p:nvPr/>
          </p:nvSpPr>
          <p:spPr bwMode="ltGray">
            <a:xfrm>
              <a:off x="8496180" y="1641471"/>
              <a:ext cx="838503" cy="69502"/>
            </a:xfrm>
            <a:custGeom>
              <a:avLst/>
              <a:gdLst>
                <a:gd name="connsiteX0" fmla="*/ 7006 w 838502"/>
                <a:gd name="connsiteY0" fmla="*/ 7006 h 69501"/>
                <a:gd name="connsiteX1" fmla="*/ 833263 w 838502"/>
                <a:gd name="connsiteY1" fmla="*/ 7006 h 69501"/>
                <a:gd name="connsiteX2" fmla="*/ 833263 w 838502"/>
                <a:gd name="connsiteY2" fmla="*/ 64382 h 69501"/>
                <a:gd name="connsiteX3" fmla="*/ 7006 w 838502"/>
                <a:gd name="connsiteY3" fmla="*/ 64382 h 69501"/>
              </a:gdLst>
              <a:ahLst/>
              <a:cxnLst>
                <a:cxn ang="0">
                  <a:pos x="connsiteX0" y="connsiteY0"/>
                </a:cxn>
                <a:cxn ang="0">
                  <a:pos x="connsiteX1" y="connsiteY1"/>
                </a:cxn>
                <a:cxn ang="0">
                  <a:pos x="connsiteX2" y="connsiteY2"/>
                </a:cxn>
                <a:cxn ang="0">
                  <a:pos x="connsiteX3" y="connsiteY3"/>
                </a:cxn>
              </a:cxnLst>
              <a:rect l="l" t="t" r="r" b="b"/>
              <a:pathLst>
                <a:path w="838502" h="69501">
                  <a:moveTo>
                    <a:pt x="7006" y="7006"/>
                  </a:moveTo>
                  <a:lnTo>
                    <a:pt x="833263" y="7006"/>
                  </a:lnTo>
                  <a:lnTo>
                    <a:pt x="833263" y="64382"/>
                  </a:lnTo>
                  <a:lnTo>
                    <a:pt x="7006" y="6438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8" name="Freeform: Shape 13387">
              <a:extLst>
                <a:ext uri="{FF2B5EF4-FFF2-40B4-BE49-F238E27FC236}">
                  <a16:creationId xmlns:a16="http://schemas.microsoft.com/office/drawing/2014/main" id="{1F458A76-3D5E-4E82-9DE6-A72E798188F3}"/>
                </a:ext>
              </a:extLst>
            </p:cNvPr>
            <p:cNvSpPr/>
            <p:nvPr/>
          </p:nvSpPr>
          <p:spPr bwMode="ltGray">
            <a:xfrm>
              <a:off x="4308688" y="3988832"/>
              <a:ext cx="1618714" cy="69502"/>
            </a:xfrm>
            <a:custGeom>
              <a:avLst/>
              <a:gdLst>
                <a:gd name="connsiteX0" fmla="*/ 1612466 w 1618714"/>
                <a:gd name="connsiteY0" fmla="*/ 64392 h 69501"/>
                <a:gd name="connsiteX1" fmla="*/ 1095296 w 1618714"/>
                <a:gd name="connsiteY1" fmla="*/ 64392 h 69501"/>
                <a:gd name="connsiteX2" fmla="*/ 1062161 w 1618714"/>
                <a:gd name="connsiteY2" fmla="*/ 7006 h 69501"/>
                <a:gd name="connsiteX3" fmla="*/ 1612466 w 1618714"/>
                <a:gd name="connsiteY3" fmla="*/ 7006 h 69501"/>
                <a:gd name="connsiteX4" fmla="*/ 1612466 w 1618714"/>
                <a:gd name="connsiteY4" fmla="*/ 64392 h 69501"/>
                <a:gd name="connsiteX5" fmla="*/ 1049802 w 1618714"/>
                <a:gd name="connsiteY5" fmla="*/ 64392 h 69501"/>
                <a:gd name="connsiteX6" fmla="*/ 610802 w 1618714"/>
                <a:gd name="connsiteY6" fmla="*/ 64392 h 69501"/>
                <a:gd name="connsiteX7" fmla="*/ 647495 w 1618714"/>
                <a:gd name="connsiteY7" fmla="*/ 7324 h 69501"/>
                <a:gd name="connsiteX8" fmla="*/ 647495 w 1618714"/>
                <a:gd name="connsiteY8" fmla="*/ 7006 h 69501"/>
                <a:gd name="connsiteX9" fmla="*/ 1016676 w 1618714"/>
                <a:gd name="connsiteY9" fmla="*/ 7006 h 69501"/>
                <a:gd name="connsiteX10" fmla="*/ 1049802 w 1618714"/>
                <a:gd name="connsiteY10" fmla="*/ 64392 h 69501"/>
                <a:gd name="connsiteX11" fmla="*/ 558694 w 1618714"/>
                <a:gd name="connsiteY11" fmla="*/ 64392 h 69501"/>
                <a:gd name="connsiteX12" fmla="*/ 233242 w 1618714"/>
                <a:gd name="connsiteY12" fmla="*/ 64392 h 69501"/>
                <a:gd name="connsiteX13" fmla="*/ 290618 w 1618714"/>
                <a:gd name="connsiteY13" fmla="*/ 7006 h 69501"/>
                <a:gd name="connsiteX14" fmla="*/ 522010 w 1618714"/>
                <a:gd name="connsiteY14" fmla="*/ 7006 h 69501"/>
                <a:gd name="connsiteX15" fmla="*/ 522010 w 1618714"/>
                <a:gd name="connsiteY15" fmla="*/ 7324 h 69501"/>
                <a:gd name="connsiteX16" fmla="*/ 558694 w 1618714"/>
                <a:gd name="connsiteY16" fmla="*/ 64392 h 69501"/>
                <a:gd name="connsiteX17" fmla="*/ 217323 w 1618714"/>
                <a:gd name="connsiteY17" fmla="*/ 64392 h 69501"/>
                <a:gd name="connsiteX18" fmla="*/ 64392 w 1618714"/>
                <a:gd name="connsiteY18" fmla="*/ 64392 h 69501"/>
                <a:gd name="connsiteX19" fmla="*/ 7006 w 1618714"/>
                <a:gd name="connsiteY19" fmla="*/ 7006 h 69501"/>
                <a:gd name="connsiteX20" fmla="*/ 274700 w 1618714"/>
                <a:gd name="connsiteY20" fmla="*/ 7006 h 69501"/>
                <a:gd name="connsiteX21" fmla="*/ 217323 w 1618714"/>
                <a:gd name="connsiteY21" fmla="*/ 64392 h 69501"/>
                <a:gd name="connsiteX22" fmla="*/ 584748 w 1618714"/>
                <a:gd name="connsiteY22" fmla="*/ 36283 h 69501"/>
                <a:gd name="connsiteX23" fmla="*/ 555779 w 1618714"/>
                <a:gd name="connsiteY23" fmla="*/ 7324 h 69501"/>
                <a:gd name="connsiteX24" fmla="*/ 555789 w 1618714"/>
                <a:gd name="connsiteY24" fmla="*/ 7006 h 69501"/>
                <a:gd name="connsiteX25" fmla="*/ 565738 w 1618714"/>
                <a:gd name="connsiteY25" fmla="*/ 7006 h 69501"/>
                <a:gd name="connsiteX26" fmla="*/ 565738 w 1618714"/>
                <a:gd name="connsiteY26" fmla="*/ 7324 h 69501"/>
                <a:gd name="connsiteX27" fmla="*/ 584748 w 1618714"/>
                <a:gd name="connsiteY27" fmla="*/ 26334 h 69501"/>
                <a:gd name="connsiteX28" fmla="*/ 603768 w 1618714"/>
                <a:gd name="connsiteY28" fmla="*/ 7324 h 69501"/>
                <a:gd name="connsiteX29" fmla="*/ 603768 w 1618714"/>
                <a:gd name="connsiteY29" fmla="*/ 7006 h 69501"/>
                <a:gd name="connsiteX30" fmla="*/ 613726 w 1618714"/>
                <a:gd name="connsiteY30" fmla="*/ 7006 h 69501"/>
                <a:gd name="connsiteX31" fmla="*/ 613726 w 1618714"/>
                <a:gd name="connsiteY31" fmla="*/ 7324 h 69501"/>
                <a:gd name="connsiteX32" fmla="*/ 584748 w 1618714"/>
                <a:gd name="connsiteY32" fmla="*/ 36283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8714" h="69501">
                  <a:moveTo>
                    <a:pt x="1612466" y="64392"/>
                  </a:moveTo>
                  <a:lnTo>
                    <a:pt x="1095296" y="64392"/>
                  </a:lnTo>
                  <a:lnTo>
                    <a:pt x="1062161" y="7006"/>
                  </a:lnTo>
                  <a:lnTo>
                    <a:pt x="1612466" y="7006"/>
                  </a:lnTo>
                  <a:lnTo>
                    <a:pt x="1612466" y="64392"/>
                  </a:lnTo>
                  <a:close/>
                  <a:moveTo>
                    <a:pt x="1049802" y="64392"/>
                  </a:moveTo>
                  <a:lnTo>
                    <a:pt x="610802" y="64392"/>
                  </a:lnTo>
                  <a:cubicBezTo>
                    <a:pt x="632437" y="54480"/>
                    <a:pt x="647495" y="32621"/>
                    <a:pt x="647495" y="7324"/>
                  </a:cubicBezTo>
                  <a:lnTo>
                    <a:pt x="647495" y="7006"/>
                  </a:lnTo>
                  <a:lnTo>
                    <a:pt x="1016676" y="7006"/>
                  </a:lnTo>
                  <a:lnTo>
                    <a:pt x="1049802" y="64392"/>
                  </a:lnTo>
                  <a:close/>
                  <a:moveTo>
                    <a:pt x="558694" y="64392"/>
                  </a:moveTo>
                  <a:lnTo>
                    <a:pt x="233242" y="64392"/>
                  </a:lnTo>
                  <a:lnTo>
                    <a:pt x="290618" y="7006"/>
                  </a:lnTo>
                  <a:lnTo>
                    <a:pt x="522010" y="7006"/>
                  </a:lnTo>
                  <a:lnTo>
                    <a:pt x="522010" y="7324"/>
                  </a:lnTo>
                  <a:cubicBezTo>
                    <a:pt x="522010" y="32621"/>
                    <a:pt x="537068" y="54480"/>
                    <a:pt x="558694" y="64392"/>
                  </a:cubicBezTo>
                  <a:close/>
                  <a:moveTo>
                    <a:pt x="217323" y="64392"/>
                  </a:moveTo>
                  <a:lnTo>
                    <a:pt x="64392" y="64392"/>
                  </a:lnTo>
                  <a:lnTo>
                    <a:pt x="7006" y="7006"/>
                  </a:lnTo>
                  <a:lnTo>
                    <a:pt x="274700" y="7006"/>
                  </a:lnTo>
                  <a:lnTo>
                    <a:pt x="217323" y="64392"/>
                  </a:lnTo>
                  <a:close/>
                  <a:moveTo>
                    <a:pt x="584748" y="36283"/>
                  </a:moveTo>
                  <a:cubicBezTo>
                    <a:pt x="568783" y="36283"/>
                    <a:pt x="555779" y="23298"/>
                    <a:pt x="555779" y="7324"/>
                  </a:cubicBezTo>
                  <a:cubicBezTo>
                    <a:pt x="555779" y="7221"/>
                    <a:pt x="555779" y="7109"/>
                    <a:pt x="555789" y="7006"/>
                  </a:cubicBezTo>
                  <a:lnTo>
                    <a:pt x="565738" y="7006"/>
                  </a:lnTo>
                  <a:lnTo>
                    <a:pt x="565738" y="7324"/>
                  </a:lnTo>
                  <a:cubicBezTo>
                    <a:pt x="565738" y="17824"/>
                    <a:pt x="574239" y="26334"/>
                    <a:pt x="584748" y="26334"/>
                  </a:cubicBezTo>
                  <a:cubicBezTo>
                    <a:pt x="595257" y="26334"/>
                    <a:pt x="603768" y="17824"/>
                    <a:pt x="603768" y="7324"/>
                  </a:cubicBezTo>
                  <a:lnTo>
                    <a:pt x="603768" y="7006"/>
                  </a:lnTo>
                  <a:lnTo>
                    <a:pt x="613726" y="7006"/>
                  </a:lnTo>
                  <a:lnTo>
                    <a:pt x="613726" y="7324"/>
                  </a:lnTo>
                  <a:cubicBezTo>
                    <a:pt x="613726" y="23298"/>
                    <a:pt x="600731" y="36283"/>
                    <a:pt x="584748" y="3628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9" name="Freeform: Shape 13388">
              <a:extLst>
                <a:ext uri="{FF2B5EF4-FFF2-40B4-BE49-F238E27FC236}">
                  <a16:creationId xmlns:a16="http://schemas.microsoft.com/office/drawing/2014/main" id="{1A9486F3-3701-426A-979A-045121CA9053}"/>
                </a:ext>
              </a:extLst>
            </p:cNvPr>
            <p:cNvSpPr/>
            <p:nvPr/>
          </p:nvSpPr>
          <p:spPr bwMode="ltGray">
            <a:xfrm>
              <a:off x="5318358" y="3988832"/>
              <a:ext cx="91921" cy="69502"/>
            </a:xfrm>
            <a:custGeom>
              <a:avLst/>
              <a:gdLst>
                <a:gd name="connsiteX0" fmla="*/ 85625 w 91921"/>
                <a:gd name="connsiteY0" fmla="*/ 64392 h 69501"/>
                <a:gd name="connsiteX1" fmla="*/ 40132 w 91921"/>
                <a:gd name="connsiteY1" fmla="*/ 64392 h 69501"/>
                <a:gd name="connsiteX2" fmla="*/ 7006 w 91921"/>
                <a:gd name="connsiteY2" fmla="*/ 7006 h 69501"/>
                <a:gd name="connsiteX3" fmla="*/ 52491 w 91921"/>
                <a:gd name="connsiteY3" fmla="*/ 7006 h 69501"/>
                <a:gd name="connsiteX4" fmla="*/ 85625 w 91921"/>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69501">
                  <a:moveTo>
                    <a:pt x="85625" y="64392"/>
                  </a:moveTo>
                  <a:lnTo>
                    <a:pt x="40132" y="64392"/>
                  </a:lnTo>
                  <a:lnTo>
                    <a:pt x="7006" y="7006"/>
                  </a:lnTo>
                  <a:lnTo>
                    <a:pt x="52491" y="7006"/>
                  </a:lnTo>
                  <a:lnTo>
                    <a:pt x="85625"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0" name="Freeform: Shape 13389">
              <a:extLst>
                <a:ext uri="{FF2B5EF4-FFF2-40B4-BE49-F238E27FC236}">
                  <a16:creationId xmlns:a16="http://schemas.microsoft.com/office/drawing/2014/main" id="{7A1DEFC6-6182-487B-AC24-2B3B4938DA77}"/>
                </a:ext>
              </a:extLst>
            </p:cNvPr>
            <p:cNvSpPr/>
            <p:nvPr/>
          </p:nvSpPr>
          <p:spPr bwMode="ltGray">
            <a:xfrm>
              <a:off x="4823692" y="3988832"/>
              <a:ext cx="139003" cy="69502"/>
            </a:xfrm>
            <a:custGeom>
              <a:avLst/>
              <a:gdLst>
                <a:gd name="connsiteX0" fmla="*/ 95798 w 139003"/>
                <a:gd name="connsiteY0" fmla="*/ 64392 h 69501"/>
                <a:gd name="connsiteX1" fmla="*/ 43691 w 139003"/>
                <a:gd name="connsiteY1" fmla="*/ 64392 h 69501"/>
                <a:gd name="connsiteX2" fmla="*/ 7006 w 139003"/>
                <a:gd name="connsiteY2" fmla="*/ 7324 h 69501"/>
                <a:gd name="connsiteX3" fmla="*/ 7006 w 139003"/>
                <a:gd name="connsiteY3" fmla="*/ 7006 h 69501"/>
                <a:gd name="connsiteX4" fmla="*/ 40786 w 139003"/>
                <a:gd name="connsiteY4" fmla="*/ 7006 h 69501"/>
                <a:gd name="connsiteX5" fmla="*/ 40776 w 139003"/>
                <a:gd name="connsiteY5" fmla="*/ 7324 h 69501"/>
                <a:gd name="connsiteX6" fmla="*/ 69745 w 139003"/>
                <a:gd name="connsiteY6" fmla="*/ 36283 h 69501"/>
                <a:gd name="connsiteX7" fmla="*/ 98722 w 139003"/>
                <a:gd name="connsiteY7" fmla="*/ 7324 h 69501"/>
                <a:gd name="connsiteX8" fmla="*/ 98722 w 139003"/>
                <a:gd name="connsiteY8" fmla="*/ 7006 h 69501"/>
                <a:gd name="connsiteX9" fmla="*/ 132492 w 139003"/>
                <a:gd name="connsiteY9" fmla="*/ 7006 h 69501"/>
                <a:gd name="connsiteX10" fmla="*/ 132492 w 139003"/>
                <a:gd name="connsiteY10" fmla="*/ 7324 h 69501"/>
                <a:gd name="connsiteX11" fmla="*/ 95798 w 139003"/>
                <a:gd name="connsiteY11"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003" h="69501">
                  <a:moveTo>
                    <a:pt x="95798" y="64392"/>
                  </a:moveTo>
                  <a:lnTo>
                    <a:pt x="43691" y="64392"/>
                  </a:lnTo>
                  <a:cubicBezTo>
                    <a:pt x="22065" y="54480"/>
                    <a:pt x="7006" y="32621"/>
                    <a:pt x="7006" y="7324"/>
                  </a:cubicBezTo>
                  <a:lnTo>
                    <a:pt x="7006" y="7006"/>
                  </a:lnTo>
                  <a:lnTo>
                    <a:pt x="40786" y="7006"/>
                  </a:lnTo>
                  <a:cubicBezTo>
                    <a:pt x="40776" y="7109"/>
                    <a:pt x="40776" y="7221"/>
                    <a:pt x="40776" y="7324"/>
                  </a:cubicBezTo>
                  <a:cubicBezTo>
                    <a:pt x="40776" y="23298"/>
                    <a:pt x="53780" y="36283"/>
                    <a:pt x="69745" y="36283"/>
                  </a:cubicBezTo>
                  <a:cubicBezTo>
                    <a:pt x="85728" y="36283"/>
                    <a:pt x="98722" y="23298"/>
                    <a:pt x="98722" y="7324"/>
                  </a:cubicBezTo>
                  <a:lnTo>
                    <a:pt x="98722" y="7006"/>
                  </a:lnTo>
                  <a:lnTo>
                    <a:pt x="132492" y="7006"/>
                  </a:lnTo>
                  <a:lnTo>
                    <a:pt x="132492" y="7324"/>
                  </a:lnTo>
                  <a:cubicBezTo>
                    <a:pt x="132492" y="32621"/>
                    <a:pt x="117433" y="54480"/>
                    <a:pt x="95798" y="64392"/>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1" name="Freeform: Shape 13390">
              <a:extLst>
                <a:ext uri="{FF2B5EF4-FFF2-40B4-BE49-F238E27FC236}">
                  <a16:creationId xmlns:a16="http://schemas.microsoft.com/office/drawing/2014/main" id="{B27A7712-ECAC-42A5-AF86-7A7A28A3AA0D}"/>
                </a:ext>
              </a:extLst>
            </p:cNvPr>
            <p:cNvSpPr/>
            <p:nvPr/>
          </p:nvSpPr>
          <p:spPr bwMode="ltGray">
            <a:xfrm>
              <a:off x="4867420" y="3988832"/>
              <a:ext cx="51566" cy="31388"/>
            </a:xfrm>
            <a:custGeom>
              <a:avLst/>
              <a:gdLst>
                <a:gd name="connsiteX0" fmla="*/ 26016 w 51565"/>
                <a:gd name="connsiteY0" fmla="*/ 26334 h 31387"/>
                <a:gd name="connsiteX1" fmla="*/ 7006 w 51565"/>
                <a:gd name="connsiteY1" fmla="*/ 7324 h 31387"/>
                <a:gd name="connsiteX2" fmla="*/ 7006 w 51565"/>
                <a:gd name="connsiteY2" fmla="*/ 7006 h 31387"/>
                <a:gd name="connsiteX3" fmla="*/ 45036 w 51565"/>
                <a:gd name="connsiteY3" fmla="*/ 7006 h 31387"/>
                <a:gd name="connsiteX4" fmla="*/ 45036 w 51565"/>
                <a:gd name="connsiteY4" fmla="*/ 7324 h 31387"/>
                <a:gd name="connsiteX5" fmla="*/ 26016 w 51565"/>
                <a:gd name="connsiteY5" fmla="*/ 26334 h 3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5" h="31387">
                  <a:moveTo>
                    <a:pt x="26016" y="26334"/>
                  </a:moveTo>
                  <a:cubicBezTo>
                    <a:pt x="15507" y="26334"/>
                    <a:pt x="7006" y="17824"/>
                    <a:pt x="7006" y="7324"/>
                  </a:cubicBezTo>
                  <a:lnTo>
                    <a:pt x="7006" y="7006"/>
                  </a:lnTo>
                  <a:lnTo>
                    <a:pt x="45036" y="7006"/>
                  </a:lnTo>
                  <a:lnTo>
                    <a:pt x="45036" y="7324"/>
                  </a:lnTo>
                  <a:cubicBezTo>
                    <a:pt x="45036" y="17824"/>
                    <a:pt x="36525" y="26334"/>
                    <a:pt x="26016" y="2633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2" name="Freeform: Shape 13391">
              <a:extLst>
                <a:ext uri="{FF2B5EF4-FFF2-40B4-BE49-F238E27FC236}">
                  <a16:creationId xmlns:a16="http://schemas.microsoft.com/office/drawing/2014/main" id="{461ADA6F-177B-4E82-87BD-5B150AD5430C}"/>
                </a:ext>
              </a:extLst>
            </p:cNvPr>
            <p:cNvSpPr/>
            <p:nvPr/>
          </p:nvSpPr>
          <p:spPr bwMode="ltGray">
            <a:xfrm>
              <a:off x="4519006" y="3988832"/>
              <a:ext cx="85195" cy="69502"/>
            </a:xfrm>
            <a:custGeom>
              <a:avLst/>
              <a:gdLst>
                <a:gd name="connsiteX0" fmla="*/ 22924 w 85195"/>
                <a:gd name="connsiteY0" fmla="*/ 64392 h 69501"/>
                <a:gd name="connsiteX1" fmla="*/ 7006 w 85195"/>
                <a:gd name="connsiteY1" fmla="*/ 64392 h 69501"/>
                <a:gd name="connsiteX2" fmla="*/ 64382 w 85195"/>
                <a:gd name="connsiteY2" fmla="*/ 7006 h 69501"/>
                <a:gd name="connsiteX3" fmla="*/ 80301 w 85195"/>
                <a:gd name="connsiteY3" fmla="*/ 7006 h 69501"/>
                <a:gd name="connsiteX4" fmla="*/ 22924 w 85195"/>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95" h="69501">
                  <a:moveTo>
                    <a:pt x="22924" y="64392"/>
                  </a:moveTo>
                  <a:lnTo>
                    <a:pt x="7006" y="64392"/>
                  </a:lnTo>
                  <a:lnTo>
                    <a:pt x="64382" y="7006"/>
                  </a:lnTo>
                  <a:lnTo>
                    <a:pt x="80301" y="7006"/>
                  </a:lnTo>
                  <a:lnTo>
                    <a:pt x="2292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3" name="Freeform: Shape 13392">
              <a:extLst>
                <a:ext uri="{FF2B5EF4-FFF2-40B4-BE49-F238E27FC236}">
                  <a16:creationId xmlns:a16="http://schemas.microsoft.com/office/drawing/2014/main" id="{BC3BFE1F-3A0E-4016-9B7D-AAD20DFC7D11}"/>
                </a:ext>
              </a:extLst>
            </p:cNvPr>
            <p:cNvSpPr/>
            <p:nvPr/>
          </p:nvSpPr>
          <p:spPr bwMode="ltGray">
            <a:xfrm>
              <a:off x="3619408" y="3769501"/>
              <a:ext cx="726404" cy="289216"/>
            </a:xfrm>
            <a:custGeom>
              <a:avLst/>
              <a:gdLst>
                <a:gd name="connsiteX0" fmla="*/ 721210 w 726403"/>
                <a:gd name="connsiteY0" fmla="*/ 283724 h 289216"/>
                <a:gd name="connsiteX1" fmla="*/ 243143 w 726403"/>
                <a:gd name="connsiteY1" fmla="*/ 283724 h 289216"/>
                <a:gd name="connsiteX2" fmla="*/ 102954 w 726403"/>
                <a:gd name="connsiteY2" fmla="*/ 143525 h 289216"/>
                <a:gd name="connsiteX3" fmla="*/ 120030 w 726403"/>
                <a:gd name="connsiteY3" fmla="*/ 143525 h 289216"/>
                <a:gd name="connsiteX4" fmla="*/ 120030 w 726403"/>
                <a:gd name="connsiteY4" fmla="*/ 137910 h 289216"/>
                <a:gd name="connsiteX5" fmla="*/ 97330 w 726403"/>
                <a:gd name="connsiteY5" fmla="*/ 137910 h 289216"/>
                <a:gd name="connsiteX6" fmla="*/ 7006 w 726403"/>
                <a:gd name="connsiteY6" fmla="*/ 47577 h 289216"/>
                <a:gd name="connsiteX7" fmla="*/ 10014 w 726403"/>
                <a:gd name="connsiteY7" fmla="*/ 44569 h 289216"/>
                <a:gd name="connsiteX8" fmla="*/ 85149 w 726403"/>
                <a:gd name="connsiteY8" fmla="*/ 44569 h 289216"/>
                <a:gd name="connsiteX9" fmla="*/ 266918 w 726403"/>
                <a:gd name="connsiteY9" fmla="*/ 226338 h 289216"/>
                <a:gd name="connsiteX10" fmla="*/ 663834 w 726403"/>
                <a:gd name="connsiteY10" fmla="*/ 226338 h 289216"/>
                <a:gd name="connsiteX11" fmla="*/ 721210 w 726403"/>
                <a:gd name="connsiteY11" fmla="*/ 283724 h 289216"/>
                <a:gd name="connsiteX12" fmla="*/ 79516 w 726403"/>
                <a:gd name="connsiteY12" fmla="*/ 38945 h 289216"/>
                <a:gd name="connsiteX13" fmla="*/ 15647 w 726403"/>
                <a:gd name="connsiteY13" fmla="*/ 38945 h 289216"/>
                <a:gd name="connsiteX14" fmla="*/ 47586 w 726403"/>
                <a:gd name="connsiteY14" fmla="*/ 7006 h 289216"/>
                <a:gd name="connsiteX15" fmla="*/ 79516 w 726403"/>
                <a:gd name="connsiteY15" fmla="*/ 38945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403" h="289216">
                  <a:moveTo>
                    <a:pt x="721210" y="283724"/>
                  </a:moveTo>
                  <a:lnTo>
                    <a:pt x="243143" y="283724"/>
                  </a:lnTo>
                  <a:lnTo>
                    <a:pt x="102954" y="143525"/>
                  </a:lnTo>
                  <a:lnTo>
                    <a:pt x="120030" y="143525"/>
                  </a:lnTo>
                  <a:lnTo>
                    <a:pt x="120030" y="137910"/>
                  </a:lnTo>
                  <a:lnTo>
                    <a:pt x="97330" y="137910"/>
                  </a:lnTo>
                  <a:lnTo>
                    <a:pt x="7006" y="47577"/>
                  </a:lnTo>
                  <a:lnTo>
                    <a:pt x="10014" y="44569"/>
                  </a:lnTo>
                  <a:lnTo>
                    <a:pt x="85149" y="44569"/>
                  </a:lnTo>
                  <a:lnTo>
                    <a:pt x="266918" y="226338"/>
                  </a:lnTo>
                  <a:lnTo>
                    <a:pt x="663834" y="226338"/>
                  </a:lnTo>
                  <a:lnTo>
                    <a:pt x="721210" y="283724"/>
                  </a:lnTo>
                  <a:close/>
                  <a:moveTo>
                    <a:pt x="79516" y="38945"/>
                  </a:moveTo>
                  <a:lnTo>
                    <a:pt x="15647" y="38945"/>
                  </a:lnTo>
                  <a:lnTo>
                    <a:pt x="47586" y="7006"/>
                  </a:lnTo>
                  <a:lnTo>
                    <a:pt x="79516" y="3894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4" name="Freeform: Shape 13393">
              <a:extLst>
                <a:ext uri="{FF2B5EF4-FFF2-40B4-BE49-F238E27FC236}">
                  <a16:creationId xmlns:a16="http://schemas.microsoft.com/office/drawing/2014/main" id="{E2C31AB4-07B5-403F-846E-0AD5D0368AB5}"/>
                </a:ext>
              </a:extLst>
            </p:cNvPr>
            <p:cNvSpPr/>
            <p:nvPr/>
          </p:nvSpPr>
          <p:spPr bwMode="ltGray">
            <a:xfrm>
              <a:off x="3622416" y="3801440"/>
              <a:ext cx="87437" cy="17936"/>
            </a:xfrm>
            <a:custGeom>
              <a:avLst/>
              <a:gdLst>
                <a:gd name="connsiteX0" fmla="*/ 82141 w 87437"/>
                <a:gd name="connsiteY0" fmla="*/ 12630 h 17935"/>
                <a:gd name="connsiteX1" fmla="*/ 7006 w 87437"/>
                <a:gd name="connsiteY1" fmla="*/ 12630 h 17935"/>
                <a:gd name="connsiteX2" fmla="*/ 12639 w 87437"/>
                <a:gd name="connsiteY2" fmla="*/ 7006 h 17935"/>
                <a:gd name="connsiteX3" fmla="*/ 76508 w 87437"/>
                <a:gd name="connsiteY3" fmla="*/ 7006 h 17935"/>
                <a:gd name="connsiteX4" fmla="*/ 82141 w 87437"/>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37" h="17935">
                  <a:moveTo>
                    <a:pt x="82141" y="12630"/>
                  </a:moveTo>
                  <a:lnTo>
                    <a:pt x="7006" y="12630"/>
                  </a:lnTo>
                  <a:lnTo>
                    <a:pt x="12639" y="7006"/>
                  </a:lnTo>
                  <a:lnTo>
                    <a:pt x="76508" y="7006"/>
                  </a:lnTo>
                  <a:lnTo>
                    <a:pt x="82141"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5" name="Freeform: Shape 13394">
              <a:extLst>
                <a:ext uri="{FF2B5EF4-FFF2-40B4-BE49-F238E27FC236}">
                  <a16:creationId xmlns:a16="http://schemas.microsoft.com/office/drawing/2014/main" id="{D6D62B0A-8EBB-4060-924C-B30DF499232C}"/>
                </a:ext>
              </a:extLst>
            </p:cNvPr>
            <p:cNvSpPr/>
            <p:nvPr/>
          </p:nvSpPr>
          <p:spPr bwMode="ltGray">
            <a:xfrm>
              <a:off x="3709732" y="3900405"/>
              <a:ext cx="35872" cy="17936"/>
            </a:xfrm>
            <a:custGeom>
              <a:avLst/>
              <a:gdLst>
                <a:gd name="connsiteX0" fmla="*/ 29707 w 35871"/>
                <a:gd name="connsiteY0" fmla="*/ 12621 h 17935"/>
                <a:gd name="connsiteX1" fmla="*/ 12630 w 35871"/>
                <a:gd name="connsiteY1" fmla="*/ 12621 h 17935"/>
                <a:gd name="connsiteX2" fmla="*/ 7006 w 35871"/>
                <a:gd name="connsiteY2" fmla="*/ 7006 h 17935"/>
                <a:gd name="connsiteX3" fmla="*/ 29707 w 35871"/>
                <a:gd name="connsiteY3" fmla="*/ 7006 h 17935"/>
                <a:gd name="connsiteX4" fmla="*/ 29707 w 35871"/>
                <a:gd name="connsiteY4" fmla="*/ 12621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1" h="17935">
                  <a:moveTo>
                    <a:pt x="29707" y="12621"/>
                  </a:moveTo>
                  <a:lnTo>
                    <a:pt x="12630" y="12621"/>
                  </a:lnTo>
                  <a:lnTo>
                    <a:pt x="7006" y="7006"/>
                  </a:lnTo>
                  <a:lnTo>
                    <a:pt x="29707" y="7006"/>
                  </a:lnTo>
                  <a:lnTo>
                    <a:pt x="29707"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6" name="Freeform: Shape 13395">
              <a:extLst>
                <a:ext uri="{FF2B5EF4-FFF2-40B4-BE49-F238E27FC236}">
                  <a16:creationId xmlns:a16="http://schemas.microsoft.com/office/drawing/2014/main" id="{DB7478A8-1A93-449C-B8FB-35443C002605}"/>
                </a:ext>
              </a:extLst>
            </p:cNvPr>
            <p:cNvSpPr/>
            <p:nvPr/>
          </p:nvSpPr>
          <p:spPr bwMode="ltGray">
            <a:xfrm>
              <a:off x="2735261" y="3313985"/>
              <a:ext cx="912488" cy="484269"/>
            </a:xfrm>
            <a:custGeom>
              <a:avLst/>
              <a:gdLst>
                <a:gd name="connsiteX0" fmla="*/ 866809 w 912488"/>
                <a:gd name="connsiteY0" fmla="*/ 478748 h 484269"/>
                <a:gd name="connsiteX1" fmla="*/ 729001 w 912488"/>
                <a:gd name="connsiteY1" fmla="*/ 340941 h 484269"/>
                <a:gd name="connsiteX2" fmla="*/ 769572 w 912488"/>
                <a:gd name="connsiteY2" fmla="*/ 300361 h 484269"/>
                <a:gd name="connsiteX3" fmla="*/ 907380 w 912488"/>
                <a:gd name="connsiteY3" fmla="*/ 438178 h 484269"/>
                <a:gd name="connsiteX4" fmla="*/ 866809 w 912488"/>
                <a:gd name="connsiteY4" fmla="*/ 478748 h 484269"/>
                <a:gd name="connsiteX5" fmla="*/ 720883 w 912488"/>
                <a:gd name="connsiteY5" fmla="*/ 332823 h 484269"/>
                <a:gd name="connsiteX6" fmla="*/ 679472 w 912488"/>
                <a:gd name="connsiteY6" fmla="*/ 291412 h 484269"/>
                <a:gd name="connsiteX7" fmla="*/ 291412 w 912488"/>
                <a:gd name="connsiteY7" fmla="*/ 291412 h 484269"/>
                <a:gd name="connsiteX8" fmla="*/ 199771 w 912488"/>
                <a:gd name="connsiteY8" fmla="*/ 199761 h 484269"/>
                <a:gd name="connsiteX9" fmla="*/ 240341 w 912488"/>
                <a:gd name="connsiteY9" fmla="*/ 159190 h 484269"/>
                <a:gd name="connsiteX10" fmla="*/ 315186 w 912488"/>
                <a:gd name="connsiteY10" fmla="*/ 234035 h 484269"/>
                <a:gd name="connsiteX11" fmla="*/ 703246 w 912488"/>
                <a:gd name="connsiteY11" fmla="*/ 234035 h 484269"/>
                <a:gd name="connsiteX12" fmla="*/ 761463 w 912488"/>
                <a:gd name="connsiteY12" fmla="*/ 292253 h 484269"/>
                <a:gd name="connsiteX13" fmla="*/ 720883 w 912488"/>
                <a:gd name="connsiteY13" fmla="*/ 332823 h 484269"/>
                <a:gd name="connsiteX14" fmla="*/ 191812 w 912488"/>
                <a:gd name="connsiteY14" fmla="*/ 191811 h 484269"/>
                <a:gd name="connsiteX15" fmla="*/ 147121 w 912488"/>
                <a:gd name="connsiteY15" fmla="*/ 147112 h 484269"/>
                <a:gd name="connsiteX16" fmla="*/ 189411 w 912488"/>
                <a:gd name="connsiteY16" fmla="*/ 147112 h 484269"/>
                <a:gd name="connsiteX17" fmla="*/ 189411 w 912488"/>
                <a:gd name="connsiteY17" fmla="*/ 108260 h 484269"/>
                <a:gd name="connsiteX18" fmla="*/ 232382 w 912488"/>
                <a:gd name="connsiteY18" fmla="*/ 151231 h 484269"/>
                <a:gd name="connsiteX19" fmla="*/ 191812 w 912488"/>
                <a:gd name="connsiteY19" fmla="*/ 191811 h 484269"/>
                <a:gd name="connsiteX20" fmla="*/ 183236 w 912488"/>
                <a:gd name="connsiteY20" fmla="*/ 102085 h 484269"/>
                <a:gd name="connsiteX21" fmla="*/ 102085 w 912488"/>
                <a:gd name="connsiteY21" fmla="*/ 102085 h 484269"/>
                <a:gd name="connsiteX22" fmla="*/ 7006 w 912488"/>
                <a:gd name="connsiteY22" fmla="*/ 7006 h 484269"/>
                <a:gd name="connsiteX23" fmla="*/ 88157 w 912488"/>
                <a:gd name="connsiteY23" fmla="*/ 7006 h 484269"/>
                <a:gd name="connsiteX24" fmla="*/ 183236 w 912488"/>
                <a:gd name="connsiteY24" fmla="*/ 102085 h 48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2488" h="484269">
                  <a:moveTo>
                    <a:pt x="866809" y="478748"/>
                  </a:moveTo>
                  <a:lnTo>
                    <a:pt x="729001" y="340941"/>
                  </a:lnTo>
                  <a:lnTo>
                    <a:pt x="769572" y="300361"/>
                  </a:lnTo>
                  <a:lnTo>
                    <a:pt x="907380" y="438178"/>
                  </a:lnTo>
                  <a:lnTo>
                    <a:pt x="866809" y="478748"/>
                  </a:lnTo>
                  <a:close/>
                  <a:moveTo>
                    <a:pt x="720883" y="332823"/>
                  </a:moveTo>
                  <a:lnTo>
                    <a:pt x="679472" y="291412"/>
                  </a:lnTo>
                  <a:lnTo>
                    <a:pt x="291412" y="291412"/>
                  </a:lnTo>
                  <a:lnTo>
                    <a:pt x="199771" y="199761"/>
                  </a:lnTo>
                  <a:lnTo>
                    <a:pt x="240341" y="159190"/>
                  </a:lnTo>
                  <a:lnTo>
                    <a:pt x="315186" y="234035"/>
                  </a:lnTo>
                  <a:lnTo>
                    <a:pt x="703246" y="234035"/>
                  </a:lnTo>
                  <a:lnTo>
                    <a:pt x="761463" y="292253"/>
                  </a:lnTo>
                  <a:lnTo>
                    <a:pt x="720883" y="332823"/>
                  </a:lnTo>
                  <a:close/>
                  <a:moveTo>
                    <a:pt x="191812" y="191811"/>
                  </a:moveTo>
                  <a:lnTo>
                    <a:pt x="147121" y="147112"/>
                  </a:lnTo>
                  <a:lnTo>
                    <a:pt x="189411" y="147112"/>
                  </a:lnTo>
                  <a:lnTo>
                    <a:pt x="189411" y="108260"/>
                  </a:lnTo>
                  <a:lnTo>
                    <a:pt x="232382" y="151231"/>
                  </a:lnTo>
                  <a:lnTo>
                    <a:pt x="191812" y="191811"/>
                  </a:lnTo>
                  <a:close/>
                  <a:moveTo>
                    <a:pt x="183236" y="102085"/>
                  </a:moveTo>
                  <a:lnTo>
                    <a:pt x="102085" y="102085"/>
                  </a:lnTo>
                  <a:lnTo>
                    <a:pt x="7006" y="7006"/>
                  </a:lnTo>
                  <a:lnTo>
                    <a:pt x="88157" y="7006"/>
                  </a:lnTo>
                  <a:lnTo>
                    <a:pt x="183236" y="10208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7" name="Freeform: Shape 13396">
              <a:extLst>
                <a:ext uri="{FF2B5EF4-FFF2-40B4-BE49-F238E27FC236}">
                  <a16:creationId xmlns:a16="http://schemas.microsoft.com/office/drawing/2014/main" id="{FCEAD551-8BAF-43B6-AB2C-28128B65BD75}"/>
                </a:ext>
              </a:extLst>
            </p:cNvPr>
            <p:cNvSpPr/>
            <p:nvPr/>
          </p:nvSpPr>
          <p:spPr bwMode="ltGray">
            <a:xfrm>
              <a:off x="2830340" y="3409063"/>
              <a:ext cx="100889" cy="58292"/>
            </a:xfrm>
            <a:custGeom>
              <a:avLst/>
              <a:gdLst>
                <a:gd name="connsiteX0" fmla="*/ 94332 w 100889"/>
                <a:gd name="connsiteY0" fmla="*/ 52033 h 58291"/>
                <a:gd name="connsiteX1" fmla="*/ 52042 w 100889"/>
                <a:gd name="connsiteY1" fmla="*/ 52033 h 58291"/>
                <a:gd name="connsiteX2" fmla="*/ 7006 w 100889"/>
                <a:gd name="connsiteY2" fmla="*/ 7006 h 58291"/>
                <a:gd name="connsiteX3" fmla="*/ 88157 w 100889"/>
                <a:gd name="connsiteY3" fmla="*/ 7006 h 58291"/>
                <a:gd name="connsiteX4" fmla="*/ 94332 w 100889"/>
                <a:gd name="connsiteY4" fmla="*/ 13181 h 58291"/>
                <a:gd name="connsiteX5" fmla="*/ 94332 w 100889"/>
                <a:gd name="connsiteY5" fmla="*/ 52033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9" h="58291">
                  <a:moveTo>
                    <a:pt x="94332" y="52033"/>
                  </a:moveTo>
                  <a:lnTo>
                    <a:pt x="52042" y="52033"/>
                  </a:lnTo>
                  <a:lnTo>
                    <a:pt x="7006" y="7006"/>
                  </a:lnTo>
                  <a:lnTo>
                    <a:pt x="88157" y="7006"/>
                  </a:lnTo>
                  <a:lnTo>
                    <a:pt x="94332" y="13181"/>
                  </a:lnTo>
                  <a:lnTo>
                    <a:pt x="94332"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8" name="Freeform: Shape 13397">
              <a:extLst>
                <a:ext uri="{FF2B5EF4-FFF2-40B4-BE49-F238E27FC236}">
                  <a16:creationId xmlns:a16="http://schemas.microsoft.com/office/drawing/2014/main" id="{5B7D0DFD-606F-4F12-B378-5E83EBCBEA8B}"/>
                </a:ext>
              </a:extLst>
            </p:cNvPr>
            <p:cNvSpPr/>
            <p:nvPr/>
          </p:nvSpPr>
          <p:spPr bwMode="ltGray">
            <a:xfrm>
              <a:off x="2920066" y="3458210"/>
              <a:ext cx="60534" cy="60534"/>
            </a:xfrm>
            <a:custGeom>
              <a:avLst/>
              <a:gdLst>
                <a:gd name="connsiteX0" fmla="*/ 14965 w 60533"/>
                <a:gd name="connsiteY0" fmla="*/ 55536 h 60533"/>
                <a:gd name="connsiteX1" fmla="*/ 7006 w 60533"/>
                <a:gd name="connsiteY1" fmla="*/ 47586 h 60533"/>
                <a:gd name="connsiteX2" fmla="*/ 47577 w 60533"/>
                <a:gd name="connsiteY2" fmla="*/ 7006 h 60533"/>
                <a:gd name="connsiteX3" fmla="*/ 55536 w 60533"/>
                <a:gd name="connsiteY3" fmla="*/ 14965 h 60533"/>
                <a:gd name="connsiteX4" fmla="*/ 14965 w 60533"/>
                <a:gd name="connsiteY4" fmla="*/ 55536 h 6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60533">
                  <a:moveTo>
                    <a:pt x="14965" y="55536"/>
                  </a:moveTo>
                  <a:lnTo>
                    <a:pt x="7006" y="47586"/>
                  </a:lnTo>
                  <a:lnTo>
                    <a:pt x="47577" y="7006"/>
                  </a:lnTo>
                  <a:lnTo>
                    <a:pt x="55536" y="14965"/>
                  </a:lnTo>
                  <a:lnTo>
                    <a:pt x="14965" y="555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9" name="Freeform: Shape 13398">
              <a:extLst>
                <a:ext uri="{FF2B5EF4-FFF2-40B4-BE49-F238E27FC236}">
                  <a16:creationId xmlns:a16="http://schemas.microsoft.com/office/drawing/2014/main" id="{1A4C3DF0-356E-4F88-9F9E-321DF219553F}"/>
                </a:ext>
              </a:extLst>
            </p:cNvPr>
            <p:cNvSpPr/>
            <p:nvPr/>
          </p:nvSpPr>
          <p:spPr bwMode="ltGray">
            <a:xfrm>
              <a:off x="-2860" y="3068319"/>
              <a:ext cx="2797999" cy="224199"/>
            </a:xfrm>
            <a:custGeom>
              <a:avLst/>
              <a:gdLst>
                <a:gd name="connsiteX0" fmla="*/ 2791854 w 2797998"/>
                <a:gd name="connsiteY0" fmla="*/ 218248 h 224198"/>
                <a:gd name="connsiteX1" fmla="*/ 2710704 w 2797998"/>
                <a:gd name="connsiteY1" fmla="*/ 218248 h 224198"/>
                <a:gd name="connsiteX2" fmla="*/ 2682016 w 2797998"/>
                <a:gd name="connsiteY2" fmla="*/ 189560 h 224198"/>
                <a:gd name="connsiteX3" fmla="*/ 2763166 w 2797998"/>
                <a:gd name="connsiteY3" fmla="*/ 189560 h 224198"/>
                <a:gd name="connsiteX4" fmla="*/ 2791854 w 2797998"/>
                <a:gd name="connsiteY4" fmla="*/ 218248 h 224198"/>
                <a:gd name="connsiteX5" fmla="*/ 2740214 w 2797998"/>
                <a:gd name="connsiteY5" fmla="*/ 166598 h 224198"/>
                <a:gd name="connsiteX6" fmla="*/ 2659063 w 2797998"/>
                <a:gd name="connsiteY6" fmla="*/ 166598 h 224198"/>
                <a:gd name="connsiteX7" fmla="*/ 2609983 w 2797998"/>
                <a:gd name="connsiteY7" fmla="*/ 117527 h 224198"/>
                <a:gd name="connsiteX8" fmla="*/ 2639689 w 2797998"/>
                <a:gd name="connsiteY8" fmla="*/ 66083 h 224198"/>
                <a:gd name="connsiteX9" fmla="*/ 2740214 w 2797998"/>
                <a:gd name="connsiteY9" fmla="*/ 166598 h 224198"/>
                <a:gd name="connsiteX10" fmla="*/ 2597773 w 2797998"/>
                <a:gd name="connsiteY10" fmla="*/ 105317 h 224198"/>
                <a:gd name="connsiteX11" fmla="*/ 2556847 w 2797998"/>
                <a:gd name="connsiteY11" fmla="*/ 64392 h 224198"/>
                <a:gd name="connsiteX12" fmla="*/ 1938115 w 2797998"/>
                <a:gd name="connsiteY12" fmla="*/ 64392 h 224198"/>
                <a:gd name="connsiteX13" fmla="*/ 1904989 w 2797998"/>
                <a:gd name="connsiteY13" fmla="*/ 7006 h 224198"/>
                <a:gd name="connsiteX14" fmla="*/ 2580622 w 2797998"/>
                <a:gd name="connsiteY14" fmla="*/ 7006 h 224198"/>
                <a:gd name="connsiteX15" fmla="*/ 2627479 w 2797998"/>
                <a:gd name="connsiteY15" fmla="*/ 53864 h 224198"/>
                <a:gd name="connsiteX16" fmla="*/ 2597773 w 2797998"/>
                <a:gd name="connsiteY16" fmla="*/ 105317 h 224198"/>
                <a:gd name="connsiteX17" fmla="*/ 1918852 w 2797998"/>
                <a:gd name="connsiteY17" fmla="*/ 64392 h 224198"/>
                <a:gd name="connsiteX18" fmla="*/ 1659202 w 2797998"/>
                <a:gd name="connsiteY18" fmla="*/ 64392 h 224198"/>
                <a:gd name="connsiteX19" fmla="*/ 1601816 w 2797998"/>
                <a:gd name="connsiteY19" fmla="*/ 7006 h 224198"/>
                <a:gd name="connsiteX20" fmla="*/ 1885727 w 2797998"/>
                <a:gd name="connsiteY20" fmla="*/ 7006 h 224198"/>
                <a:gd name="connsiteX21" fmla="*/ 1918852 w 2797998"/>
                <a:gd name="connsiteY21" fmla="*/ 64392 h 224198"/>
                <a:gd name="connsiteX22" fmla="*/ 1651336 w 2797998"/>
                <a:gd name="connsiteY22" fmla="*/ 64392 h 224198"/>
                <a:gd name="connsiteX23" fmla="*/ 1481534 w 2797998"/>
                <a:gd name="connsiteY23" fmla="*/ 64392 h 224198"/>
                <a:gd name="connsiteX24" fmla="*/ 1481534 w 2797998"/>
                <a:gd name="connsiteY24" fmla="*/ 63626 h 224198"/>
                <a:gd name="connsiteX25" fmla="*/ 1359598 w 2797998"/>
                <a:gd name="connsiteY25" fmla="*/ 63626 h 224198"/>
                <a:gd name="connsiteX26" fmla="*/ 1359598 w 2797998"/>
                <a:gd name="connsiteY26" fmla="*/ 64392 h 224198"/>
                <a:gd name="connsiteX27" fmla="*/ 1327182 w 2797998"/>
                <a:gd name="connsiteY27" fmla="*/ 64392 h 224198"/>
                <a:gd name="connsiteX28" fmla="*/ 1282529 w 2797998"/>
                <a:gd name="connsiteY28" fmla="*/ 29024 h 224198"/>
                <a:gd name="connsiteX29" fmla="*/ 1237886 w 2797998"/>
                <a:gd name="connsiteY29" fmla="*/ 64392 h 224198"/>
                <a:gd name="connsiteX30" fmla="*/ 793169 w 2797998"/>
                <a:gd name="connsiteY30" fmla="*/ 64392 h 224198"/>
                <a:gd name="connsiteX31" fmla="*/ 749683 w 2797998"/>
                <a:gd name="connsiteY31" fmla="*/ 30155 h 224198"/>
                <a:gd name="connsiteX32" fmla="*/ 706189 w 2797998"/>
                <a:gd name="connsiteY32" fmla="*/ 64392 h 224198"/>
                <a:gd name="connsiteX33" fmla="*/ 444969 w 2797998"/>
                <a:gd name="connsiteY33" fmla="*/ 64392 h 224198"/>
                <a:gd name="connsiteX34" fmla="*/ 502355 w 2797998"/>
                <a:gd name="connsiteY34" fmla="*/ 7006 h 224198"/>
                <a:gd name="connsiteX35" fmla="*/ 1593960 w 2797998"/>
                <a:gd name="connsiteY35" fmla="*/ 7006 h 224198"/>
                <a:gd name="connsiteX36" fmla="*/ 1651336 w 2797998"/>
                <a:gd name="connsiteY36" fmla="*/ 64392 h 224198"/>
                <a:gd name="connsiteX37" fmla="*/ 784406 w 2797998"/>
                <a:gd name="connsiteY37" fmla="*/ 64392 h 224198"/>
                <a:gd name="connsiteX38" fmla="*/ 714961 w 2797998"/>
                <a:gd name="connsiteY38" fmla="*/ 64392 h 224198"/>
                <a:gd name="connsiteX39" fmla="*/ 749683 w 2797998"/>
                <a:gd name="connsiteY39" fmla="*/ 38618 h 224198"/>
                <a:gd name="connsiteX40" fmla="*/ 784406 w 2797998"/>
                <a:gd name="connsiteY40" fmla="*/ 64392 h 224198"/>
                <a:gd name="connsiteX41" fmla="*/ 421372 w 2797998"/>
                <a:gd name="connsiteY41" fmla="*/ 64392 h 224198"/>
                <a:gd name="connsiteX42" fmla="*/ 358634 w 2797998"/>
                <a:gd name="connsiteY42" fmla="*/ 64392 h 224198"/>
                <a:gd name="connsiteX43" fmla="*/ 416010 w 2797998"/>
                <a:gd name="connsiteY43" fmla="*/ 7006 h 224198"/>
                <a:gd name="connsiteX44" fmla="*/ 478758 w 2797998"/>
                <a:gd name="connsiteY44" fmla="*/ 7006 h 224198"/>
                <a:gd name="connsiteX45" fmla="*/ 421372 w 2797998"/>
                <a:gd name="connsiteY45" fmla="*/ 64392 h 224198"/>
                <a:gd name="connsiteX46" fmla="*/ 350768 w 2797998"/>
                <a:gd name="connsiteY46" fmla="*/ 64392 h 224198"/>
                <a:gd name="connsiteX47" fmla="*/ 7006 w 2797998"/>
                <a:gd name="connsiteY47" fmla="*/ 64392 h 224198"/>
                <a:gd name="connsiteX48" fmla="*/ 7006 w 2797998"/>
                <a:gd name="connsiteY48" fmla="*/ 7006 h 224198"/>
                <a:gd name="connsiteX49" fmla="*/ 408145 w 2797998"/>
                <a:gd name="connsiteY49" fmla="*/ 7006 h 224198"/>
                <a:gd name="connsiteX50" fmla="*/ 350768 w 2797998"/>
                <a:gd name="connsiteY50" fmla="*/ 64392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97998" h="224198">
                  <a:moveTo>
                    <a:pt x="2791854" y="218248"/>
                  </a:moveTo>
                  <a:lnTo>
                    <a:pt x="2710704" y="218248"/>
                  </a:lnTo>
                  <a:lnTo>
                    <a:pt x="2682016" y="189560"/>
                  </a:lnTo>
                  <a:lnTo>
                    <a:pt x="2763166" y="189560"/>
                  </a:lnTo>
                  <a:lnTo>
                    <a:pt x="2791854" y="218248"/>
                  </a:lnTo>
                  <a:close/>
                  <a:moveTo>
                    <a:pt x="2740214" y="166598"/>
                  </a:moveTo>
                  <a:lnTo>
                    <a:pt x="2659063" y="166598"/>
                  </a:lnTo>
                  <a:lnTo>
                    <a:pt x="2609983" y="117527"/>
                  </a:lnTo>
                  <a:lnTo>
                    <a:pt x="2639689" y="66083"/>
                  </a:lnTo>
                  <a:lnTo>
                    <a:pt x="2740214" y="166598"/>
                  </a:lnTo>
                  <a:close/>
                  <a:moveTo>
                    <a:pt x="2597773" y="105317"/>
                  </a:moveTo>
                  <a:lnTo>
                    <a:pt x="2556847" y="64392"/>
                  </a:lnTo>
                  <a:lnTo>
                    <a:pt x="1938115" y="64392"/>
                  </a:lnTo>
                  <a:lnTo>
                    <a:pt x="1904989" y="7006"/>
                  </a:lnTo>
                  <a:lnTo>
                    <a:pt x="2580622" y="7006"/>
                  </a:lnTo>
                  <a:lnTo>
                    <a:pt x="2627479" y="53864"/>
                  </a:lnTo>
                  <a:lnTo>
                    <a:pt x="2597773" y="105317"/>
                  </a:lnTo>
                  <a:close/>
                  <a:moveTo>
                    <a:pt x="1918852" y="64392"/>
                  </a:moveTo>
                  <a:lnTo>
                    <a:pt x="1659202" y="64392"/>
                  </a:lnTo>
                  <a:lnTo>
                    <a:pt x="1601816" y="7006"/>
                  </a:lnTo>
                  <a:lnTo>
                    <a:pt x="1885727" y="7006"/>
                  </a:lnTo>
                  <a:lnTo>
                    <a:pt x="1918852" y="64392"/>
                  </a:lnTo>
                  <a:close/>
                  <a:moveTo>
                    <a:pt x="1651336" y="64392"/>
                  </a:moveTo>
                  <a:lnTo>
                    <a:pt x="1481534" y="64392"/>
                  </a:lnTo>
                  <a:lnTo>
                    <a:pt x="1481534" y="63626"/>
                  </a:lnTo>
                  <a:lnTo>
                    <a:pt x="1359598" y="63626"/>
                  </a:lnTo>
                  <a:lnTo>
                    <a:pt x="1359598" y="64392"/>
                  </a:lnTo>
                  <a:lnTo>
                    <a:pt x="1327182" y="64392"/>
                  </a:lnTo>
                  <a:cubicBezTo>
                    <a:pt x="1322437" y="44120"/>
                    <a:pt x="1304249" y="29024"/>
                    <a:pt x="1282529" y="29024"/>
                  </a:cubicBezTo>
                  <a:cubicBezTo>
                    <a:pt x="1260819" y="29024"/>
                    <a:pt x="1242631" y="44120"/>
                    <a:pt x="1237886" y="64392"/>
                  </a:cubicBezTo>
                  <a:lnTo>
                    <a:pt x="793169" y="64392"/>
                  </a:lnTo>
                  <a:cubicBezTo>
                    <a:pt x="788433" y="44774"/>
                    <a:pt x="770739" y="30155"/>
                    <a:pt x="749683" y="30155"/>
                  </a:cubicBezTo>
                  <a:cubicBezTo>
                    <a:pt x="728627" y="30155"/>
                    <a:pt x="710925" y="44774"/>
                    <a:pt x="706189" y="64392"/>
                  </a:cubicBezTo>
                  <a:lnTo>
                    <a:pt x="444969" y="64392"/>
                  </a:lnTo>
                  <a:lnTo>
                    <a:pt x="502355" y="7006"/>
                  </a:lnTo>
                  <a:lnTo>
                    <a:pt x="1593960" y="7006"/>
                  </a:lnTo>
                  <a:lnTo>
                    <a:pt x="1651336" y="64392"/>
                  </a:lnTo>
                  <a:close/>
                  <a:moveTo>
                    <a:pt x="784406" y="64392"/>
                  </a:moveTo>
                  <a:lnTo>
                    <a:pt x="714961" y="64392"/>
                  </a:lnTo>
                  <a:cubicBezTo>
                    <a:pt x="719473" y="49492"/>
                    <a:pt x="733326" y="38618"/>
                    <a:pt x="749683" y="38618"/>
                  </a:cubicBezTo>
                  <a:cubicBezTo>
                    <a:pt x="766031" y="38618"/>
                    <a:pt x="779894" y="49492"/>
                    <a:pt x="784406" y="64392"/>
                  </a:cubicBezTo>
                  <a:close/>
                  <a:moveTo>
                    <a:pt x="421372" y="64392"/>
                  </a:moveTo>
                  <a:lnTo>
                    <a:pt x="358634" y="64392"/>
                  </a:lnTo>
                  <a:lnTo>
                    <a:pt x="416010" y="7006"/>
                  </a:lnTo>
                  <a:lnTo>
                    <a:pt x="478758" y="7006"/>
                  </a:lnTo>
                  <a:lnTo>
                    <a:pt x="421372" y="64392"/>
                  </a:lnTo>
                  <a:close/>
                  <a:moveTo>
                    <a:pt x="350768" y="64392"/>
                  </a:moveTo>
                  <a:lnTo>
                    <a:pt x="7006" y="64392"/>
                  </a:lnTo>
                  <a:lnTo>
                    <a:pt x="7006" y="7006"/>
                  </a:lnTo>
                  <a:lnTo>
                    <a:pt x="408145" y="7006"/>
                  </a:lnTo>
                  <a:lnTo>
                    <a:pt x="350768" y="643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0" name="Freeform: Shape 13399">
              <a:extLst>
                <a:ext uri="{FF2B5EF4-FFF2-40B4-BE49-F238E27FC236}">
                  <a16:creationId xmlns:a16="http://schemas.microsoft.com/office/drawing/2014/main" id="{61BA5A21-DC05-440C-B9F0-15D240408CBE}"/>
                </a:ext>
              </a:extLst>
            </p:cNvPr>
            <p:cNvSpPr/>
            <p:nvPr/>
          </p:nvSpPr>
          <p:spPr bwMode="ltGray">
            <a:xfrm>
              <a:off x="1875860" y="3068319"/>
              <a:ext cx="766759" cy="123309"/>
            </a:xfrm>
            <a:custGeom>
              <a:avLst/>
              <a:gdLst>
                <a:gd name="connsiteX0" fmla="*/ 731262 w 766759"/>
                <a:gd name="connsiteY0" fmla="*/ 117527 h 123309"/>
                <a:gd name="connsiteX1" fmla="*/ 719052 w 766759"/>
                <a:gd name="connsiteY1" fmla="*/ 105317 h 123309"/>
                <a:gd name="connsiteX2" fmla="*/ 748759 w 766759"/>
                <a:gd name="connsiteY2" fmla="*/ 53864 h 123309"/>
                <a:gd name="connsiteX3" fmla="*/ 760968 w 766759"/>
                <a:gd name="connsiteY3" fmla="*/ 66083 h 123309"/>
                <a:gd name="connsiteX4" fmla="*/ 731262 w 766759"/>
                <a:gd name="connsiteY4" fmla="*/ 117527 h 123309"/>
                <a:gd name="connsiteX5" fmla="*/ 59394 w 766759"/>
                <a:gd name="connsiteY5" fmla="*/ 64392 h 123309"/>
                <a:gd name="connsiteX6" fmla="*/ 40131 w 766759"/>
                <a:gd name="connsiteY6" fmla="*/ 64392 h 123309"/>
                <a:gd name="connsiteX7" fmla="*/ 7006 w 766759"/>
                <a:gd name="connsiteY7" fmla="*/ 7006 h 123309"/>
                <a:gd name="connsiteX8" fmla="*/ 26269 w 766759"/>
                <a:gd name="connsiteY8" fmla="*/ 7006 h 123309"/>
                <a:gd name="connsiteX9" fmla="*/ 59394 w 766759"/>
                <a:gd name="connsiteY9" fmla="*/ 64392 h 12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123309">
                  <a:moveTo>
                    <a:pt x="731262" y="117527"/>
                  </a:moveTo>
                  <a:lnTo>
                    <a:pt x="719052" y="105317"/>
                  </a:lnTo>
                  <a:lnTo>
                    <a:pt x="748759" y="53864"/>
                  </a:lnTo>
                  <a:lnTo>
                    <a:pt x="760968" y="66083"/>
                  </a:lnTo>
                  <a:lnTo>
                    <a:pt x="731262" y="117527"/>
                  </a:lnTo>
                  <a:close/>
                  <a:moveTo>
                    <a:pt x="59394" y="64392"/>
                  </a:moveTo>
                  <a:lnTo>
                    <a:pt x="40131" y="64392"/>
                  </a:lnTo>
                  <a:lnTo>
                    <a:pt x="7006" y="7006"/>
                  </a:lnTo>
                  <a:lnTo>
                    <a:pt x="26269" y="7006"/>
                  </a:lnTo>
                  <a:lnTo>
                    <a:pt x="5939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1" name="Freeform: Shape 13400">
              <a:extLst>
                <a:ext uri="{FF2B5EF4-FFF2-40B4-BE49-F238E27FC236}">
                  <a16:creationId xmlns:a16="http://schemas.microsoft.com/office/drawing/2014/main" id="{D809BEB6-7EAE-4D48-96B4-775155B05A23}"/>
                </a:ext>
              </a:extLst>
            </p:cNvPr>
            <p:cNvSpPr/>
            <p:nvPr/>
          </p:nvSpPr>
          <p:spPr bwMode="ltGray">
            <a:xfrm>
              <a:off x="411506" y="3068319"/>
              <a:ext cx="94163" cy="69502"/>
            </a:xfrm>
            <a:custGeom>
              <a:avLst/>
              <a:gdLst>
                <a:gd name="connsiteX0" fmla="*/ 30603 w 94163"/>
                <a:gd name="connsiteY0" fmla="*/ 64392 h 69501"/>
                <a:gd name="connsiteX1" fmla="*/ 7006 w 94163"/>
                <a:gd name="connsiteY1" fmla="*/ 64392 h 69501"/>
                <a:gd name="connsiteX2" fmla="*/ 64392 w 94163"/>
                <a:gd name="connsiteY2" fmla="*/ 7006 h 69501"/>
                <a:gd name="connsiteX3" fmla="*/ 87989 w 94163"/>
                <a:gd name="connsiteY3" fmla="*/ 7006 h 69501"/>
                <a:gd name="connsiteX4" fmla="*/ 30603 w 94163"/>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63" h="69501">
                  <a:moveTo>
                    <a:pt x="30603" y="64392"/>
                  </a:moveTo>
                  <a:lnTo>
                    <a:pt x="7006" y="64392"/>
                  </a:lnTo>
                  <a:lnTo>
                    <a:pt x="64392" y="7006"/>
                  </a:lnTo>
                  <a:lnTo>
                    <a:pt x="87989" y="7006"/>
                  </a:lnTo>
                  <a:lnTo>
                    <a:pt x="30603"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2" name="Freeform: Shape 13401">
              <a:extLst>
                <a:ext uri="{FF2B5EF4-FFF2-40B4-BE49-F238E27FC236}">
                  <a16:creationId xmlns:a16="http://schemas.microsoft.com/office/drawing/2014/main" id="{8AC45C5D-DD47-4AB7-A971-B31AC0D5D452}"/>
                </a:ext>
              </a:extLst>
            </p:cNvPr>
            <p:cNvSpPr/>
            <p:nvPr/>
          </p:nvSpPr>
          <p:spPr bwMode="ltGray">
            <a:xfrm>
              <a:off x="340902" y="3068319"/>
              <a:ext cx="1320530" cy="69502"/>
            </a:xfrm>
            <a:custGeom>
              <a:avLst/>
              <a:gdLst>
                <a:gd name="connsiteX0" fmla="*/ 1315440 w 1320529"/>
                <a:gd name="connsiteY0" fmla="*/ 64392 h 69501"/>
                <a:gd name="connsiteX1" fmla="*/ 1307574 w 1320529"/>
                <a:gd name="connsiteY1" fmla="*/ 64392 h 69501"/>
                <a:gd name="connsiteX2" fmla="*/ 1250198 w 1320529"/>
                <a:gd name="connsiteY2" fmla="*/ 7006 h 69501"/>
                <a:gd name="connsiteX3" fmla="*/ 1258054 w 1320529"/>
                <a:gd name="connsiteY3" fmla="*/ 7006 h 69501"/>
                <a:gd name="connsiteX4" fmla="*/ 1315440 w 1320529"/>
                <a:gd name="connsiteY4" fmla="*/ 64392 h 69501"/>
                <a:gd name="connsiteX5" fmla="*/ 14872 w 1320529"/>
                <a:gd name="connsiteY5" fmla="*/ 64392 h 69501"/>
                <a:gd name="connsiteX6" fmla="*/ 7006 w 1320529"/>
                <a:gd name="connsiteY6" fmla="*/ 64392 h 69501"/>
                <a:gd name="connsiteX7" fmla="*/ 64382 w 1320529"/>
                <a:gd name="connsiteY7" fmla="*/ 7006 h 69501"/>
                <a:gd name="connsiteX8" fmla="*/ 72248 w 1320529"/>
                <a:gd name="connsiteY8" fmla="*/ 7006 h 69501"/>
                <a:gd name="connsiteX9" fmla="*/ 14872 w 1320529"/>
                <a:gd name="connsiteY9"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0529" h="69501">
                  <a:moveTo>
                    <a:pt x="1315440" y="64392"/>
                  </a:moveTo>
                  <a:lnTo>
                    <a:pt x="1307574" y="64392"/>
                  </a:lnTo>
                  <a:lnTo>
                    <a:pt x="1250198" y="7006"/>
                  </a:lnTo>
                  <a:lnTo>
                    <a:pt x="1258054" y="7006"/>
                  </a:lnTo>
                  <a:lnTo>
                    <a:pt x="1315440" y="64392"/>
                  </a:lnTo>
                  <a:close/>
                  <a:moveTo>
                    <a:pt x="14872" y="64392"/>
                  </a:moveTo>
                  <a:lnTo>
                    <a:pt x="7006" y="64392"/>
                  </a:lnTo>
                  <a:lnTo>
                    <a:pt x="64382" y="7006"/>
                  </a:lnTo>
                  <a:lnTo>
                    <a:pt x="72248" y="7006"/>
                  </a:lnTo>
                  <a:lnTo>
                    <a:pt x="14872"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3" name="Freeform: Shape 13402">
              <a:extLst>
                <a:ext uri="{FF2B5EF4-FFF2-40B4-BE49-F238E27FC236}">
                  <a16:creationId xmlns:a16="http://schemas.microsoft.com/office/drawing/2014/main" id="{FA7404B5-637C-4805-8507-5C2804A3B62D}"/>
                </a:ext>
              </a:extLst>
            </p:cNvPr>
            <p:cNvSpPr/>
            <p:nvPr/>
          </p:nvSpPr>
          <p:spPr bwMode="ltGray">
            <a:xfrm>
              <a:off x="696322" y="3091467"/>
              <a:ext cx="100889" cy="47082"/>
            </a:xfrm>
            <a:custGeom>
              <a:avLst/>
              <a:gdLst>
                <a:gd name="connsiteX0" fmla="*/ 93986 w 100889"/>
                <a:gd name="connsiteY0" fmla="*/ 41243 h 47081"/>
                <a:gd name="connsiteX1" fmla="*/ 85224 w 100889"/>
                <a:gd name="connsiteY1" fmla="*/ 41243 h 47081"/>
                <a:gd name="connsiteX2" fmla="*/ 50501 w 100889"/>
                <a:gd name="connsiteY2" fmla="*/ 15470 h 47081"/>
                <a:gd name="connsiteX3" fmla="*/ 15778 w 100889"/>
                <a:gd name="connsiteY3" fmla="*/ 41243 h 47081"/>
                <a:gd name="connsiteX4" fmla="*/ 7006 w 100889"/>
                <a:gd name="connsiteY4" fmla="*/ 41243 h 47081"/>
                <a:gd name="connsiteX5" fmla="*/ 50501 w 100889"/>
                <a:gd name="connsiteY5" fmla="*/ 7006 h 47081"/>
                <a:gd name="connsiteX6" fmla="*/ 93986 w 100889"/>
                <a:gd name="connsiteY6" fmla="*/ 41243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47081">
                  <a:moveTo>
                    <a:pt x="93986" y="41243"/>
                  </a:moveTo>
                  <a:lnTo>
                    <a:pt x="85224" y="41243"/>
                  </a:lnTo>
                  <a:cubicBezTo>
                    <a:pt x="80712" y="26343"/>
                    <a:pt x="66849" y="15470"/>
                    <a:pt x="50501" y="15470"/>
                  </a:cubicBezTo>
                  <a:cubicBezTo>
                    <a:pt x="34144" y="15470"/>
                    <a:pt x="20290" y="26343"/>
                    <a:pt x="15778" y="41243"/>
                  </a:cubicBezTo>
                  <a:lnTo>
                    <a:pt x="7006" y="41243"/>
                  </a:lnTo>
                  <a:cubicBezTo>
                    <a:pt x="11742" y="21626"/>
                    <a:pt x="29445" y="7006"/>
                    <a:pt x="50501" y="7006"/>
                  </a:cubicBezTo>
                  <a:cubicBezTo>
                    <a:pt x="71557" y="7006"/>
                    <a:pt x="89250" y="21626"/>
                    <a:pt x="93986" y="4124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4" name="Freeform: Shape 13403">
              <a:extLst>
                <a:ext uri="{FF2B5EF4-FFF2-40B4-BE49-F238E27FC236}">
                  <a16:creationId xmlns:a16="http://schemas.microsoft.com/office/drawing/2014/main" id="{CE67BDAD-AF60-4E28-8AA0-CFBCEEE27FD6}"/>
                </a:ext>
              </a:extLst>
            </p:cNvPr>
            <p:cNvSpPr/>
            <p:nvPr/>
          </p:nvSpPr>
          <p:spPr bwMode="ltGray">
            <a:xfrm>
              <a:off x="1228019" y="3090337"/>
              <a:ext cx="103131" cy="49324"/>
            </a:xfrm>
            <a:custGeom>
              <a:avLst/>
              <a:gdLst>
                <a:gd name="connsiteX0" fmla="*/ 96303 w 103131"/>
                <a:gd name="connsiteY0" fmla="*/ 42374 h 49323"/>
                <a:gd name="connsiteX1" fmla="*/ 7006 w 103131"/>
                <a:gd name="connsiteY1" fmla="*/ 42374 h 49323"/>
                <a:gd name="connsiteX2" fmla="*/ 51650 w 103131"/>
                <a:gd name="connsiteY2" fmla="*/ 7006 h 49323"/>
                <a:gd name="connsiteX3" fmla="*/ 96303 w 103131"/>
                <a:gd name="connsiteY3" fmla="*/ 42374 h 49323"/>
              </a:gdLst>
              <a:ahLst/>
              <a:cxnLst>
                <a:cxn ang="0">
                  <a:pos x="connsiteX0" y="connsiteY0"/>
                </a:cxn>
                <a:cxn ang="0">
                  <a:pos x="connsiteX1" y="connsiteY1"/>
                </a:cxn>
                <a:cxn ang="0">
                  <a:pos x="connsiteX2" y="connsiteY2"/>
                </a:cxn>
                <a:cxn ang="0">
                  <a:pos x="connsiteX3" y="connsiteY3"/>
                </a:cxn>
              </a:cxnLst>
              <a:rect l="l" t="t" r="r" b="b"/>
              <a:pathLst>
                <a:path w="103131" h="49323">
                  <a:moveTo>
                    <a:pt x="96303" y="42374"/>
                  </a:moveTo>
                  <a:lnTo>
                    <a:pt x="7006" y="42374"/>
                  </a:lnTo>
                  <a:cubicBezTo>
                    <a:pt x="11752" y="22102"/>
                    <a:pt x="29940" y="7006"/>
                    <a:pt x="51650" y="7006"/>
                  </a:cubicBezTo>
                  <a:cubicBezTo>
                    <a:pt x="73369" y="7006"/>
                    <a:pt x="91557" y="22102"/>
                    <a:pt x="96303" y="4237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5" name="Freeform: Shape 13404">
              <a:extLst>
                <a:ext uri="{FF2B5EF4-FFF2-40B4-BE49-F238E27FC236}">
                  <a16:creationId xmlns:a16="http://schemas.microsoft.com/office/drawing/2014/main" id="{5CA2392C-033C-4E8D-AC0C-8A0C75298136}"/>
                </a:ext>
              </a:extLst>
            </p:cNvPr>
            <p:cNvSpPr/>
            <p:nvPr/>
          </p:nvSpPr>
          <p:spPr bwMode="ltGray">
            <a:xfrm>
              <a:off x="1349731" y="3124938"/>
              <a:ext cx="134519" cy="13452"/>
            </a:xfrm>
            <a:custGeom>
              <a:avLst/>
              <a:gdLst>
                <a:gd name="connsiteX0" fmla="*/ 7006 w 134519"/>
                <a:gd name="connsiteY0" fmla="*/ 7006 h 13451"/>
                <a:gd name="connsiteX1" fmla="*/ 128942 w 134519"/>
                <a:gd name="connsiteY1" fmla="*/ 7006 h 13451"/>
                <a:gd name="connsiteX2" fmla="*/ 128942 w 134519"/>
                <a:gd name="connsiteY2" fmla="*/ 7772 h 13451"/>
                <a:gd name="connsiteX3" fmla="*/ 7006 w 134519"/>
                <a:gd name="connsiteY3" fmla="*/ 7772 h 13451"/>
              </a:gdLst>
              <a:ahLst/>
              <a:cxnLst>
                <a:cxn ang="0">
                  <a:pos x="connsiteX0" y="connsiteY0"/>
                </a:cxn>
                <a:cxn ang="0">
                  <a:pos x="connsiteX1" y="connsiteY1"/>
                </a:cxn>
                <a:cxn ang="0">
                  <a:pos x="connsiteX2" y="connsiteY2"/>
                </a:cxn>
                <a:cxn ang="0">
                  <a:pos x="connsiteX3" y="connsiteY3"/>
                </a:cxn>
              </a:cxnLst>
              <a:rect l="l" t="t" r="r" b="b"/>
              <a:pathLst>
                <a:path w="134519" h="13451">
                  <a:moveTo>
                    <a:pt x="7006" y="7006"/>
                  </a:moveTo>
                  <a:lnTo>
                    <a:pt x="128942" y="7006"/>
                  </a:lnTo>
                  <a:lnTo>
                    <a:pt x="128942" y="7772"/>
                  </a:lnTo>
                  <a:lnTo>
                    <a:pt x="7006" y="77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6" name="Freeform: Shape 13405">
              <a:extLst>
                <a:ext uri="{FF2B5EF4-FFF2-40B4-BE49-F238E27FC236}">
                  <a16:creationId xmlns:a16="http://schemas.microsoft.com/office/drawing/2014/main" id="{601D1245-A5AB-4607-8780-85711D9B4258}"/>
                </a:ext>
              </a:extLst>
            </p:cNvPr>
            <p:cNvSpPr/>
            <p:nvPr/>
          </p:nvSpPr>
          <p:spPr bwMode="ltGray">
            <a:xfrm>
              <a:off x="3297664" y="3093280"/>
              <a:ext cx="567223" cy="105373"/>
            </a:xfrm>
            <a:custGeom>
              <a:avLst/>
              <a:gdLst>
                <a:gd name="connsiteX0" fmla="*/ 562225 w 567222"/>
                <a:gd name="connsiteY0" fmla="*/ 98816 h 105373"/>
                <a:gd name="connsiteX1" fmla="*/ 366285 w 567222"/>
                <a:gd name="connsiteY1" fmla="*/ 98816 h 105373"/>
                <a:gd name="connsiteX2" fmla="*/ 274476 w 567222"/>
                <a:gd name="connsiteY2" fmla="*/ 7006 h 105373"/>
                <a:gd name="connsiteX3" fmla="*/ 387089 w 567222"/>
                <a:gd name="connsiteY3" fmla="*/ 7006 h 105373"/>
                <a:gd name="connsiteX4" fmla="*/ 387220 w 567222"/>
                <a:gd name="connsiteY4" fmla="*/ 7137 h 105373"/>
                <a:gd name="connsiteX5" fmla="*/ 509146 w 567222"/>
                <a:gd name="connsiteY5" fmla="*/ 7137 h 105373"/>
                <a:gd name="connsiteX6" fmla="*/ 509268 w 567222"/>
                <a:gd name="connsiteY6" fmla="*/ 7006 h 105373"/>
                <a:gd name="connsiteX7" fmla="*/ 562225 w 567222"/>
                <a:gd name="connsiteY7" fmla="*/ 7006 h 105373"/>
                <a:gd name="connsiteX8" fmla="*/ 562225 w 567222"/>
                <a:gd name="connsiteY8" fmla="*/ 98816 h 105373"/>
                <a:gd name="connsiteX9" fmla="*/ 461196 w 567222"/>
                <a:gd name="connsiteY9" fmla="*/ 35853 h 105373"/>
                <a:gd name="connsiteX10" fmla="*/ 461196 w 567222"/>
                <a:gd name="connsiteY10" fmla="*/ 41486 h 105373"/>
                <a:gd name="connsiteX11" fmla="*/ 528736 w 567222"/>
                <a:gd name="connsiteY11" fmla="*/ 41486 h 105373"/>
                <a:gd name="connsiteX12" fmla="*/ 528736 w 567222"/>
                <a:gd name="connsiteY12" fmla="*/ 35853 h 105373"/>
                <a:gd name="connsiteX13" fmla="*/ 461196 w 567222"/>
                <a:gd name="connsiteY13" fmla="*/ 35853 h 105373"/>
                <a:gd name="connsiteX14" fmla="*/ 326125 w 567222"/>
                <a:gd name="connsiteY14" fmla="*/ 35853 h 105373"/>
                <a:gd name="connsiteX15" fmla="*/ 326125 w 567222"/>
                <a:gd name="connsiteY15" fmla="*/ 41486 h 105373"/>
                <a:gd name="connsiteX16" fmla="*/ 393665 w 567222"/>
                <a:gd name="connsiteY16" fmla="*/ 41486 h 105373"/>
                <a:gd name="connsiteX17" fmla="*/ 393665 w 567222"/>
                <a:gd name="connsiteY17" fmla="*/ 35853 h 105373"/>
                <a:gd name="connsiteX18" fmla="*/ 326125 w 567222"/>
                <a:gd name="connsiteY18" fmla="*/ 35853 h 105373"/>
                <a:gd name="connsiteX19" fmla="*/ 342697 w 567222"/>
                <a:gd name="connsiteY19" fmla="*/ 98816 h 105373"/>
                <a:gd name="connsiteX20" fmla="*/ 171839 w 567222"/>
                <a:gd name="connsiteY20" fmla="*/ 98816 h 105373"/>
                <a:gd name="connsiteX21" fmla="*/ 151549 w 567222"/>
                <a:gd name="connsiteY21" fmla="*/ 78535 h 105373"/>
                <a:gd name="connsiteX22" fmla="*/ 7006 w 567222"/>
                <a:gd name="connsiteY22" fmla="*/ 78535 h 105373"/>
                <a:gd name="connsiteX23" fmla="*/ 78526 w 567222"/>
                <a:gd name="connsiteY23" fmla="*/ 7006 h 105373"/>
                <a:gd name="connsiteX24" fmla="*/ 250888 w 567222"/>
                <a:gd name="connsiteY24" fmla="*/ 7006 h 105373"/>
                <a:gd name="connsiteX25" fmla="*/ 342697 w 567222"/>
                <a:gd name="connsiteY25" fmla="*/ 98816 h 105373"/>
                <a:gd name="connsiteX26" fmla="*/ 191055 w 567222"/>
                <a:gd name="connsiteY26" fmla="*/ 35853 h 105373"/>
                <a:gd name="connsiteX27" fmla="*/ 191055 w 567222"/>
                <a:gd name="connsiteY27" fmla="*/ 41486 h 105373"/>
                <a:gd name="connsiteX28" fmla="*/ 258585 w 567222"/>
                <a:gd name="connsiteY28" fmla="*/ 41486 h 105373"/>
                <a:gd name="connsiteX29" fmla="*/ 258585 w 567222"/>
                <a:gd name="connsiteY29" fmla="*/ 35853 h 105373"/>
                <a:gd name="connsiteX30" fmla="*/ 191055 w 567222"/>
                <a:gd name="connsiteY30" fmla="*/ 35853 h 105373"/>
                <a:gd name="connsiteX31" fmla="*/ 55984 w 567222"/>
                <a:gd name="connsiteY31" fmla="*/ 35853 h 105373"/>
                <a:gd name="connsiteX32" fmla="*/ 55984 w 567222"/>
                <a:gd name="connsiteY32" fmla="*/ 41486 h 105373"/>
                <a:gd name="connsiteX33" fmla="*/ 123515 w 567222"/>
                <a:gd name="connsiteY33" fmla="*/ 41486 h 105373"/>
                <a:gd name="connsiteX34" fmla="*/ 123515 w 567222"/>
                <a:gd name="connsiteY34" fmla="*/ 35853 h 105373"/>
                <a:gd name="connsiteX35" fmla="*/ 55984 w 567222"/>
                <a:gd name="connsiteY35" fmla="*/ 35853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7222" h="105373">
                  <a:moveTo>
                    <a:pt x="562225" y="98816"/>
                  </a:moveTo>
                  <a:lnTo>
                    <a:pt x="366285" y="98816"/>
                  </a:lnTo>
                  <a:lnTo>
                    <a:pt x="274476" y="7006"/>
                  </a:lnTo>
                  <a:lnTo>
                    <a:pt x="387089" y="7006"/>
                  </a:lnTo>
                  <a:lnTo>
                    <a:pt x="387220" y="7137"/>
                  </a:lnTo>
                  <a:lnTo>
                    <a:pt x="509146" y="7137"/>
                  </a:lnTo>
                  <a:lnTo>
                    <a:pt x="509268" y="7006"/>
                  </a:lnTo>
                  <a:lnTo>
                    <a:pt x="562225" y="7006"/>
                  </a:lnTo>
                  <a:lnTo>
                    <a:pt x="562225" y="98816"/>
                  </a:lnTo>
                  <a:close/>
                  <a:moveTo>
                    <a:pt x="461196" y="35853"/>
                  </a:moveTo>
                  <a:lnTo>
                    <a:pt x="461196" y="41486"/>
                  </a:lnTo>
                  <a:lnTo>
                    <a:pt x="528736" y="41486"/>
                  </a:lnTo>
                  <a:lnTo>
                    <a:pt x="528736" y="35853"/>
                  </a:lnTo>
                  <a:lnTo>
                    <a:pt x="461196" y="35853"/>
                  </a:lnTo>
                  <a:close/>
                  <a:moveTo>
                    <a:pt x="326125" y="35853"/>
                  </a:moveTo>
                  <a:lnTo>
                    <a:pt x="326125" y="41486"/>
                  </a:lnTo>
                  <a:lnTo>
                    <a:pt x="393665" y="41486"/>
                  </a:lnTo>
                  <a:lnTo>
                    <a:pt x="393665" y="35853"/>
                  </a:lnTo>
                  <a:lnTo>
                    <a:pt x="326125" y="35853"/>
                  </a:lnTo>
                  <a:close/>
                  <a:moveTo>
                    <a:pt x="342697" y="98816"/>
                  </a:moveTo>
                  <a:lnTo>
                    <a:pt x="171839" y="98816"/>
                  </a:lnTo>
                  <a:lnTo>
                    <a:pt x="151549" y="78535"/>
                  </a:lnTo>
                  <a:lnTo>
                    <a:pt x="7006" y="78535"/>
                  </a:lnTo>
                  <a:lnTo>
                    <a:pt x="78526" y="7006"/>
                  </a:lnTo>
                  <a:lnTo>
                    <a:pt x="250888" y="7006"/>
                  </a:lnTo>
                  <a:lnTo>
                    <a:pt x="342697" y="98816"/>
                  </a:lnTo>
                  <a:close/>
                  <a:moveTo>
                    <a:pt x="191055" y="35853"/>
                  </a:moveTo>
                  <a:lnTo>
                    <a:pt x="191055" y="41486"/>
                  </a:lnTo>
                  <a:lnTo>
                    <a:pt x="258585" y="41486"/>
                  </a:lnTo>
                  <a:lnTo>
                    <a:pt x="258585" y="35853"/>
                  </a:lnTo>
                  <a:lnTo>
                    <a:pt x="191055" y="35853"/>
                  </a:lnTo>
                  <a:close/>
                  <a:moveTo>
                    <a:pt x="55984" y="35853"/>
                  </a:moveTo>
                  <a:lnTo>
                    <a:pt x="55984" y="41486"/>
                  </a:lnTo>
                  <a:lnTo>
                    <a:pt x="123515" y="41486"/>
                  </a:lnTo>
                  <a:lnTo>
                    <a:pt x="123515" y="35853"/>
                  </a:lnTo>
                  <a:lnTo>
                    <a:pt x="55984" y="3585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7" name="Freeform: Shape 13406">
              <a:extLst>
                <a:ext uri="{FF2B5EF4-FFF2-40B4-BE49-F238E27FC236}">
                  <a16:creationId xmlns:a16="http://schemas.microsoft.com/office/drawing/2014/main" id="{4ED71919-2702-46E0-91AF-12DD42E224E8}"/>
                </a:ext>
              </a:extLst>
            </p:cNvPr>
            <p:cNvSpPr/>
            <p:nvPr/>
          </p:nvSpPr>
          <p:spPr bwMode="ltGray">
            <a:xfrm>
              <a:off x="3541545" y="3093280"/>
              <a:ext cx="127793" cy="105373"/>
            </a:xfrm>
            <a:custGeom>
              <a:avLst/>
              <a:gdLst>
                <a:gd name="connsiteX0" fmla="*/ 122403 w 127793"/>
                <a:gd name="connsiteY0" fmla="*/ 98816 h 105373"/>
                <a:gd name="connsiteX1" fmla="*/ 98816 w 127793"/>
                <a:gd name="connsiteY1" fmla="*/ 98816 h 105373"/>
                <a:gd name="connsiteX2" fmla="*/ 7006 w 127793"/>
                <a:gd name="connsiteY2" fmla="*/ 7006 h 105373"/>
                <a:gd name="connsiteX3" fmla="*/ 30594 w 127793"/>
                <a:gd name="connsiteY3" fmla="*/ 7006 h 105373"/>
                <a:gd name="connsiteX4" fmla="*/ 122403 w 127793"/>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105373">
                  <a:moveTo>
                    <a:pt x="122403" y="98816"/>
                  </a:moveTo>
                  <a:lnTo>
                    <a:pt x="98816" y="98816"/>
                  </a:lnTo>
                  <a:lnTo>
                    <a:pt x="7006" y="7006"/>
                  </a:lnTo>
                  <a:lnTo>
                    <a:pt x="30594" y="7006"/>
                  </a:lnTo>
                  <a:lnTo>
                    <a:pt x="122403"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8" name="Freeform: Shape 13407">
              <a:extLst>
                <a:ext uri="{FF2B5EF4-FFF2-40B4-BE49-F238E27FC236}">
                  <a16:creationId xmlns:a16="http://schemas.microsoft.com/office/drawing/2014/main" id="{3AA3C661-A383-4F27-8E8B-DEB69AF02F38}"/>
                </a:ext>
              </a:extLst>
            </p:cNvPr>
            <p:cNvSpPr/>
            <p:nvPr/>
          </p:nvSpPr>
          <p:spPr bwMode="ltGray">
            <a:xfrm>
              <a:off x="3677746" y="3093280"/>
              <a:ext cx="134519" cy="13452"/>
            </a:xfrm>
            <a:custGeom>
              <a:avLst/>
              <a:gdLst>
                <a:gd name="connsiteX0" fmla="*/ 129064 w 134519"/>
                <a:gd name="connsiteY0" fmla="*/ 7137 h 13451"/>
                <a:gd name="connsiteX1" fmla="*/ 7137 w 134519"/>
                <a:gd name="connsiteY1" fmla="*/ 7137 h 13451"/>
                <a:gd name="connsiteX2" fmla="*/ 7006 w 134519"/>
                <a:gd name="connsiteY2" fmla="*/ 7006 h 13451"/>
                <a:gd name="connsiteX3" fmla="*/ 129185 w 134519"/>
                <a:gd name="connsiteY3" fmla="*/ 7006 h 13451"/>
                <a:gd name="connsiteX4" fmla="*/ 129064 w 134519"/>
                <a:gd name="connsiteY4" fmla="*/ 7137 h 13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3451">
                  <a:moveTo>
                    <a:pt x="129064" y="7137"/>
                  </a:moveTo>
                  <a:lnTo>
                    <a:pt x="7137" y="7137"/>
                  </a:lnTo>
                  <a:lnTo>
                    <a:pt x="7006" y="7006"/>
                  </a:lnTo>
                  <a:lnTo>
                    <a:pt x="129185" y="7006"/>
                  </a:lnTo>
                  <a:lnTo>
                    <a:pt x="129064" y="713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9" name="Freeform: Shape 13408">
              <a:extLst>
                <a:ext uri="{FF2B5EF4-FFF2-40B4-BE49-F238E27FC236}">
                  <a16:creationId xmlns:a16="http://schemas.microsoft.com/office/drawing/2014/main" id="{99EAC45B-D4F3-4CED-AA8F-755B856387A3}"/>
                </a:ext>
              </a:extLst>
            </p:cNvPr>
            <p:cNvSpPr/>
            <p:nvPr/>
          </p:nvSpPr>
          <p:spPr bwMode="ltGray">
            <a:xfrm>
              <a:off x="3277374" y="3181689"/>
              <a:ext cx="174875" cy="15694"/>
            </a:xfrm>
            <a:custGeom>
              <a:avLst/>
              <a:gdLst>
                <a:gd name="connsiteX0" fmla="*/ 168252 w 174874"/>
                <a:gd name="connsiteY0" fmla="*/ 10407 h 15693"/>
                <a:gd name="connsiteX1" fmla="*/ 7006 w 174874"/>
                <a:gd name="connsiteY1" fmla="*/ 10407 h 15693"/>
                <a:gd name="connsiteX2" fmla="*/ 10407 w 174874"/>
                <a:gd name="connsiteY2" fmla="*/ 7006 h 15693"/>
                <a:gd name="connsiteX3" fmla="*/ 164842 w 174874"/>
                <a:gd name="connsiteY3" fmla="*/ 7006 h 15693"/>
                <a:gd name="connsiteX4" fmla="*/ 168252 w 174874"/>
                <a:gd name="connsiteY4" fmla="*/ 10407 h 15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5693">
                  <a:moveTo>
                    <a:pt x="168252" y="10407"/>
                  </a:moveTo>
                  <a:lnTo>
                    <a:pt x="7006" y="10407"/>
                  </a:lnTo>
                  <a:lnTo>
                    <a:pt x="10407" y="7006"/>
                  </a:lnTo>
                  <a:lnTo>
                    <a:pt x="164842" y="7006"/>
                  </a:lnTo>
                  <a:lnTo>
                    <a:pt x="168252" y="10407"/>
                  </a:lnTo>
                  <a:close/>
                </a:path>
              </a:pathLst>
            </a:custGeom>
            <a:solidFill>
              <a:srgbClr val="1C1D20"/>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0" name="Freeform: Shape 13409">
              <a:extLst>
                <a:ext uri="{FF2B5EF4-FFF2-40B4-BE49-F238E27FC236}">
                  <a16:creationId xmlns:a16="http://schemas.microsoft.com/office/drawing/2014/main" id="{F58B21E5-6CDE-4112-98D3-DF7192C9ED1C}"/>
                </a:ext>
              </a:extLst>
            </p:cNvPr>
            <p:cNvSpPr/>
            <p:nvPr/>
          </p:nvSpPr>
          <p:spPr bwMode="ltGray">
            <a:xfrm>
              <a:off x="3280774" y="3164808"/>
              <a:ext cx="195053" cy="33630"/>
            </a:xfrm>
            <a:custGeom>
              <a:avLst/>
              <a:gdLst>
                <a:gd name="connsiteX0" fmla="*/ 188729 w 195052"/>
                <a:gd name="connsiteY0" fmla="*/ 27287 h 33629"/>
                <a:gd name="connsiteX1" fmla="*/ 164852 w 195052"/>
                <a:gd name="connsiteY1" fmla="*/ 27287 h 33629"/>
                <a:gd name="connsiteX2" fmla="*/ 161442 w 195052"/>
                <a:gd name="connsiteY2" fmla="*/ 23886 h 33629"/>
                <a:gd name="connsiteX3" fmla="*/ 7006 w 195052"/>
                <a:gd name="connsiteY3" fmla="*/ 23886 h 33629"/>
                <a:gd name="connsiteX4" fmla="*/ 23896 w 195052"/>
                <a:gd name="connsiteY4" fmla="*/ 7006 h 33629"/>
                <a:gd name="connsiteX5" fmla="*/ 168438 w 195052"/>
                <a:gd name="connsiteY5" fmla="*/ 7006 h 33629"/>
                <a:gd name="connsiteX6" fmla="*/ 188729 w 195052"/>
                <a:gd name="connsiteY6" fmla="*/ 27287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52" h="33629">
                  <a:moveTo>
                    <a:pt x="188729" y="27287"/>
                  </a:moveTo>
                  <a:lnTo>
                    <a:pt x="164852" y="27287"/>
                  </a:lnTo>
                  <a:lnTo>
                    <a:pt x="161442" y="23886"/>
                  </a:lnTo>
                  <a:lnTo>
                    <a:pt x="7006" y="23886"/>
                  </a:lnTo>
                  <a:lnTo>
                    <a:pt x="23896" y="7006"/>
                  </a:lnTo>
                  <a:lnTo>
                    <a:pt x="168438" y="7006"/>
                  </a:lnTo>
                  <a:lnTo>
                    <a:pt x="188729" y="272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1" name="Freeform: Shape 13410">
              <a:extLst>
                <a:ext uri="{FF2B5EF4-FFF2-40B4-BE49-F238E27FC236}">
                  <a16:creationId xmlns:a16="http://schemas.microsoft.com/office/drawing/2014/main" id="{E4D4F69B-1D8B-4B4F-A204-731089AB74FD}"/>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2" name="Freeform: Shape 13411">
              <a:extLst>
                <a:ext uri="{FF2B5EF4-FFF2-40B4-BE49-F238E27FC236}">
                  <a16:creationId xmlns:a16="http://schemas.microsoft.com/office/drawing/2014/main" id="{A6870F9B-22C2-47CC-9F24-23807B44E3ED}"/>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3" name="Freeform: Shape 13412">
              <a:extLst>
                <a:ext uri="{FF2B5EF4-FFF2-40B4-BE49-F238E27FC236}">
                  <a16:creationId xmlns:a16="http://schemas.microsoft.com/office/drawing/2014/main" id="{0CAFD6A4-3232-4EB6-A264-2F91238D320B}"/>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4" name="Freeform: Shape 13413">
              <a:extLst>
                <a:ext uri="{FF2B5EF4-FFF2-40B4-BE49-F238E27FC236}">
                  <a16:creationId xmlns:a16="http://schemas.microsoft.com/office/drawing/2014/main" id="{8064DD60-D0CC-4DC1-A3DE-B9BCC9341C55}"/>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5" name="Freeform: Shape 13414">
              <a:extLst>
                <a:ext uri="{FF2B5EF4-FFF2-40B4-BE49-F238E27FC236}">
                  <a16:creationId xmlns:a16="http://schemas.microsoft.com/office/drawing/2014/main" id="{F3CA9C4E-806E-4B41-8D4F-D0E281109B11}"/>
                </a:ext>
              </a:extLst>
            </p:cNvPr>
            <p:cNvSpPr/>
            <p:nvPr/>
          </p:nvSpPr>
          <p:spPr bwMode="ltGray">
            <a:xfrm>
              <a:off x="2770414" y="2931688"/>
              <a:ext cx="562739" cy="266796"/>
            </a:xfrm>
            <a:custGeom>
              <a:avLst/>
              <a:gdLst>
                <a:gd name="connsiteX0" fmla="*/ 465278 w 562738"/>
                <a:gd name="connsiteY0" fmla="*/ 260407 h 266796"/>
                <a:gd name="connsiteX1" fmla="*/ 248739 w 562738"/>
                <a:gd name="connsiteY1" fmla="*/ 260407 h 266796"/>
                <a:gd name="connsiteX2" fmla="*/ 245330 w 562738"/>
                <a:gd name="connsiteY2" fmla="*/ 257007 h 266796"/>
                <a:gd name="connsiteX3" fmla="*/ 468688 w 562738"/>
                <a:gd name="connsiteY3" fmla="*/ 257007 h 266796"/>
                <a:gd name="connsiteX4" fmla="*/ 465278 w 562738"/>
                <a:gd name="connsiteY4" fmla="*/ 260407 h 266796"/>
                <a:gd name="connsiteX5" fmla="*/ 485568 w 562738"/>
                <a:gd name="connsiteY5" fmla="*/ 240126 h 266796"/>
                <a:gd name="connsiteX6" fmla="*/ 228449 w 562738"/>
                <a:gd name="connsiteY6" fmla="*/ 240126 h 266796"/>
                <a:gd name="connsiteX7" fmla="*/ 191401 w 562738"/>
                <a:gd name="connsiteY7" fmla="*/ 203078 h 266796"/>
                <a:gd name="connsiteX8" fmla="*/ 245554 w 562738"/>
                <a:gd name="connsiteY8" fmla="*/ 203078 h 266796"/>
                <a:gd name="connsiteX9" fmla="*/ 245554 w 562738"/>
                <a:gd name="connsiteY9" fmla="*/ 197445 h 266796"/>
                <a:gd name="connsiteX10" fmla="*/ 185777 w 562738"/>
                <a:gd name="connsiteY10" fmla="*/ 197445 h 266796"/>
                <a:gd name="connsiteX11" fmla="*/ 51117 w 562738"/>
                <a:gd name="connsiteY11" fmla="*/ 62785 h 266796"/>
                <a:gd name="connsiteX12" fmla="*/ 180947 w 562738"/>
                <a:gd name="connsiteY12" fmla="*/ 62785 h 266796"/>
                <a:gd name="connsiteX13" fmla="*/ 286760 w 562738"/>
                <a:gd name="connsiteY13" fmla="*/ 168598 h 266796"/>
                <a:gd name="connsiteX14" fmla="*/ 557097 w 562738"/>
                <a:gd name="connsiteY14" fmla="*/ 168598 h 266796"/>
                <a:gd name="connsiteX15" fmla="*/ 485568 w 562738"/>
                <a:gd name="connsiteY15" fmla="*/ 240126 h 266796"/>
                <a:gd name="connsiteX16" fmla="*/ 448155 w 562738"/>
                <a:gd name="connsiteY16" fmla="*/ 197445 h 266796"/>
                <a:gd name="connsiteX17" fmla="*/ 448155 w 562738"/>
                <a:gd name="connsiteY17" fmla="*/ 203078 h 266796"/>
                <a:gd name="connsiteX18" fmla="*/ 515695 w 562738"/>
                <a:gd name="connsiteY18" fmla="*/ 203078 h 266796"/>
                <a:gd name="connsiteX19" fmla="*/ 515695 w 562738"/>
                <a:gd name="connsiteY19" fmla="*/ 197445 h 266796"/>
                <a:gd name="connsiteX20" fmla="*/ 448155 w 562738"/>
                <a:gd name="connsiteY20" fmla="*/ 197445 h 266796"/>
                <a:gd name="connsiteX21" fmla="*/ 313084 w 562738"/>
                <a:gd name="connsiteY21" fmla="*/ 197445 h 266796"/>
                <a:gd name="connsiteX22" fmla="*/ 313084 w 562738"/>
                <a:gd name="connsiteY22" fmla="*/ 203078 h 266796"/>
                <a:gd name="connsiteX23" fmla="*/ 380624 w 562738"/>
                <a:gd name="connsiteY23" fmla="*/ 203078 h 266796"/>
                <a:gd name="connsiteX24" fmla="*/ 380624 w 562738"/>
                <a:gd name="connsiteY24" fmla="*/ 197445 h 266796"/>
                <a:gd name="connsiteX25" fmla="*/ 313084 w 562738"/>
                <a:gd name="connsiteY25" fmla="*/ 197445 h 266796"/>
                <a:gd name="connsiteX26" fmla="*/ 41860 w 562738"/>
                <a:gd name="connsiteY26" fmla="*/ 53537 h 266796"/>
                <a:gd name="connsiteX27" fmla="*/ 7006 w 562738"/>
                <a:gd name="connsiteY27" fmla="*/ 18674 h 266796"/>
                <a:gd name="connsiteX28" fmla="*/ 18665 w 562738"/>
                <a:gd name="connsiteY28" fmla="*/ 7006 h 266796"/>
                <a:gd name="connsiteX29" fmla="*/ 125178 w 562738"/>
                <a:gd name="connsiteY29" fmla="*/ 7006 h 266796"/>
                <a:gd name="connsiteX30" fmla="*/ 164263 w 562738"/>
                <a:gd name="connsiteY30" fmla="*/ 46101 h 266796"/>
                <a:gd name="connsiteX31" fmla="*/ 41860 w 562738"/>
                <a:gd name="connsiteY31" fmla="*/ 46101 h 266796"/>
                <a:gd name="connsiteX32" fmla="*/ 41860 w 562738"/>
                <a:gd name="connsiteY32" fmla="*/ 53537 h 26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2738" h="266796">
                  <a:moveTo>
                    <a:pt x="465278" y="260407"/>
                  </a:moveTo>
                  <a:lnTo>
                    <a:pt x="248739" y="260407"/>
                  </a:lnTo>
                  <a:lnTo>
                    <a:pt x="245330" y="257007"/>
                  </a:lnTo>
                  <a:lnTo>
                    <a:pt x="468688" y="257007"/>
                  </a:lnTo>
                  <a:lnTo>
                    <a:pt x="465278" y="260407"/>
                  </a:lnTo>
                  <a:close/>
                  <a:moveTo>
                    <a:pt x="485568" y="240126"/>
                  </a:moveTo>
                  <a:lnTo>
                    <a:pt x="228449" y="240126"/>
                  </a:lnTo>
                  <a:lnTo>
                    <a:pt x="191401" y="203078"/>
                  </a:lnTo>
                  <a:lnTo>
                    <a:pt x="245554" y="203078"/>
                  </a:lnTo>
                  <a:lnTo>
                    <a:pt x="245554" y="197445"/>
                  </a:lnTo>
                  <a:lnTo>
                    <a:pt x="185777" y="197445"/>
                  </a:lnTo>
                  <a:lnTo>
                    <a:pt x="51117" y="62785"/>
                  </a:lnTo>
                  <a:lnTo>
                    <a:pt x="180947" y="62785"/>
                  </a:lnTo>
                  <a:lnTo>
                    <a:pt x="286760" y="168598"/>
                  </a:lnTo>
                  <a:lnTo>
                    <a:pt x="557097" y="168598"/>
                  </a:lnTo>
                  <a:lnTo>
                    <a:pt x="485568" y="240126"/>
                  </a:lnTo>
                  <a:close/>
                  <a:moveTo>
                    <a:pt x="448155" y="197445"/>
                  </a:moveTo>
                  <a:lnTo>
                    <a:pt x="448155" y="203078"/>
                  </a:lnTo>
                  <a:lnTo>
                    <a:pt x="515695" y="203078"/>
                  </a:lnTo>
                  <a:lnTo>
                    <a:pt x="515695" y="197445"/>
                  </a:lnTo>
                  <a:lnTo>
                    <a:pt x="448155" y="197445"/>
                  </a:lnTo>
                  <a:close/>
                  <a:moveTo>
                    <a:pt x="313084" y="197445"/>
                  </a:moveTo>
                  <a:lnTo>
                    <a:pt x="313084" y="203078"/>
                  </a:lnTo>
                  <a:lnTo>
                    <a:pt x="380624" y="203078"/>
                  </a:lnTo>
                  <a:lnTo>
                    <a:pt x="380624" y="197445"/>
                  </a:lnTo>
                  <a:lnTo>
                    <a:pt x="313084" y="197445"/>
                  </a:lnTo>
                  <a:close/>
                  <a:moveTo>
                    <a:pt x="41860" y="53537"/>
                  </a:moveTo>
                  <a:lnTo>
                    <a:pt x="7006" y="18674"/>
                  </a:lnTo>
                  <a:lnTo>
                    <a:pt x="18665" y="7006"/>
                  </a:lnTo>
                  <a:lnTo>
                    <a:pt x="125178" y="7006"/>
                  </a:lnTo>
                  <a:lnTo>
                    <a:pt x="164263" y="46101"/>
                  </a:lnTo>
                  <a:lnTo>
                    <a:pt x="41860" y="46101"/>
                  </a:lnTo>
                  <a:lnTo>
                    <a:pt x="41860" y="5353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6" name="Freeform: Shape 13415">
              <a:extLst>
                <a:ext uri="{FF2B5EF4-FFF2-40B4-BE49-F238E27FC236}">
                  <a16:creationId xmlns:a16="http://schemas.microsoft.com/office/drawing/2014/main" id="{06314DBA-124E-49CB-81D4-557C52418B3E}"/>
                </a:ext>
              </a:extLst>
            </p:cNvPr>
            <p:cNvSpPr/>
            <p:nvPr/>
          </p:nvSpPr>
          <p:spPr bwMode="ltGray">
            <a:xfrm>
              <a:off x="2805267" y="2970783"/>
              <a:ext cx="152455" cy="29146"/>
            </a:xfrm>
            <a:custGeom>
              <a:avLst/>
              <a:gdLst>
                <a:gd name="connsiteX0" fmla="*/ 146094 w 152455"/>
                <a:gd name="connsiteY0" fmla="*/ 23690 h 29145"/>
                <a:gd name="connsiteX1" fmla="*/ 16264 w 152455"/>
                <a:gd name="connsiteY1" fmla="*/ 23690 h 29145"/>
                <a:gd name="connsiteX2" fmla="*/ 7006 w 152455"/>
                <a:gd name="connsiteY2" fmla="*/ 14442 h 29145"/>
                <a:gd name="connsiteX3" fmla="*/ 7006 w 152455"/>
                <a:gd name="connsiteY3" fmla="*/ 7006 h 29145"/>
                <a:gd name="connsiteX4" fmla="*/ 129409 w 152455"/>
                <a:gd name="connsiteY4" fmla="*/ 7006 h 29145"/>
                <a:gd name="connsiteX5" fmla="*/ 146094 w 152455"/>
                <a:gd name="connsiteY5" fmla="*/ 23690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55" h="29145">
                  <a:moveTo>
                    <a:pt x="146094" y="23690"/>
                  </a:moveTo>
                  <a:lnTo>
                    <a:pt x="16264" y="23690"/>
                  </a:lnTo>
                  <a:lnTo>
                    <a:pt x="7006" y="14442"/>
                  </a:lnTo>
                  <a:lnTo>
                    <a:pt x="7006" y="7006"/>
                  </a:lnTo>
                  <a:lnTo>
                    <a:pt x="129409" y="7006"/>
                  </a:lnTo>
                  <a:lnTo>
                    <a:pt x="146094" y="236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7" name="Freeform: Shape 13416">
              <a:extLst>
                <a:ext uri="{FF2B5EF4-FFF2-40B4-BE49-F238E27FC236}">
                  <a16:creationId xmlns:a16="http://schemas.microsoft.com/office/drawing/2014/main" id="{FC07BC4C-2A01-48FA-93E3-1AE307550047}"/>
                </a:ext>
              </a:extLst>
            </p:cNvPr>
            <p:cNvSpPr/>
            <p:nvPr/>
          </p:nvSpPr>
          <p:spPr bwMode="ltGray">
            <a:xfrm>
              <a:off x="2782072" y="2878441"/>
              <a:ext cx="118825" cy="65018"/>
            </a:xfrm>
            <a:custGeom>
              <a:avLst/>
              <a:gdLst>
                <a:gd name="connsiteX0" fmla="*/ 113519 w 118825"/>
                <a:gd name="connsiteY0" fmla="*/ 60253 h 65017"/>
                <a:gd name="connsiteX1" fmla="*/ 7006 w 118825"/>
                <a:gd name="connsiteY1" fmla="*/ 60253 h 65017"/>
                <a:gd name="connsiteX2" fmla="*/ 60263 w 118825"/>
                <a:gd name="connsiteY2" fmla="*/ 7006 h 65017"/>
                <a:gd name="connsiteX3" fmla="*/ 113519 w 118825"/>
                <a:gd name="connsiteY3" fmla="*/ 60253 h 65017"/>
              </a:gdLst>
              <a:ahLst/>
              <a:cxnLst>
                <a:cxn ang="0">
                  <a:pos x="connsiteX0" y="connsiteY0"/>
                </a:cxn>
                <a:cxn ang="0">
                  <a:pos x="connsiteX1" y="connsiteY1"/>
                </a:cxn>
                <a:cxn ang="0">
                  <a:pos x="connsiteX2" y="connsiteY2"/>
                </a:cxn>
                <a:cxn ang="0">
                  <a:pos x="connsiteX3" y="connsiteY3"/>
                </a:cxn>
              </a:cxnLst>
              <a:rect l="l" t="t" r="r" b="b"/>
              <a:pathLst>
                <a:path w="118825" h="65017">
                  <a:moveTo>
                    <a:pt x="113519" y="60253"/>
                  </a:moveTo>
                  <a:lnTo>
                    <a:pt x="7006" y="60253"/>
                  </a:lnTo>
                  <a:lnTo>
                    <a:pt x="60263" y="7006"/>
                  </a:lnTo>
                  <a:lnTo>
                    <a:pt x="113519" y="602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8" name="Freeform: Shape 13417">
              <a:extLst>
                <a:ext uri="{FF2B5EF4-FFF2-40B4-BE49-F238E27FC236}">
                  <a16:creationId xmlns:a16="http://schemas.microsoft.com/office/drawing/2014/main" id="{BBB7FDCA-74FD-47BF-A57B-F7D0264FDC0B}"/>
                </a:ext>
              </a:extLst>
            </p:cNvPr>
            <p:cNvSpPr/>
            <p:nvPr/>
          </p:nvSpPr>
          <p:spPr bwMode="ltGray">
            <a:xfrm>
              <a:off x="2991857" y="3164808"/>
              <a:ext cx="269038" cy="29146"/>
            </a:xfrm>
            <a:custGeom>
              <a:avLst/>
              <a:gdLst>
                <a:gd name="connsiteX0" fmla="*/ 247245 w 269038"/>
                <a:gd name="connsiteY0" fmla="*/ 23886 h 29145"/>
                <a:gd name="connsiteX1" fmla="*/ 23887 w 269038"/>
                <a:gd name="connsiteY1" fmla="*/ 23886 h 29145"/>
                <a:gd name="connsiteX2" fmla="*/ 7006 w 269038"/>
                <a:gd name="connsiteY2" fmla="*/ 7006 h 29145"/>
                <a:gd name="connsiteX3" fmla="*/ 264125 w 269038"/>
                <a:gd name="connsiteY3" fmla="*/ 7006 h 29145"/>
                <a:gd name="connsiteX4" fmla="*/ 247245 w 269038"/>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38" h="29145">
                  <a:moveTo>
                    <a:pt x="247245" y="23886"/>
                  </a:moveTo>
                  <a:lnTo>
                    <a:pt x="23887" y="23886"/>
                  </a:lnTo>
                  <a:lnTo>
                    <a:pt x="7006" y="7006"/>
                  </a:lnTo>
                  <a:lnTo>
                    <a:pt x="264125" y="7006"/>
                  </a:lnTo>
                  <a:lnTo>
                    <a:pt x="24724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9" name="Freeform: Shape 13418">
              <a:extLst>
                <a:ext uri="{FF2B5EF4-FFF2-40B4-BE49-F238E27FC236}">
                  <a16:creationId xmlns:a16="http://schemas.microsoft.com/office/drawing/2014/main" id="{3108856E-5E4A-4ED8-8AF8-641E02BF657E}"/>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0" name="Freeform: Shape 13419">
              <a:extLst>
                <a:ext uri="{FF2B5EF4-FFF2-40B4-BE49-F238E27FC236}">
                  <a16:creationId xmlns:a16="http://schemas.microsoft.com/office/drawing/2014/main" id="{D117FD1C-BD12-4E50-9B2B-7013AEDA153F}"/>
                </a:ext>
              </a:extLst>
            </p:cNvPr>
            <p:cNvSpPr/>
            <p:nvPr/>
          </p:nvSpPr>
          <p:spPr bwMode="ltGray">
            <a:xfrm>
              <a:off x="2949184" y="3122127"/>
              <a:ext cx="71744" cy="17936"/>
            </a:xfrm>
            <a:custGeom>
              <a:avLst/>
              <a:gdLst>
                <a:gd name="connsiteX0" fmla="*/ 66783 w 71743"/>
                <a:gd name="connsiteY0" fmla="*/ 12639 h 17935"/>
                <a:gd name="connsiteX1" fmla="*/ 12630 w 71743"/>
                <a:gd name="connsiteY1" fmla="*/ 12639 h 17935"/>
                <a:gd name="connsiteX2" fmla="*/ 7006 w 71743"/>
                <a:gd name="connsiteY2" fmla="*/ 7006 h 17935"/>
                <a:gd name="connsiteX3" fmla="*/ 66783 w 71743"/>
                <a:gd name="connsiteY3" fmla="*/ 7006 h 17935"/>
                <a:gd name="connsiteX4" fmla="*/ 66783 w 71743"/>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17935">
                  <a:moveTo>
                    <a:pt x="66783" y="12639"/>
                  </a:moveTo>
                  <a:lnTo>
                    <a:pt x="12630" y="12639"/>
                  </a:lnTo>
                  <a:lnTo>
                    <a:pt x="7006" y="7006"/>
                  </a:lnTo>
                  <a:lnTo>
                    <a:pt x="66783" y="7006"/>
                  </a:lnTo>
                  <a:lnTo>
                    <a:pt x="66783"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1" name="Freeform: Shape 13420">
              <a:extLst>
                <a:ext uri="{FF2B5EF4-FFF2-40B4-BE49-F238E27FC236}">
                  <a16:creationId xmlns:a16="http://schemas.microsoft.com/office/drawing/2014/main" id="{04DDC2C7-EB75-4669-A4DE-09DAF6BC2BAE}"/>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2" name="Freeform: Shape 13421">
              <a:extLst>
                <a:ext uri="{FF2B5EF4-FFF2-40B4-BE49-F238E27FC236}">
                  <a16:creationId xmlns:a16="http://schemas.microsoft.com/office/drawing/2014/main" id="{5C8C4FB8-31C6-455A-B729-A1F433048BFB}"/>
                </a:ext>
              </a:extLst>
            </p:cNvPr>
            <p:cNvSpPr/>
            <p:nvPr/>
          </p:nvSpPr>
          <p:spPr bwMode="ltGray">
            <a:xfrm>
              <a:off x="329972" y="2822419"/>
              <a:ext cx="2502057" cy="105373"/>
            </a:xfrm>
            <a:custGeom>
              <a:avLst/>
              <a:gdLst>
                <a:gd name="connsiteX0" fmla="*/ 2409259 w 2502056"/>
                <a:gd name="connsiteY0" fmla="*/ 98816 h 105373"/>
                <a:gd name="connsiteX1" fmla="*/ 2354984 w 2502056"/>
                <a:gd name="connsiteY1" fmla="*/ 98816 h 105373"/>
                <a:gd name="connsiteX2" fmla="*/ 2301980 w 2502056"/>
                <a:gd name="connsiteY2" fmla="*/ 7006 h 105373"/>
                <a:gd name="connsiteX3" fmla="*/ 2456341 w 2502056"/>
                <a:gd name="connsiteY3" fmla="*/ 7006 h 105373"/>
                <a:gd name="connsiteX4" fmla="*/ 2496136 w 2502056"/>
                <a:gd name="connsiteY4" fmla="*/ 46792 h 105373"/>
                <a:gd name="connsiteX5" fmla="*/ 2482927 w 2502056"/>
                <a:gd name="connsiteY5" fmla="*/ 60001 h 105373"/>
                <a:gd name="connsiteX6" fmla="*/ 2409259 w 2502056"/>
                <a:gd name="connsiteY6" fmla="*/ 60001 h 105373"/>
                <a:gd name="connsiteX7" fmla="*/ 2409259 w 2502056"/>
                <a:gd name="connsiteY7" fmla="*/ 98816 h 105373"/>
                <a:gd name="connsiteX8" fmla="*/ 2335722 w 2502056"/>
                <a:gd name="connsiteY8" fmla="*/ 98816 h 105373"/>
                <a:gd name="connsiteX9" fmla="*/ 1558135 w 2502056"/>
                <a:gd name="connsiteY9" fmla="*/ 98816 h 105373"/>
                <a:gd name="connsiteX10" fmla="*/ 1611139 w 2502056"/>
                <a:gd name="connsiteY10" fmla="*/ 7006 h 105373"/>
                <a:gd name="connsiteX11" fmla="*/ 2282718 w 2502056"/>
                <a:gd name="connsiteY11" fmla="*/ 7006 h 105373"/>
                <a:gd name="connsiteX12" fmla="*/ 2335722 w 2502056"/>
                <a:gd name="connsiteY12" fmla="*/ 98816 h 105373"/>
                <a:gd name="connsiteX13" fmla="*/ 1538863 w 2502056"/>
                <a:gd name="connsiteY13" fmla="*/ 98816 h 105373"/>
                <a:gd name="connsiteX14" fmla="*/ 1114885 w 2502056"/>
                <a:gd name="connsiteY14" fmla="*/ 98816 h 105373"/>
                <a:gd name="connsiteX15" fmla="*/ 1026560 w 2502056"/>
                <a:gd name="connsiteY15" fmla="*/ 10491 h 105373"/>
                <a:gd name="connsiteX16" fmla="*/ 946091 w 2502056"/>
                <a:gd name="connsiteY16" fmla="*/ 10491 h 105373"/>
                <a:gd name="connsiteX17" fmla="*/ 948090 w 2502056"/>
                <a:gd name="connsiteY17" fmla="*/ 7006 h 105373"/>
                <a:gd name="connsiteX18" fmla="*/ 1591877 w 2502056"/>
                <a:gd name="connsiteY18" fmla="*/ 7006 h 105373"/>
                <a:gd name="connsiteX19" fmla="*/ 1538863 w 2502056"/>
                <a:gd name="connsiteY19" fmla="*/ 98816 h 105373"/>
                <a:gd name="connsiteX20" fmla="*/ 1107028 w 2502056"/>
                <a:gd name="connsiteY20" fmla="*/ 98816 h 105373"/>
                <a:gd name="connsiteX21" fmla="*/ 237277 w 2502056"/>
                <a:gd name="connsiteY21" fmla="*/ 98816 h 105373"/>
                <a:gd name="connsiteX22" fmla="*/ 320044 w 2502056"/>
                <a:gd name="connsiteY22" fmla="*/ 16049 h 105373"/>
                <a:gd name="connsiteX23" fmla="*/ 693335 w 2502056"/>
                <a:gd name="connsiteY23" fmla="*/ 16049 h 105373"/>
                <a:gd name="connsiteX24" fmla="*/ 817989 w 2502056"/>
                <a:gd name="connsiteY24" fmla="*/ 83701 h 105373"/>
                <a:gd name="connsiteX25" fmla="*/ 942635 w 2502056"/>
                <a:gd name="connsiteY25" fmla="*/ 16049 h 105373"/>
                <a:gd name="connsiteX26" fmla="*/ 1024262 w 2502056"/>
                <a:gd name="connsiteY26" fmla="*/ 16049 h 105373"/>
                <a:gd name="connsiteX27" fmla="*/ 1107028 w 2502056"/>
                <a:gd name="connsiteY27" fmla="*/ 98816 h 105373"/>
                <a:gd name="connsiteX28" fmla="*/ 229411 w 2502056"/>
                <a:gd name="connsiteY28" fmla="*/ 98816 h 105373"/>
                <a:gd name="connsiteX29" fmla="*/ 146140 w 2502056"/>
                <a:gd name="connsiteY29" fmla="*/ 98816 h 105373"/>
                <a:gd name="connsiteX30" fmla="*/ 237950 w 2502056"/>
                <a:gd name="connsiteY30" fmla="*/ 7006 h 105373"/>
                <a:gd name="connsiteX31" fmla="*/ 687879 w 2502056"/>
                <a:gd name="connsiteY31" fmla="*/ 7006 h 105373"/>
                <a:gd name="connsiteX32" fmla="*/ 689878 w 2502056"/>
                <a:gd name="connsiteY32" fmla="*/ 10491 h 105373"/>
                <a:gd name="connsiteX33" fmla="*/ 317736 w 2502056"/>
                <a:gd name="connsiteY33" fmla="*/ 10491 h 105373"/>
                <a:gd name="connsiteX34" fmla="*/ 229411 w 2502056"/>
                <a:gd name="connsiteY34" fmla="*/ 98816 h 105373"/>
                <a:gd name="connsiteX35" fmla="*/ 66550 w 2502056"/>
                <a:gd name="connsiteY35" fmla="*/ 98816 h 105373"/>
                <a:gd name="connsiteX36" fmla="*/ 7006 w 2502056"/>
                <a:gd name="connsiteY36" fmla="*/ 98816 h 105373"/>
                <a:gd name="connsiteX37" fmla="*/ 98816 w 2502056"/>
                <a:gd name="connsiteY37" fmla="*/ 7006 h 105373"/>
                <a:gd name="connsiteX38" fmla="*/ 158359 w 2502056"/>
                <a:gd name="connsiteY38" fmla="*/ 7006 h 105373"/>
                <a:gd name="connsiteX39" fmla="*/ 66550 w 2502056"/>
                <a:gd name="connsiteY39" fmla="*/ 98816 h 105373"/>
                <a:gd name="connsiteX40" fmla="*/ 817989 w 2502056"/>
                <a:gd name="connsiteY40" fmla="*/ 55564 h 105373"/>
                <a:gd name="connsiteX41" fmla="*/ 728786 w 2502056"/>
                <a:gd name="connsiteY41" fmla="*/ 16049 h 105373"/>
                <a:gd name="connsiteX42" fmla="*/ 907183 w 2502056"/>
                <a:gd name="connsiteY42" fmla="*/ 16049 h 105373"/>
                <a:gd name="connsiteX43" fmla="*/ 817989 w 2502056"/>
                <a:gd name="connsiteY43" fmla="*/ 55564 h 105373"/>
                <a:gd name="connsiteX44" fmla="*/ 911947 w 2502056"/>
                <a:gd name="connsiteY44" fmla="*/ 10491 h 105373"/>
                <a:gd name="connsiteX45" fmla="*/ 724022 w 2502056"/>
                <a:gd name="connsiteY45" fmla="*/ 10491 h 105373"/>
                <a:gd name="connsiteX46" fmla="*/ 721322 w 2502056"/>
                <a:gd name="connsiteY46" fmla="*/ 7006 h 105373"/>
                <a:gd name="connsiteX47" fmla="*/ 914647 w 2502056"/>
                <a:gd name="connsiteY47" fmla="*/ 7006 h 105373"/>
                <a:gd name="connsiteX48" fmla="*/ 911947 w 2502056"/>
                <a:gd name="connsiteY48" fmla="*/ 10491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02056" h="105373">
                  <a:moveTo>
                    <a:pt x="2409259" y="98816"/>
                  </a:moveTo>
                  <a:lnTo>
                    <a:pt x="2354984" y="98816"/>
                  </a:lnTo>
                  <a:lnTo>
                    <a:pt x="2301980" y="7006"/>
                  </a:lnTo>
                  <a:lnTo>
                    <a:pt x="2456341" y="7006"/>
                  </a:lnTo>
                  <a:lnTo>
                    <a:pt x="2496136" y="46792"/>
                  </a:lnTo>
                  <a:lnTo>
                    <a:pt x="2482927" y="60001"/>
                  </a:lnTo>
                  <a:lnTo>
                    <a:pt x="2409259" y="60001"/>
                  </a:lnTo>
                  <a:lnTo>
                    <a:pt x="2409259" y="98816"/>
                  </a:lnTo>
                  <a:close/>
                  <a:moveTo>
                    <a:pt x="2335722" y="98816"/>
                  </a:moveTo>
                  <a:lnTo>
                    <a:pt x="1558135" y="98816"/>
                  </a:lnTo>
                  <a:lnTo>
                    <a:pt x="1611139" y="7006"/>
                  </a:lnTo>
                  <a:lnTo>
                    <a:pt x="2282718" y="7006"/>
                  </a:lnTo>
                  <a:lnTo>
                    <a:pt x="2335722" y="98816"/>
                  </a:lnTo>
                  <a:close/>
                  <a:moveTo>
                    <a:pt x="1538863" y="98816"/>
                  </a:moveTo>
                  <a:lnTo>
                    <a:pt x="1114885" y="98816"/>
                  </a:lnTo>
                  <a:lnTo>
                    <a:pt x="1026560" y="10491"/>
                  </a:lnTo>
                  <a:lnTo>
                    <a:pt x="946091" y="10491"/>
                  </a:lnTo>
                  <a:cubicBezTo>
                    <a:pt x="946773" y="9332"/>
                    <a:pt x="947436" y="8174"/>
                    <a:pt x="948090" y="7006"/>
                  </a:cubicBezTo>
                  <a:lnTo>
                    <a:pt x="1591877" y="7006"/>
                  </a:lnTo>
                  <a:lnTo>
                    <a:pt x="1538863" y="98816"/>
                  </a:lnTo>
                  <a:close/>
                  <a:moveTo>
                    <a:pt x="1107028" y="98816"/>
                  </a:moveTo>
                  <a:lnTo>
                    <a:pt x="237277" y="98816"/>
                  </a:lnTo>
                  <a:lnTo>
                    <a:pt x="320044" y="16049"/>
                  </a:lnTo>
                  <a:lnTo>
                    <a:pt x="693335" y="16049"/>
                  </a:lnTo>
                  <a:cubicBezTo>
                    <a:pt x="719912" y="56750"/>
                    <a:pt x="765863" y="83701"/>
                    <a:pt x="817989" y="83701"/>
                  </a:cubicBezTo>
                  <a:cubicBezTo>
                    <a:pt x="870106" y="83701"/>
                    <a:pt x="916067" y="56750"/>
                    <a:pt x="942635" y="16049"/>
                  </a:cubicBezTo>
                  <a:lnTo>
                    <a:pt x="1024262" y="16049"/>
                  </a:lnTo>
                  <a:lnTo>
                    <a:pt x="1107028" y="98816"/>
                  </a:lnTo>
                  <a:close/>
                  <a:moveTo>
                    <a:pt x="229411" y="98816"/>
                  </a:moveTo>
                  <a:lnTo>
                    <a:pt x="146140" y="98816"/>
                  </a:lnTo>
                  <a:lnTo>
                    <a:pt x="237950" y="7006"/>
                  </a:lnTo>
                  <a:lnTo>
                    <a:pt x="687879" y="7006"/>
                  </a:lnTo>
                  <a:cubicBezTo>
                    <a:pt x="688533" y="8174"/>
                    <a:pt x="689196" y="9332"/>
                    <a:pt x="689878" y="10491"/>
                  </a:cubicBezTo>
                  <a:lnTo>
                    <a:pt x="317736" y="10491"/>
                  </a:lnTo>
                  <a:lnTo>
                    <a:pt x="229411" y="98816"/>
                  </a:lnTo>
                  <a:close/>
                  <a:moveTo>
                    <a:pt x="66550" y="98816"/>
                  </a:moveTo>
                  <a:lnTo>
                    <a:pt x="7006" y="98816"/>
                  </a:lnTo>
                  <a:lnTo>
                    <a:pt x="98816" y="7006"/>
                  </a:lnTo>
                  <a:lnTo>
                    <a:pt x="158359" y="7006"/>
                  </a:lnTo>
                  <a:lnTo>
                    <a:pt x="66550" y="98816"/>
                  </a:lnTo>
                  <a:close/>
                  <a:moveTo>
                    <a:pt x="817989" y="55564"/>
                  </a:moveTo>
                  <a:cubicBezTo>
                    <a:pt x="782678" y="55564"/>
                    <a:pt x="750861" y="40309"/>
                    <a:pt x="728786" y="16049"/>
                  </a:cubicBezTo>
                  <a:lnTo>
                    <a:pt x="907183" y="16049"/>
                  </a:lnTo>
                  <a:cubicBezTo>
                    <a:pt x="885109" y="40309"/>
                    <a:pt x="853291" y="55564"/>
                    <a:pt x="817989" y="55564"/>
                  </a:cubicBezTo>
                  <a:close/>
                  <a:moveTo>
                    <a:pt x="911947" y="10491"/>
                  </a:moveTo>
                  <a:lnTo>
                    <a:pt x="724022" y="10491"/>
                  </a:lnTo>
                  <a:cubicBezTo>
                    <a:pt x="723097" y="9342"/>
                    <a:pt x="722200" y="8183"/>
                    <a:pt x="721322" y="7006"/>
                  </a:cubicBezTo>
                  <a:lnTo>
                    <a:pt x="914647" y="7006"/>
                  </a:lnTo>
                  <a:cubicBezTo>
                    <a:pt x="913769" y="8183"/>
                    <a:pt x="912872" y="9342"/>
                    <a:pt x="911947" y="10491"/>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3" name="Freeform: Shape 13422">
              <a:extLst>
                <a:ext uri="{FF2B5EF4-FFF2-40B4-BE49-F238E27FC236}">
                  <a16:creationId xmlns:a16="http://schemas.microsoft.com/office/drawing/2014/main" id="{F381DAF0-C860-46C9-BDFB-B78EC0138658}"/>
                </a:ext>
              </a:extLst>
            </p:cNvPr>
            <p:cNvSpPr/>
            <p:nvPr/>
          </p:nvSpPr>
          <p:spPr bwMode="ltGray">
            <a:xfrm>
              <a:off x="1861829" y="2822419"/>
              <a:ext cx="829535" cy="105373"/>
            </a:xfrm>
            <a:custGeom>
              <a:avLst/>
              <a:gdLst>
                <a:gd name="connsiteX0" fmla="*/ 823127 w 829534"/>
                <a:gd name="connsiteY0" fmla="*/ 98816 h 105373"/>
                <a:gd name="connsiteX1" fmla="*/ 803865 w 829534"/>
                <a:gd name="connsiteY1" fmla="*/ 98816 h 105373"/>
                <a:gd name="connsiteX2" fmla="*/ 750861 w 829534"/>
                <a:gd name="connsiteY2" fmla="*/ 7006 h 105373"/>
                <a:gd name="connsiteX3" fmla="*/ 770123 w 829534"/>
                <a:gd name="connsiteY3" fmla="*/ 7006 h 105373"/>
                <a:gd name="connsiteX4" fmla="*/ 823127 w 829534"/>
                <a:gd name="connsiteY4" fmla="*/ 98816 h 105373"/>
                <a:gd name="connsiteX5" fmla="*/ 26278 w 829534"/>
                <a:gd name="connsiteY5" fmla="*/ 98816 h 105373"/>
                <a:gd name="connsiteX6" fmla="*/ 7006 w 829534"/>
                <a:gd name="connsiteY6" fmla="*/ 98816 h 105373"/>
                <a:gd name="connsiteX7" fmla="*/ 60020 w 829534"/>
                <a:gd name="connsiteY7" fmla="*/ 7006 h 105373"/>
                <a:gd name="connsiteX8" fmla="*/ 79282 w 829534"/>
                <a:gd name="connsiteY8" fmla="*/ 7006 h 105373"/>
                <a:gd name="connsiteX9" fmla="*/ 26278 w 829534"/>
                <a:gd name="connsiteY9"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534" h="105373">
                  <a:moveTo>
                    <a:pt x="823127" y="98816"/>
                  </a:moveTo>
                  <a:lnTo>
                    <a:pt x="803865" y="98816"/>
                  </a:lnTo>
                  <a:lnTo>
                    <a:pt x="750861" y="7006"/>
                  </a:lnTo>
                  <a:lnTo>
                    <a:pt x="770123" y="7006"/>
                  </a:lnTo>
                  <a:lnTo>
                    <a:pt x="823127" y="98816"/>
                  </a:lnTo>
                  <a:close/>
                  <a:moveTo>
                    <a:pt x="26278" y="98816"/>
                  </a:moveTo>
                  <a:lnTo>
                    <a:pt x="7006" y="98816"/>
                  </a:lnTo>
                  <a:lnTo>
                    <a:pt x="60020" y="7006"/>
                  </a:lnTo>
                  <a:lnTo>
                    <a:pt x="79282" y="7006"/>
                  </a:lnTo>
                  <a:lnTo>
                    <a:pt x="26278"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4" name="Freeform: Shape 13423">
              <a:extLst>
                <a:ext uri="{FF2B5EF4-FFF2-40B4-BE49-F238E27FC236}">
                  <a16:creationId xmlns:a16="http://schemas.microsoft.com/office/drawing/2014/main" id="{015711B7-9750-4D0A-A334-AEE0894F2B4B}"/>
                </a:ext>
              </a:extLst>
            </p:cNvPr>
            <p:cNvSpPr/>
            <p:nvPr/>
          </p:nvSpPr>
          <p:spPr bwMode="ltGray">
            <a:xfrm>
              <a:off x="552377" y="2825904"/>
              <a:ext cx="899037" cy="100889"/>
            </a:xfrm>
            <a:custGeom>
              <a:avLst/>
              <a:gdLst>
                <a:gd name="connsiteX0" fmla="*/ 892479 w 899036"/>
                <a:gd name="connsiteY0" fmla="*/ 95331 h 100889"/>
                <a:gd name="connsiteX1" fmla="*/ 884623 w 899036"/>
                <a:gd name="connsiteY1" fmla="*/ 95331 h 100889"/>
                <a:gd name="connsiteX2" fmla="*/ 801856 w 899036"/>
                <a:gd name="connsiteY2" fmla="*/ 12564 h 100889"/>
                <a:gd name="connsiteX3" fmla="*/ 720229 w 899036"/>
                <a:gd name="connsiteY3" fmla="*/ 12564 h 100889"/>
                <a:gd name="connsiteX4" fmla="*/ 723686 w 899036"/>
                <a:gd name="connsiteY4" fmla="*/ 7006 h 100889"/>
                <a:gd name="connsiteX5" fmla="*/ 804154 w 899036"/>
                <a:gd name="connsiteY5" fmla="*/ 7006 h 100889"/>
                <a:gd name="connsiteX6" fmla="*/ 892479 w 899036"/>
                <a:gd name="connsiteY6" fmla="*/ 95331 h 100889"/>
                <a:gd name="connsiteX7" fmla="*/ 14872 w 899036"/>
                <a:gd name="connsiteY7" fmla="*/ 95331 h 100889"/>
                <a:gd name="connsiteX8" fmla="*/ 7006 w 899036"/>
                <a:gd name="connsiteY8" fmla="*/ 95331 h 100889"/>
                <a:gd name="connsiteX9" fmla="*/ 95331 w 899036"/>
                <a:gd name="connsiteY9" fmla="*/ 7006 h 100889"/>
                <a:gd name="connsiteX10" fmla="*/ 467473 w 899036"/>
                <a:gd name="connsiteY10" fmla="*/ 7006 h 100889"/>
                <a:gd name="connsiteX11" fmla="*/ 470930 w 899036"/>
                <a:gd name="connsiteY11" fmla="*/ 12564 h 100889"/>
                <a:gd name="connsiteX12" fmla="*/ 97639 w 899036"/>
                <a:gd name="connsiteY12" fmla="*/ 12564 h 100889"/>
                <a:gd name="connsiteX13" fmla="*/ 14872 w 899036"/>
                <a:gd name="connsiteY13" fmla="*/ 95331 h 100889"/>
                <a:gd name="connsiteX14" fmla="*/ 684778 w 899036"/>
                <a:gd name="connsiteY14" fmla="*/ 12564 h 100889"/>
                <a:gd name="connsiteX15" fmla="*/ 506381 w 899036"/>
                <a:gd name="connsiteY15" fmla="*/ 12564 h 100889"/>
                <a:gd name="connsiteX16" fmla="*/ 501617 w 899036"/>
                <a:gd name="connsiteY16" fmla="*/ 7006 h 100889"/>
                <a:gd name="connsiteX17" fmla="*/ 689542 w 899036"/>
                <a:gd name="connsiteY17" fmla="*/ 7006 h 100889"/>
                <a:gd name="connsiteX18" fmla="*/ 684778 w 899036"/>
                <a:gd name="connsiteY18" fmla="*/ 12564 h 10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036" h="100889">
                  <a:moveTo>
                    <a:pt x="892479" y="95331"/>
                  </a:moveTo>
                  <a:lnTo>
                    <a:pt x="884623" y="95331"/>
                  </a:lnTo>
                  <a:lnTo>
                    <a:pt x="801856" y="12564"/>
                  </a:lnTo>
                  <a:lnTo>
                    <a:pt x="720229" y="12564"/>
                  </a:lnTo>
                  <a:cubicBezTo>
                    <a:pt x="721416" y="10743"/>
                    <a:pt x="722574" y="8884"/>
                    <a:pt x="723686" y="7006"/>
                  </a:cubicBezTo>
                  <a:lnTo>
                    <a:pt x="804154" y="7006"/>
                  </a:lnTo>
                  <a:lnTo>
                    <a:pt x="892479" y="95331"/>
                  </a:lnTo>
                  <a:close/>
                  <a:moveTo>
                    <a:pt x="14872" y="95331"/>
                  </a:moveTo>
                  <a:lnTo>
                    <a:pt x="7006" y="95331"/>
                  </a:lnTo>
                  <a:lnTo>
                    <a:pt x="95331" y="7006"/>
                  </a:lnTo>
                  <a:lnTo>
                    <a:pt x="467473" y="7006"/>
                  </a:lnTo>
                  <a:cubicBezTo>
                    <a:pt x="468585" y="8884"/>
                    <a:pt x="469743" y="10743"/>
                    <a:pt x="470930" y="12564"/>
                  </a:cubicBezTo>
                  <a:lnTo>
                    <a:pt x="97639" y="12564"/>
                  </a:lnTo>
                  <a:lnTo>
                    <a:pt x="14872" y="95331"/>
                  </a:lnTo>
                  <a:close/>
                  <a:moveTo>
                    <a:pt x="684778" y="12564"/>
                  </a:moveTo>
                  <a:lnTo>
                    <a:pt x="506381" y="12564"/>
                  </a:lnTo>
                  <a:cubicBezTo>
                    <a:pt x="504737" y="10762"/>
                    <a:pt x="503149" y="8903"/>
                    <a:pt x="501617" y="7006"/>
                  </a:cubicBezTo>
                  <a:lnTo>
                    <a:pt x="689542" y="7006"/>
                  </a:lnTo>
                  <a:cubicBezTo>
                    <a:pt x="688010" y="8903"/>
                    <a:pt x="686422" y="10762"/>
                    <a:pt x="684778" y="1256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5" name="Freeform: Shape 13424">
              <a:extLst>
                <a:ext uri="{FF2B5EF4-FFF2-40B4-BE49-F238E27FC236}">
                  <a16:creationId xmlns:a16="http://schemas.microsoft.com/office/drawing/2014/main" id="{842C9DA5-4ADE-404E-AE4A-7590F489A4A1}"/>
                </a:ext>
              </a:extLst>
            </p:cNvPr>
            <p:cNvSpPr/>
            <p:nvPr/>
          </p:nvSpPr>
          <p:spPr bwMode="ltGray">
            <a:xfrm>
              <a:off x="2732225" y="2875414"/>
              <a:ext cx="87437" cy="65018"/>
            </a:xfrm>
            <a:custGeom>
              <a:avLst/>
              <a:gdLst>
                <a:gd name="connsiteX0" fmla="*/ 28959 w 87437"/>
                <a:gd name="connsiteY0" fmla="*/ 58712 h 65017"/>
                <a:gd name="connsiteX1" fmla="*/ 16068 w 87437"/>
                <a:gd name="connsiteY1" fmla="*/ 45821 h 65017"/>
                <a:gd name="connsiteX2" fmla="*/ 7006 w 87437"/>
                <a:gd name="connsiteY2" fmla="*/ 45821 h 65017"/>
                <a:gd name="connsiteX3" fmla="*/ 7006 w 87437"/>
                <a:gd name="connsiteY3" fmla="*/ 7006 h 65017"/>
                <a:gd name="connsiteX4" fmla="*/ 80674 w 87437"/>
                <a:gd name="connsiteY4" fmla="*/ 7006 h 65017"/>
                <a:gd name="connsiteX5" fmla="*/ 28959 w 87437"/>
                <a:gd name="connsiteY5" fmla="*/ 58712 h 6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37" h="65017">
                  <a:moveTo>
                    <a:pt x="28959" y="58712"/>
                  </a:moveTo>
                  <a:lnTo>
                    <a:pt x="16068" y="45821"/>
                  </a:lnTo>
                  <a:lnTo>
                    <a:pt x="7006" y="45821"/>
                  </a:lnTo>
                  <a:lnTo>
                    <a:pt x="7006" y="7006"/>
                  </a:lnTo>
                  <a:lnTo>
                    <a:pt x="80674" y="7006"/>
                  </a:lnTo>
                  <a:lnTo>
                    <a:pt x="28959" y="587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6" name="Freeform: Shape 13425">
              <a:extLst>
                <a:ext uri="{FF2B5EF4-FFF2-40B4-BE49-F238E27FC236}">
                  <a16:creationId xmlns:a16="http://schemas.microsoft.com/office/drawing/2014/main" id="{8EA0C610-253C-4114-974A-E9DFDA1C3592}"/>
                </a:ext>
              </a:extLst>
            </p:cNvPr>
            <p:cNvSpPr/>
            <p:nvPr/>
          </p:nvSpPr>
          <p:spPr bwMode="ltGray">
            <a:xfrm>
              <a:off x="1010845" y="2822419"/>
              <a:ext cx="273522" cy="89679"/>
            </a:xfrm>
            <a:custGeom>
              <a:avLst/>
              <a:gdLst>
                <a:gd name="connsiteX0" fmla="*/ 137116 w 273522"/>
                <a:gd name="connsiteY0" fmla="*/ 83701 h 89679"/>
                <a:gd name="connsiteX1" fmla="*/ 12462 w 273522"/>
                <a:gd name="connsiteY1" fmla="*/ 16049 h 89679"/>
                <a:gd name="connsiteX2" fmla="*/ 9005 w 273522"/>
                <a:gd name="connsiteY2" fmla="*/ 10491 h 89679"/>
                <a:gd name="connsiteX3" fmla="*/ 7006 w 273522"/>
                <a:gd name="connsiteY3" fmla="*/ 7006 h 89679"/>
                <a:gd name="connsiteX4" fmla="*/ 40449 w 273522"/>
                <a:gd name="connsiteY4" fmla="*/ 7006 h 89679"/>
                <a:gd name="connsiteX5" fmla="*/ 43149 w 273522"/>
                <a:gd name="connsiteY5" fmla="*/ 10491 h 89679"/>
                <a:gd name="connsiteX6" fmla="*/ 47913 w 273522"/>
                <a:gd name="connsiteY6" fmla="*/ 16049 h 89679"/>
                <a:gd name="connsiteX7" fmla="*/ 137116 w 273522"/>
                <a:gd name="connsiteY7" fmla="*/ 55564 h 89679"/>
                <a:gd name="connsiteX8" fmla="*/ 226310 w 273522"/>
                <a:gd name="connsiteY8" fmla="*/ 16049 h 89679"/>
                <a:gd name="connsiteX9" fmla="*/ 231074 w 273522"/>
                <a:gd name="connsiteY9" fmla="*/ 10491 h 89679"/>
                <a:gd name="connsiteX10" fmla="*/ 233774 w 273522"/>
                <a:gd name="connsiteY10" fmla="*/ 7006 h 89679"/>
                <a:gd name="connsiteX11" fmla="*/ 267217 w 273522"/>
                <a:gd name="connsiteY11" fmla="*/ 7006 h 89679"/>
                <a:gd name="connsiteX12" fmla="*/ 265218 w 273522"/>
                <a:gd name="connsiteY12" fmla="*/ 10491 h 89679"/>
                <a:gd name="connsiteX13" fmla="*/ 261761 w 273522"/>
                <a:gd name="connsiteY13" fmla="*/ 16049 h 89679"/>
                <a:gd name="connsiteX14" fmla="*/ 137116 w 273522"/>
                <a:gd name="connsiteY14" fmla="*/ 83701 h 8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3522" h="89679">
                  <a:moveTo>
                    <a:pt x="137116" y="83701"/>
                  </a:moveTo>
                  <a:cubicBezTo>
                    <a:pt x="84990" y="83701"/>
                    <a:pt x="39039" y="56750"/>
                    <a:pt x="12462" y="16049"/>
                  </a:cubicBezTo>
                  <a:cubicBezTo>
                    <a:pt x="11275" y="14227"/>
                    <a:pt x="10117" y="12368"/>
                    <a:pt x="9005" y="10491"/>
                  </a:cubicBezTo>
                  <a:cubicBezTo>
                    <a:pt x="8323" y="9332"/>
                    <a:pt x="7660" y="8174"/>
                    <a:pt x="7006" y="7006"/>
                  </a:cubicBezTo>
                  <a:lnTo>
                    <a:pt x="40449" y="7006"/>
                  </a:lnTo>
                  <a:cubicBezTo>
                    <a:pt x="41327" y="8183"/>
                    <a:pt x="42224" y="9342"/>
                    <a:pt x="43149" y="10491"/>
                  </a:cubicBezTo>
                  <a:cubicBezTo>
                    <a:pt x="44681" y="12387"/>
                    <a:pt x="46269" y="14246"/>
                    <a:pt x="47913" y="16049"/>
                  </a:cubicBezTo>
                  <a:cubicBezTo>
                    <a:pt x="69987" y="40309"/>
                    <a:pt x="101805" y="55564"/>
                    <a:pt x="137116" y="55564"/>
                  </a:cubicBezTo>
                  <a:cubicBezTo>
                    <a:pt x="172418" y="55564"/>
                    <a:pt x="204236" y="40309"/>
                    <a:pt x="226310" y="16049"/>
                  </a:cubicBezTo>
                  <a:cubicBezTo>
                    <a:pt x="227954" y="14246"/>
                    <a:pt x="229542" y="12387"/>
                    <a:pt x="231074" y="10491"/>
                  </a:cubicBezTo>
                  <a:cubicBezTo>
                    <a:pt x="231999" y="9342"/>
                    <a:pt x="232896" y="8183"/>
                    <a:pt x="233774" y="7006"/>
                  </a:cubicBezTo>
                  <a:lnTo>
                    <a:pt x="267217" y="7006"/>
                  </a:lnTo>
                  <a:cubicBezTo>
                    <a:pt x="266563" y="8174"/>
                    <a:pt x="265900" y="9332"/>
                    <a:pt x="265218" y="10491"/>
                  </a:cubicBezTo>
                  <a:cubicBezTo>
                    <a:pt x="264106" y="12368"/>
                    <a:pt x="262948" y="14227"/>
                    <a:pt x="261761" y="16049"/>
                  </a:cubicBezTo>
                  <a:cubicBezTo>
                    <a:pt x="235194" y="56750"/>
                    <a:pt x="189233" y="83701"/>
                    <a:pt x="137116" y="8370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7" name="Freeform: Shape 13426">
              <a:extLst>
                <a:ext uri="{FF2B5EF4-FFF2-40B4-BE49-F238E27FC236}">
                  <a16:creationId xmlns:a16="http://schemas.microsoft.com/office/drawing/2014/main" id="{A629BBC6-A7FF-41DA-8EAB-291D1BE242AB}"/>
                </a:ext>
              </a:extLst>
            </p:cNvPr>
            <p:cNvSpPr/>
            <p:nvPr/>
          </p:nvSpPr>
          <p:spPr bwMode="ltGray">
            <a:xfrm>
              <a:off x="389516" y="2822419"/>
              <a:ext cx="183843" cy="105373"/>
            </a:xfrm>
            <a:custGeom>
              <a:avLst/>
              <a:gdLst>
                <a:gd name="connsiteX0" fmla="*/ 86597 w 183842"/>
                <a:gd name="connsiteY0" fmla="*/ 98816 h 105373"/>
                <a:gd name="connsiteX1" fmla="*/ 7006 w 183842"/>
                <a:gd name="connsiteY1" fmla="*/ 98816 h 105373"/>
                <a:gd name="connsiteX2" fmla="*/ 98816 w 183842"/>
                <a:gd name="connsiteY2" fmla="*/ 7006 h 105373"/>
                <a:gd name="connsiteX3" fmla="*/ 178406 w 183842"/>
                <a:gd name="connsiteY3" fmla="*/ 7006 h 105373"/>
                <a:gd name="connsiteX4" fmla="*/ 86597 w 183842"/>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2" h="105373">
                  <a:moveTo>
                    <a:pt x="86597" y="98816"/>
                  </a:moveTo>
                  <a:lnTo>
                    <a:pt x="7006" y="98816"/>
                  </a:lnTo>
                  <a:lnTo>
                    <a:pt x="98816" y="7006"/>
                  </a:lnTo>
                  <a:lnTo>
                    <a:pt x="178406" y="7006"/>
                  </a:lnTo>
                  <a:lnTo>
                    <a:pt x="86597"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8" name="Freeform: Shape 13427">
              <a:extLst>
                <a:ext uri="{FF2B5EF4-FFF2-40B4-BE49-F238E27FC236}">
                  <a16:creationId xmlns:a16="http://schemas.microsoft.com/office/drawing/2014/main" id="{E1EEC5F3-9320-4962-8036-BF13E099F949}"/>
                </a:ext>
              </a:extLst>
            </p:cNvPr>
            <p:cNvSpPr/>
            <p:nvPr/>
          </p:nvSpPr>
          <p:spPr bwMode="ltGray">
            <a:xfrm>
              <a:off x="-2860" y="2822419"/>
              <a:ext cx="430461" cy="98647"/>
            </a:xfrm>
            <a:custGeom>
              <a:avLst/>
              <a:gdLst>
                <a:gd name="connsiteX0" fmla="*/ 337064 w 430461"/>
                <a:gd name="connsiteY0" fmla="*/ 93631 h 98647"/>
                <a:gd name="connsiteX1" fmla="*/ 7006 w 430461"/>
                <a:gd name="connsiteY1" fmla="*/ 93631 h 98647"/>
                <a:gd name="connsiteX2" fmla="*/ 7006 w 430461"/>
                <a:gd name="connsiteY2" fmla="*/ 7006 h 98647"/>
                <a:gd name="connsiteX3" fmla="*/ 423689 w 430461"/>
                <a:gd name="connsiteY3" fmla="*/ 7006 h 98647"/>
                <a:gd name="connsiteX4" fmla="*/ 337064 w 430461"/>
                <a:gd name="connsiteY4" fmla="*/ 93631 h 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61" h="98647">
                  <a:moveTo>
                    <a:pt x="337064" y="93631"/>
                  </a:moveTo>
                  <a:lnTo>
                    <a:pt x="7006" y="93631"/>
                  </a:lnTo>
                  <a:lnTo>
                    <a:pt x="7006" y="7006"/>
                  </a:lnTo>
                  <a:lnTo>
                    <a:pt x="423689" y="7006"/>
                  </a:lnTo>
                  <a:lnTo>
                    <a:pt x="337064" y="9363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9" name="Freeform: Shape 13428">
              <a:extLst>
                <a:ext uri="{FF2B5EF4-FFF2-40B4-BE49-F238E27FC236}">
                  <a16:creationId xmlns:a16="http://schemas.microsoft.com/office/drawing/2014/main" id="{0434EFB1-C409-4352-824B-0B2E44CF563F}"/>
                </a:ext>
              </a:extLst>
            </p:cNvPr>
            <p:cNvSpPr/>
            <p:nvPr/>
          </p:nvSpPr>
          <p:spPr bwMode="ltGray">
            <a:xfrm>
              <a:off x="-2860" y="2822419"/>
              <a:ext cx="437187" cy="105373"/>
            </a:xfrm>
            <a:custGeom>
              <a:avLst/>
              <a:gdLst>
                <a:gd name="connsiteX0" fmla="*/ 339839 w 437187"/>
                <a:gd name="connsiteY0" fmla="*/ 98816 h 105373"/>
                <a:gd name="connsiteX1" fmla="*/ 7006 w 437187"/>
                <a:gd name="connsiteY1" fmla="*/ 98816 h 105373"/>
                <a:gd name="connsiteX2" fmla="*/ 7006 w 437187"/>
                <a:gd name="connsiteY2" fmla="*/ 93631 h 105373"/>
                <a:gd name="connsiteX3" fmla="*/ 337064 w 437187"/>
                <a:gd name="connsiteY3" fmla="*/ 93631 h 105373"/>
                <a:gd name="connsiteX4" fmla="*/ 423689 w 437187"/>
                <a:gd name="connsiteY4" fmla="*/ 7006 h 105373"/>
                <a:gd name="connsiteX5" fmla="*/ 431648 w 437187"/>
                <a:gd name="connsiteY5" fmla="*/ 7006 h 105373"/>
                <a:gd name="connsiteX6" fmla="*/ 339839 w 437187"/>
                <a:gd name="connsiteY6"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187" h="105373">
                  <a:moveTo>
                    <a:pt x="339839" y="98816"/>
                  </a:moveTo>
                  <a:lnTo>
                    <a:pt x="7006" y="98816"/>
                  </a:lnTo>
                  <a:lnTo>
                    <a:pt x="7006" y="93631"/>
                  </a:lnTo>
                  <a:lnTo>
                    <a:pt x="337064" y="93631"/>
                  </a:lnTo>
                  <a:lnTo>
                    <a:pt x="423689" y="7006"/>
                  </a:lnTo>
                  <a:lnTo>
                    <a:pt x="431648" y="7006"/>
                  </a:lnTo>
                  <a:lnTo>
                    <a:pt x="339839"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0" name="Freeform: Shape 13429">
              <a:extLst>
                <a:ext uri="{FF2B5EF4-FFF2-40B4-BE49-F238E27FC236}">
                  <a16:creationId xmlns:a16="http://schemas.microsoft.com/office/drawing/2014/main" id="{E858AA16-0AEC-4059-BCBB-45C14BBA2C3C}"/>
                </a:ext>
              </a:extLst>
            </p:cNvPr>
            <p:cNvSpPr/>
            <p:nvPr/>
          </p:nvSpPr>
          <p:spPr bwMode="ltGray">
            <a:xfrm>
              <a:off x="5176487" y="3093280"/>
              <a:ext cx="3035649" cy="105373"/>
            </a:xfrm>
            <a:custGeom>
              <a:avLst/>
              <a:gdLst>
                <a:gd name="connsiteX0" fmla="*/ 7006 w 3035649"/>
                <a:gd name="connsiteY0" fmla="*/ 7006 h 105373"/>
                <a:gd name="connsiteX1" fmla="*/ 3029085 w 3035649"/>
                <a:gd name="connsiteY1" fmla="*/ 7006 h 105373"/>
                <a:gd name="connsiteX2" fmla="*/ 3029085 w 3035649"/>
                <a:gd name="connsiteY2" fmla="*/ 98816 h 105373"/>
                <a:gd name="connsiteX3" fmla="*/ 7006 w 3035649"/>
                <a:gd name="connsiteY3" fmla="*/ 98816 h 105373"/>
              </a:gdLst>
              <a:ahLst/>
              <a:cxnLst>
                <a:cxn ang="0">
                  <a:pos x="connsiteX0" y="connsiteY0"/>
                </a:cxn>
                <a:cxn ang="0">
                  <a:pos x="connsiteX1" y="connsiteY1"/>
                </a:cxn>
                <a:cxn ang="0">
                  <a:pos x="connsiteX2" y="connsiteY2"/>
                </a:cxn>
                <a:cxn ang="0">
                  <a:pos x="connsiteX3" y="connsiteY3"/>
                </a:cxn>
              </a:cxnLst>
              <a:rect l="l" t="t" r="r" b="b"/>
              <a:pathLst>
                <a:path w="3035649" h="105373">
                  <a:moveTo>
                    <a:pt x="7006" y="7006"/>
                  </a:moveTo>
                  <a:lnTo>
                    <a:pt x="3029085" y="7006"/>
                  </a:lnTo>
                  <a:lnTo>
                    <a:pt x="3029085" y="98816"/>
                  </a:lnTo>
                  <a:lnTo>
                    <a:pt x="7006" y="988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1" name="Freeform: Shape 13430">
              <a:extLst>
                <a:ext uri="{FF2B5EF4-FFF2-40B4-BE49-F238E27FC236}">
                  <a16:creationId xmlns:a16="http://schemas.microsoft.com/office/drawing/2014/main" id="{98BF47D0-78A9-4228-AAD8-405E17EC5DA7}"/>
                </a:ext>
              </a:extLst>
            </p:cNvPr>
            <p:cNvSpPr/>
            <p:nvPr/>
          </p:nvSpPr>
          <p:spPr bwMode="ltGray">
            <a:xfrm>
              <a:off x="4228472" y="3941069"/>
              <a:ext cx="2333908" cy="1553697"/>
            </a:xfrm>
            <a:custGeom>
              <a:avLst/>
              <a:gdLst>
                <a:gd name="connsiteX0" fmla="*/ 2311733 w 2333907"/>
                <a:gd name="connsiteY0" fmla="*/ 1548355 h 1553696"/>
                <a:gd name="connsiteX1" fmla="*/ 1382541 w 2333907"/>
                <a:gd name="connsiteY1" fmla="*/ 619172 h 1553696"/>
                <a:gd name="connsiteX2" fmla="*/ 619162 w 2333907"/>
                <a:gd name="connsiteY2" fmla="*/ 619172 h 1553696"/>
                <a:gd name="connsiteX3" fmla="*/ 173091 w 2333907"/>
                <a:gd name="connsiteY3" fmla="*/ 173100 h 1553696"/>
                <a:gd name="connsiteX4" fmla="*/ 205544 w 2333907"/>
                <a:gd name="connsiteY4" fmla="*/ 173100 h 1553696"/>
                <a:gd name="connsiteX5" fmla="*/ 628663 w 2333907"/>
                <a:gd name="connsiteY5" fmla="*/ 596210 h 1553696"/>
                <a:gd name="connsiteX6" fmla="*/ 1392041 w 2333907"/>
                <a:gd name="connsiteY6" fmla="*/ 596210 h 1553696"/>
                <a:gd name="connsiteX7" fmla="*/ 2327950 w 2333907"/>
                <a:gd name="connsiteY7" fmla="*/ 1532128 h 1553696"/>
                <a:gd name="connsiteX8" fmla="*/ 2311733 w 2333907"/>
                <a:gd name="connsiteY8" fmla="*/ 1548355 h 1553696"/>
                <a:gd name="connsiteX9" fmla="*/ 194287 w 2333907"/>
                <a:gd name="connsiteY9" fmla="*/ 161834 h 1553696"/>
                <a:gd name="connsiteX10" fmla="*/ 161834 w 2333907"/>
                <a:gd name="connsiteY10" fmla="*/ 161834 h 1553696"/>
                <a:gd name="connsiteX11" fmla="*/ 112146 w 2333907"/>
                <a:gd name="connsiteY11" fmla="*/ 112156 h 1553696"/>
                <a:gd name="connsiteX12" fmla="*/ 54770 w 2333907"/>
                <a:gd name="connsiteY12" fmla="*/ 54770 h 1553696"/>
                <a:gd name="connsiteX13" fmla="*/ 7006 w 2333907"/>
                <a:gd name="connsiteY13" fmla="*/ 7006 h 1553696"/>
                <a:gd name="connsiteX14" fmla="*/ 39459 w 2333907"/>
                <a:gd name="connsiteY14" fmla="*/ 7006 h 1553696"/>
                <a:gd name="connsiteX15" fmla="*/ 194287 w 2333907"/>
                <a:gd name="connsiteY15" fmla="*/ 161834 h 155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3907" h="1553696">
                  <a:moveTo>
                    <a:pt x="2311733" y="1548355"/>
                  </a:moveTo>
                  <a:lnTo>
                    <a:pt x="1382541" y="619172"/>
                  </a:lnTo>
                  <a:lnTo>
                    <a:pt x="619162" y="619172"/>
                  </a:lnTo>
                  <a:lnTo>
                    <a:pt x="173091" y="173100"/>
                  </a:lnTo>
                  <a:lnTo>
                    <a:pt x="205544" y="173100"/>
                  </a:lnTo>
                  <a:lnTo>
                    <a:pt x="628663" y="596210"/>
                  </a:lnTo>
                  <a:lnTo>
                    <a:pt x="1392041" y="596210"/>
                  </a:lnTo>
                  <a:lnTo>
                    <a:pt x="2327950" y="1532128"/>
                  </a:lnTo>
                  <a:lnTo>
                    <a:pt x="2311733" y="1548355"/>
                  </a:lnTo>
                  <a:close/>
                  <a:moveTo>
                    <a:pt x="194287" y="161834"/>
                  </a:moveTo>
                  <a:lnTo>
                    <a:pt x="161834" y="161834"/>
                  </a:lnTo>
                  <a:lnTo>
                    <a:pt x="112146" y="112156"/>
                  </a:lnTo>
                  <a:lnTo>
                    <a:pt x="54770" y="54770"/>
                  </a:lnTo>
                  <a:lnTo>
                    <a:pt x="7006" y="7006"/>
                  </a:lnTo>
                  <a:lnTo>
                    <a:pt x="39459" y="7006"/>
                  </a:lnTo>
                  <a:lnTo>
                    <a:pt x="194287" y="161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2" name="Freeform: Shape 13431">
              <a:extLst>
                <a:ext uri="{FF2B5EF4-FFF2-40B4-BE49-F238E27FC236}">
                  <a16:creationId xmlns:a16="http://schemas.microsoft.com/office/drawing/2014/main" id="{DDB02971-4285-4C8A-AC60-DA9306DC363E}"/>
                </a:ext>
              </a:extLst>
            </p:cNvPr>
            <p:cNvSpPr/>
            <p:nvPr/>
          </p:nvSpPr>
          <p:spPr bwMode="ltGray">
            <a:xfrm>
              <a:off x="4383300" y="4095897"/>
              <a:ext cx="56050" cy="24662"/>
            </a:xfrm>
            <a:custGeom>
              <a:avLst/>
              <a:gdLst>
                <a:gd name="connsiteX0" fmla="*/ 50716 w 56049"/>
                <a:gd name="connsiteY0" fmla="*/ 18272 h 24661"/>
                <a:gd name="connsiteX1" fmla="*/ 18263 w 56049"/>
                <a:gd name="connsiteY1" fmla="*/ 18272 h 24661"/>
                <a:gd name="connsiteX2" fmla="*/ 7006 w 56049"/>
                <a:gd name="connsiteY2" fmla="*/ 7006 h 24661"/>
                <a:gd name="connsiteX3" fmla="*/ 39459 w 56049"/>
                <a:gd name="connsiteY3" fmla="*/ 7006 h 24661"/>
                <a:gd name="connsiteX4" fmla="*/ 50716 w 56049"/>
                <a:gd name="connsiteY4" fmla="*/ 18272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16" y="18272"/>
                  </a:moveTo>
                  <a:lnTo>
                    <a:pt x="18263" y="18272"/>
                  </a:lnTo>
                  <a:lnTo>
                    <a:pt x="7006" y="7006"/>
                  </a:lnTo>
                  <a:lnTo>
                    <a:pt x="39459" y="7006"/>
                  </a:lnTo>
                  <a:lnTo>
                    <a:pt x="50716" y="182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3" name="Freeform: Shape 13432">
              <a:extLst>
                <a:ext uri="{FF2B5EF4-FFF2-40B4-BE49-F238E27FC236}">
                  <a16:creationId xmlns:a16="http://schemas.microsoft.com/office/drawing/2014/main" id="{1207B51F-7D49-4C37-A039-8F44B56599FF}"/>
                </a:ext>
              </a:extLst>
            </p:cNvPr>
            <p:cNvSpPr/>
            <p:nvPr/>
          </p:nvSpPr>
          <p:spPr bwMode="ltGray">
            <a:xfrm>
              <a:off x="3858441" y="3554812"/>
              <a:ext cx="410283" cy="394590"/>
            </a:xfrm>
            <a:custGeom>
              <a:avLst/>
              <a:gdLst>
                <a:gd name="connsiteX0" fmla="*/ 403857 w 410283"/>
                <a:gd name="connsiteY0" fmla="*/ 387640 h 394589"/>
                <a:gd name="connsiteX1" fmla="*/ 371404 w 410283"/>
                <a:gd name="connsiteY1" fmla="*/ 387640 h 394589"/>
                <a:gd name="connsiteX2" fmla="*/ 247543 w 410283"/>
                <a:gd name="connsiteY2" fmla="*/ 263779 h 394589"/>
                <a:gd name="connsiteX3" fmla="*/ 280006 w 410283"/>
                <a:gd name="connsiteY3" fmla="*/ 263779 h 394589"/>
                <a:gd name="connsiteX4" fmla="*/ 403857 w 410283"/>
                <a:gd name="connsiteY4" fmla="*/ 387640 h 394589"/>
                <a:gd name="connsiteX5" fmla="*/ 268749 w 410283"/>
                <a:gd name="connsiteY5" fmla="*/ 252522 h 394589"/>
                <a:gd name="connsiteX6" fmla="*/ 236287 w 410283"/>
                <a:gd name="connsiteY6" fmla="*/ 252522 h 394589"/>
                <a:gd name="connsiteX7" fmla="*/ 133912 w 410283"/>
                <a:gd name="connsiteY7" fmla="*/ 150148 h 394589"/>
                <a:gd name="connsiteX8" fmla="*/ 150138 w 410283"/>
                <a:gd name="connsiteY8" fmla="*/ 133912 h 394589"/>
                <a:gd name="connsiteX9" fmla="*/ 268749 w 410283"/>
                <a:gd name="connsiteY9" fmla="*/ 252522 h 394589"/>
                <a:gd name="connsiteX10" fmla="*/ 129933 w 410283"/>
                <a:gd name="connsiteY10" fmla="*/ 146168 h 394589"/>
                <a:gd name="connsiteX11" fmla="*/ 7006 w 410283"/>
                <a:gd name="connsiteY11" fmla="*/ 23242 h 394589"/>
                <a:gd name="connsiteX12" fmla="*/ 23233 w 410283"/>
                <a:gd name="connsiteY12" fmla="*/ 7006 h 394589"/>
                <a:gd name="connsiteX13" fmla="*/ 146159 w 410283"/>
                <a:gd name="connsiteY13" fmla="*/ 129942 h 394589"/>
                <a:gd name="connsiteX14" fmla="*/ 129933 w 410283"/>
                <a:gd name="connsiteY14" fmla="*/ 146168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0283" h="394589">
                  <a:moveTo>
                    <a:pt x="403857" y="387640"/>
                  </a:moveTo>
                  <a:lnTo>
                    <a:pt x="371404" y="387640"/>
                  </a:lnTo>
                  <a:lnTo>
                    <a:pt x="247543" y="263779"/>
                  </a:lnTo>
                  <a:lnTo>
                    <a:pt x="280006" y="263779"/>
                  </a:lnTo>
                  <a:lnTo>
                    <a:pt x="403857" y="387640"/>
                  </a:lnTo>
                  <a:close/>
                  <a:moveTo>
                    <a:pt x="268749" y="252522"/>
                  </a:moveTo>
                  <a:lnTo>
                    <a:pt x="236287" y="252522"/>
                  </a:lnTo>
                  <a:lnTo>
                    <a:pt x="133912" y="150148"/>
                  </a:lnTo>
                  <a:lnTo>
                    <a:pt x="150138" y="133912"/>
                  </a:lnTo>
                  <a:lnTo>
                    <a:pt x="268749" y="252522"/>
                  </a:lnTo>
                  <a:close/>
                  <a:moveTo>
                    <a:pt x="129933" y="146168"/>
                  </a:moveTo>
                  <a:lnTo>
                    <a:pt x="7006" y="23242"/>
                  </a:lnTo>
                  <a:lnTo>
                    <a:pt x="23233" y="7006"/>
                  </a:lnTo>
                  <a:lnTo>
                    <a:pt x="146159" y="129942"/>
                  </a:lnTo>
                  <a:lnTo>
                    <a:pt x="129933" y="1461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4" name="Freeform: Shape 13433">
              <a:extLst>
                <a:ext uri="{FF2B5EF4-FFF2-40B4-BE49-F238E27FC236}">
                  <a16:creationId xmlns:a16="http://schemas.microsoft.com/office/drawing/2014/main" id="{515CDFB9-E8ED-489F-A863-867188683490}"/>
                </a:ext>
              </a:extLst>
            </p:cNvPr>
            <p:cNvSpPr/>
            <p:nvPr/>
          </p:nvSpPr>
          <p:spPr bwMode="ltGray">
            <a:xfrm>
              <a:off x="3981367" y="3677747"/>
              <a:ext cx="33630" cy="33630"/>
            </a:xfrm>
            <a:custGeom>
              <a:avLst/>
              <a:gdLst>
                <a:gd name="connsiteX0" fmla="*/ 10986 w 33629"/>
                <a:gd name="connsiteY0" fmla="*/ 27212 h 33629"/>
                <a:gd name="connsiteX1" fmla="*/ 7006 w 33629"/>
                <a:gd name="connsiteY1" fmla="*/ 23233 h 33629"/>
                <a:gd name="connsiteX2" fmla="*/ 23233 w 33629"/>
                <a:gd name="connsiteY2" fmla="*/ 7006 h 33629"/>
                <a:gd name="connsiteX3" fmla="*/ 27212 w 33629"/>
                <a:gd name="connsiteY3" fmla="*/ 10976 h 33629"/>
                <a:gd name="connsiteX4" fmla="*/ 10986 w 33629"/>
                <a:gd name="connsiteY4" fmla="*/ 27212 h 3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33629">
                  <a:moveTo>
                    <a:pt x="10986" y="27212"/>
                  </a:moveTo>
                  <a:lnTo>
                    <a:pt x="7006" y="23233"/>
                  </a:lnTo>
                  <a:lnTo>
                    <a:pt x="23233" y="7006"/>
                  </a:lnTo>
                  <a:lnTo>
                    <a:pt x="27212" y="10976"/>
                  </a:lnTo>
                  <a:lnTo>
                    <a:pt x="10986" y="272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5" name="Freeform: Shape 13434">
              <a:extLst>
                <a:ext uri="{FF2B5EF4-FFF2-40B4-BE49-F238E27FC236}">
                  <a16:creationId xmlns:a16="http://schemas.microsoft.com/office/drawing/2014/main" id="{1B9C9315-FDE4-4501-B924-5F600AC91966}"/>
                </a:ext>
              </a:extLst>
            </p:cNvPr>
            <p:cNvSpPr/>
            <p:nvPr/>
          </p:nvSpPr>
          <p:spPr bwMode="ltGray">
            <a:xfrm>
              <a:off x="4087722" y="3800328"/>
              <a:ext cx="56050" cy="24662"/>
            </a:xfrm>
            <a:custGeom>
              <a:avLst/>
              <a:gdLst>
                <a:gd name="connsiteX0" fmla="*/ 50725 w 56049"/>
                <a:gd name="connsiteY0" fmla="*/ 18263 h 24661"/>
                <a:gd name="connsiteX1" fmla="*/ 18263 w 56049"/>
                <a:gd name="connsiteY1" fmla="*/ 18263 h 24661"/>
                <a:gd name="connsiteX2" fmla="*/ 7006 w 56049"/>
                <a:gd name="connsiteY2" fmla="*/ 7006 h 24661"/>
                <a:gd name="connsiteX3" fmla="*/ 39468 w 56049"/>
                <a:gd name="connsiteY3" fmla="*/ 7006 h 24661"/>
                <a:gd name="connsiteX4" fmla="*/ 50725 w 56049"/>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25" y="18263"/>
                  </a:moveTo>
                  <a:lnTo>
                    <a:pt x="18263" y="18263"/>
                  </a:lnTo>
                  <a:lnTo>
                    <a:pt x="7006" y="7006"/>
                  </a:lnTo>
                  <a:lnTo>
                    <a:pt x="39468" y="7006"/>
                  </a:lnTo>
                  <a:lnTo>
                    <a:pt x="5072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6" name="Freeform: Shape 13435">
              <a:extLst>
                <a:ext uri="{FF2B5EF4-FFF2-40B4-BE49-F238E27FC236}">
                  <a16:creationId xmlns:a16="http://schemas.microsoft.com/office/drawing/2014/main" id="{33F11A80-C3EC-4461-BDA2-FD9D46E77602}"/>
                </a:ext>
              </a:extLst>
            </p:cNvPr>
            <p:cNvSpPr/>
            <p:nvPr/>
          </p:nvSpPr>
          <p:spPr bwMode="ltGray">
            <a:xfrm>
              <a:off x="4222839" y="3935445"/>
              <a:ext cx="51566" cy="17936"/>
            </a:xfrm>
            <a:custGeom>
              <a:avLst/>
              <a:gdLst>
                <a:gd name="connsiteX0" fmla="*/ 45092 w 51565"/>
                <a:gd name="connsiteY0" fmla="*/ 12630 h 17935"/>
                <a:gd name="connsiteX1" fmla="*/ 12639 w 51565"/>
                <a:gd name="connsiteY1" fmla="*/ 12630 h 17935"/>
                <a:gd name="connsiteX2" fmla="*/ 7006 w 51565"/>
                <a:gd name="connsiteY2" fmla="*/ 7006 h 17935"/>
                <a:gd name="connsiteX3" fmla="*/ 39459 w 51565"/>
                <a:gd name="connsiteY3" fmla="*/ 7006 h 17935"/>
                <a:gd name="connsiteX4" fmla="*/ 45092 w 51565"/>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17935">
                  <a:moveTo>
                    <a:pt x="45092" y="12630"/>
                  </a:moveTo>
                  <a:lnTo>
                    <a:pt x="12639" y="12630"/>
                  </a:lnTo>
                  <a:lnTo>
                    <a:pt x="7006" y="7006"/>
                  </a:lnTo>
                  <a:lnTo>
                    <a:pt x="39459" y="7006"/>
                  </a:lnTo>
                  <a:lnTo>
                    <a:pt x="45092"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7" name="Freeform: Shape 13436">
              <a:extLst>
                <a:ext uri="{FF2B5EF4-FFF2-40B4-BE49-F238E27FC236}">
                  <a16:creationId xmlns:a16="http://schemas.microsoft.com/office/drawing/2014/main" id="{813C87AF-4DE5-4C0A-8DE0-F7994CD9E319}"/>
                </a:ext>
              </a:extLst>
            </p:cNvPr>
            <p:cNvSpPr/>
            <p:nvPr/>
          </p:nvSpPr>
          <p:spPr bwMode="ltGray">
            <a:xfrm>
              <a:off x="3211590" y="3227911"/>
              <a:ext cx="652418" cy="331814"/>
            </a:xfrm>
            <a:custGeom>
              <a:avLst/>
              <a:gdLst>
                <a:gd name="connsiteX0" fmla="*/ 629513 w 652418"/>
                <a:gd name="connsiteY0" fmla="*/ 325789 h 331813"/>
                <a:gd name="connsiteX1" fmla="*/ 491705 w 652418"/>
                <a:gd name="connsiteY1" fmla="*/ 187982 h 331813"/>
                <a:gd name="connsiteX2" fmla="*/ 507932 w 652418"/>
                <a:gd name="connsiteY2" fmla="*/ 171755 h 331813"/>
                <a:gd name="connsiteX3" fmla="*/ 645739 w 652418"/>
                <a:gd name="connsiteY3" fmla="*/ 309563 h 331813"/>
                <a:gd name="connsiteX4" fmla="*/ 629513 w 652418"/>
                <a:gd name="connsiteY4" fmla="*/ 325789 h 331813"/>
                <a:gd name="connsiteX5" fmla="*/ 483587 w 652418"/>
                <a:gd name="connsiteY5" fmla="*/ 179863 h 331813"/>
                <a:gd name="connsiteX6" fmla="*/ 415524 w 652418"/>
                <a:gd name="connsiteY6" fmla="*/ 111801 h 331813"/>
                <a:gd name="connsiteX7" fmla="*/ 447977 w 652418"/>
                <a:gd name="connsiteY7" fmla="*/ 111801 h 331813"/>
                <a:gd name="connsiteX8" fmla="*/ 499814 w 652418"/>
                <a:gd name="connsiteY8" fmla="*/ 163637 h 331813"/>
                <a:gd name="connsiteX9" fmla="*/ 483587 w 652418"/>
                <a:gd name="connsiteY9" fmla="*/ 179863 h 331813"/>
                <a:gd name="connsiteX10" fmla="*/ 431097 w 652418"/>
                <a:gd name="connsiteY10" fmla="*/ 94920 h 331813"/>
                <a:gd name="connsiteX11" fmla="*/ 398644 w 652418"/>
                <a:gd name="connsiteY11" fmla="*/ 94920 h 331813"/>
                <a:gd name="connsiteX12" fmla="*/ 333692 w 652418"/>
                <a:gd name="connsiteY12" fmla="*/ 29968 h 331813"/>
                <a:gd name="connsiteX13" fmla="*/ 323687 w 652418"/>
                <a:gd name="connsiteY13" fmla="*/ 29968 h 331813"/>
                <a:gd name="connsiteX14" fmla="*/ 300735 w 652418"/>
                <a:gd name="connsiteY14" fmla="*/ 7006 h 331813"/>
                <a:gd name="connsiteX15" fmla="*/ 343183 w 652418"/>
                <a:gd name="connsiteY15" fmla="*/ 7006 h 331813"/>
                <a:gd name="connsiteX16" fmla="*/ 431097 w 652418"/>
                <a:gd name="connsiteY16" fmla="*/ 94920 h 331813"/>
                <a:gd name="connsiteX17" fmla="*/ 299810 w 652418"/>
                <a:gd name="connsiteY17" fmla="*/ 29968 h 331813"/>
                <a:gd name="connsiteX18" fmla="*/ 7006 w 652418"/>
                <a:gd name="connsiteY18" fmla="*/ 29968 h 331813"/>
                <a:gd name="connsiteX19" fmla="*/ 29968 w 652418"/>
                <a:gd name="connsiteY19" fmla="*/ 7006 h 331813"/>
                <a:gd name="connsiteX20" fmla="*/ 276857 w 652418"/>
                <a:gd name="connsiteY20" fmla="*/ 7006 h 331813"/>
                <a:gd name="connsiteX21" fmla="*/ 299810 w 652418"/>
                <a:gd name="connsiteY21" fmla="*/ 29968 h 3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2418" h="331813">
                  <a:moveTo>
                    <a:pt x="629513" y="325789"/>
                  </a:moveTo>
                  <a:lnTo>
                    <a:pt x="491705" y="187982"/>
                  </a:lnTo>
                  <a:lnTo>
                    <a:pt x="507932" y="171755"/>
                  </a:lnTo>
                  <a:lnTo>
                    <a:pt x="645739" y="309563"/>
                  </a:lnTo>
                  <a:lnTo>
                    <a:pt x="629513" y="325789"/>
                  </a:lnTo>
                  <a:close/>
                  <a:moveTo>
                    <a:pt x="483587" y="179863"/>
                  </a:moveTo>
                  <a:lnTo>
                    <a:pt x="415524" y="111801"/>
                  </a:lnTo>
                  <a:lnTo>
                    <a:pt x="447977" y="111801"/>
                  </a:lnTo>
                  <a:lnTo>
                    <a:pt x="499814" y="163637"/>
                  </a:lnTo>
                  <a:lnTo>
                    <a:pt x="483587" y="179863"/>
                  </a:lnTo>
                  <a:close/>
                  <a:moveTo>
                    <a:pt x="431097" y="94920"/>
                  </a:moveTo>
                  <a:lnTo>
                    <a:pt x="398644" y="94920"/>
                  </a:lnTo>
                  <a:lnTo>
                    <a:pt x="333692" y="29968"/>
                  </a:lnTo>
                  <a:lnTo>
                    <a:pt x="323687" y="29968"/>
                  </a:lnTo>
                  <a:lnTo>
                    <a:pt x="300735" y="7006"/>
                  </a:lnTo>
                  <a:lnTo>
                    <a:pt x="343183" y="7006"/>
                  </a:lnTo>
                  <a:lnTo>
                    <a:pt x="431097" y="94920"/>
                  </a:lnTo>
                  <a:close/>
                  <a:moveTo>
                    <a:pt x="299810" y="29968"/>
                  </a:moveTo>
                  <a:lnTo>
                    <a:pt x="7006" y="29968"/>
                  </a:lnTo>
                  <a:lnTo>
                    <a:pt x="29968" y="7006"/>
                  </a:lnTo>
                  <a:lnTo>
                    <a:pt x="276857" y="7006"/>
                  </a:lnTo>
                  <a:lnTo>
                    <a:pt x="29981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8" name="Freeform: Shape 13437">
              <a:extLst>
                <a:ext uri="{FF2B5EF4-FFF2-40B4-BE49-F238E27FC236}">
                  <a16:creationId xmlns:a16="http://schemas.microsoft.com/office/drawing/2014/main" id="{100B7701-CD0A-4908-A32A-80EC5E434ABF}"/>
                </a:ext>
              </a:extLst>
            </p:cNvPr>
            <p:cNvSpPr/>
            <p:nvPr/>
          </p:nvSpPr>
          <p:spPr bwMode="ltGray">
            <a:xfrm>
              <a:off x="3481441" y="3227911"/>
              <a:ext cx="183843" cy="116583"/>
            </a:xfrm>
            <a:custGeom>
              <a:avLst/>
              <a:gdLst>
                <a:gd name="connsiteX0" fmla="*/ 178126 w 183842"/>
                <a:gd name="connsiteY0" fmla="*/ 111801 h 116583"/>
                <a:gd name="connsiteX1" fmla="*/ 145673 w 183842"/>
                <a:gd name="connsiteY1" fmla="*/ 111801 h 116583"/>
                <a:gd name="connsiteX2" fmla="*/ 128793 w 183842"/>
                <a:gd name="connsiteY2" fmla="*/ 94920 h 116583"/>
                <a:gd name="connsiteX3" fmla="*/ 161246 w 183842"/>
                <a:gd name="connsiteY3" fmla="*/ 94920 h 116583"/>
                <a:gd name="connsiteX4" fmla="*/ 178126 w 183842"/>
                <a:gd name="connsiteY4" fmla="*/ 111801 h 116583"/>
                <a:gd name="connsiteX5" fmla="*/ 53836 w 183842"/>
                <a:gd name="connsiteY5" fmla="*/ 29968 h 116583"/>
                <a:gd name="connsiteX6" fmla="*/ 29959 w 183842"/>
                <a:gd name="connsiteY6" fmla="*/ 29968 h 116583"/>
                <a:gd name="connsiteX7" fmla="*/ 7006 w 183842"/>
                <a:gd name="connsiteY7" fmla="*/ 7006 h 116583"/>
                <a:gd name="connsiteX8" fmla="*/ 30883 w 183842"/>
                <a:gd name="connsiteY8" fmla="*/ 7006 h 116583"/>
                <a:gd name="connsiteX9" fmla="*/ 53836 w 183842"/>
                <a:gd name="connsiteY9" fmla="*/ 29968 h 1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842" h="116583">
                  <a:moveTo>
                    <a:pt x="178126" y="111801"/>
                  </a:moveTo>
                  <a:lnTo>
                    <a:pt x="145673" y="111801"/>
                  </a:lnTo>
                  <a:lnTo>
                    <a:pt x="128793" y="94920"/>
                  </a:lnTo>
                  <a:lnTo>
                    <a:pt x="161246" y="94920"/>
                  </a:lnTo>
                  <a:lnTo>
                    <a:pt x="178126" y="111801"/>
                  </a:lnTo>
                  <a:close/>
                  <a:moveTo>
                    <a:pt x="53836" y="29968"/>
                  </a:moveTo>
                  <a:lnTo>
                    <a:pt x="29959" y="29968"/>
                  </a:lnTo>
                  <a:lnTo>
                    <a:pt x="7006" y="7006"/>
                  </a:lnTo>
                  <a:lnTo>
                    <a:pt x="30883" y="7006"/>
                  </a:lnTo>
                  <a:lnTo>
                    <a:pt x="53836"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9" name="Freeform: Shape 13438">
              <a:extLst>
                <a:ext uri="{FF2B5EF4-FFF2-40B4-BE49-F238E27FC236}">
                  <a16:creationId xmlns:a16="http://schemas.microsoft.com/office/drawing/2014/main" id="{91B3CDB3-036D-4B86-9D3C-657322B06F79}"/>
                </a:ext>
              </a:extLst>
            </p:cNvPr>
            <p:cNvSpPr/>
            <p:nvPr/>
          </p:nvSpPr>
          <p:spPr bwMode="ltGray">
            <a:xfrm>
              <a:off x="-2860" y="3227911"/>
              <a:ext cx="3201556" cy="35872"/>
            </a:xfrm>
            <a:custGeom>
              <a:avLst/>
              <a:gdLst>
                <a:gd name="connsiteX0" fmla="*/ 3172778 w 3201556"/>
                <a:gd name="connsiteY0" fmla="*/ 29968 h 35871"/>
                <a:gd name="connsiteX1" fmla="*/ 2763166 w 3201556"/>
                <a:gd name="connsiteY1" fmla="*/ 29968 h 35871"/>
                <a:gd name="connsiteX2" fmla="*/ 2682016 w 3201556"/>
                <a:gd name="connsiteY2" fmla="*/ 29968 h 35871"/>
                <a:gd name="connsiteX3" fmla="*/ 2568403 w 3201556"/>
                <a:gd name="connsiteY3" fmla="*/ 29968 h 35871"/>
                <a:gd name="connsiteX4" fmla="*/ 2581649 w 3201556"/>
                <a:gd name="connsiteY4" fmla="*/ 7006 h 35871"/>
                <a:gd name="connsiteX5" fmla="*/ 3195730 w 3201556"/>
                <a:gd name="connsiteY5" fmla="*/ 7006 h 35871"/>
                <a:gd name="connsiteX6" fmla="*/ 3172778 w 3201556"/>
                <a:gd name="connsiteY6" fmla="*/ 29968 h 35871"/>
                <a:gd name="connsiteX7" fmla="*/ 2549131 w 3201556"/>
                <a:gd name="connsiteY7" fmla="*/ 29968 h 35871"/>
                <a:gd name="connsiteX8" fmla="*/ 2010381 w 3201556"/>
                <a:gd name="connsiteY8" fmla="*/ 29968 h 35871"/>
                <a:gd name="connsiteX9" fmla="*/ 1997135 w 3201556"/>
                <a:gd name="connsiteY9" fmla="*/ 7006 h 35871"/>
                <a:gd name="connsiteX10" fmla="*/ 2562387 w 3201556"/>
                <a:gd name="connsiteY10" fmla="*/ 7006 h 35871"/>
                <a:gd name="connsiteX11" fmla="*/ 2549131 w 3201556"/>
                <a:gd name="connsiteY11" fmla="*/ 29968 h 35871"/>
                <a:gd name="connsiteX12" fmla="*/ 1991119 w 3201556"/>
                <a:gd name="connsiteY12" fmla="*/ 29968 h 35871"/>
                <a:gd name="connsiteX13" fmla="*/ 1576772 w 3201556"/>
                <a:gd name="connsiteY13" fmla="*/ 29968 h 35871"/>
                <a:gd name="connsiteX14" fmla="*/ 1576772 w 3201556"/>
                <a:gd name="connsiteY14" fmla="*/ 7006 h 35871"/>
                <a:gd name="connsiteX15" fmla="*/ 1977863 w 3201556"/>
                <a:gd name="connsiteY15" fmla="*/ 7006 h 35871"/>
                <a:gd name="connsiteX16" fmla="*/ 1991119 w 3201556"/>
                <a:gd name="connsiteY16" fmla="*/ 29968 h 35871"/>
                <a:gd name="connsiteX17" fmla="*/ 1104553 w 3201556"/>
                <a:gd name="connsiteY17" fmla="*/ 29968 h 35871"/>
                <a:gd name="connsiteX18" fmla="*/ 233466 w 3201556"/>
                <a:gd name="connsiteY18" fmla="*/ 29968 h 35871"/>
                <a:gd name="connsiteX19" fmla="*/ 256418 w 3201556"/>
                <a:gd name="connsiteY19" fmla="*/ 7006 h 35871"/>
                <a:gd name="connsiteX20" fmla="*/ 586177 w 3201556"/>
                <a:gd name="connsiteY20" fmla="*/ 7006 h 35871"/>
                <a:gd name="connsiteX21" fmla="*/ 586177 w 3201556"/>
                <a:gd name="connsiteY21" fmla="*/ 14508 h 35871"/>
                <a:gd name="connsiteX22" fmla="*/ 991370 w 3201556"/>
                <a:gd name="connsiteY22" fmla="*/ 14508 h 35871"/>
                <a:gd name="connsiteX23" fmla="*/ 991370 w 3201556"/>
                <a:gd name="connsiteY23" fmla="*/ 7006 h 35871"/>
                <a:gd name="connsiteX24" fmla="*/ 1127505 w 3201556"/>
                <a:gd name="connsiteY24" fmla="*/ 7006 h 35871"/>
                <a:gd name="connsiteX25" fmla="*/ 1104553 w 3201556"/>
                <a:gd name="connsiteY25" fmla="*/ 29968 h 35871"/>
                <a:gd name="connsiteX26" fmla="*/ 225600 w 3201556"/>
                <a:gd name="connsiteY26" fmla="*/ 29968 h 35871"/>
                <a:gd name="connsiteX27" fmla="*/ 7006 w 3201556"/>
                <a:gd name="connsiteY27" fmla="*/ 29968 h 35871"/>
                <a:gd name="connsiteX28" fmla="*/ 7006 w 3201556"/>
                <a:gd name="connsiteY28" fmla="*/ 7006 h 35871"/>
                <a:gd name="connsiteX29" fmla="*/ 248552 w 3201556"/>
                <a:gd name="connsiteY29" fmla="*/ 7006 h 35871"/>
                <a:gd name="connsiteX30" fmla="*/ 225600 w 3201556"/>
                <a:gd name="connsiteY30"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201556" h="35871">
                  <a:moveTo>
                    <a:pt x="3172778" y="29968"/>
                  </a:moveTo>
                  <a:lnTo>
                    <a:pt x="2763166" y="29968"/>
                  </a:lnTo>
                  <a:lnTo>
                    <a:pt x="2682016" y="29968"/>
                  </a:lnTo>
                  <a:lnTo>
                    <a:pt x="2568403" y="29968"/>
                  </a:lnTo>
                  <a:lnTo>
                    <a:pt x="2581649" y="7006"/>
                  </a:lnTo>
                  <a:lnTo>
                    <a:pt x="3195730" y="7006"/>
                  </a:lnTo>
                  <a:lnTo>
                    <a:pt x="3172778" y="29968"/>
                  </a:lnTo>
                  <a:close/>
                  <a:moveTo>
                    <a:pt x="2549131" y="29968"/>
                  </a:moveTo>
                  <a:lnTo>
                    <a:pt x="2010381" y="29968"/>
                  </a:lnTo>
                  <a:lnTo>
                    <a:pt x="1997135" y="7006"/>
                  </a:lnTo>
                  <a:lnTo>
                    <a:pt x="2562387" y="7006"/>
                  </a:lnTo>
                  <a:lnTo>
                    <a:pt x="2549131" y="29968"/>
                  </a:lnTo>
                  <a:close/>
                  <a:moveTo>
                    <a:pt x="1991119" y="29968"/>
                  </a:moveTo>
                  <a:lnTo>
                    <a:pt x="1576772" y="29968"/>
                  </a:lnTo>
                  <a:lnTo>
                    <a:pt x="1576772" y="7006"/>
                  </a:lnTo>
                  <a:lnTo>
                    <a:pt x="1977863" y="7006"/>
                  </a:lnTo>
                  <a:lnTo>
                    <a:pt x="1991119" y="29968"/>
                  </a:lnTo>
                  <a:close/>
                  <a:moveTo>
                    <a:pt x="1104553" y="29968"/>
                  </a:moveTo>
                  <a:lnTo>
                    <a:pt x="233466" y="29968"/>
                  </a:lnTo>
                  <a:lnTo>
                    <a:pt x="256418" y="7006"/>
                  </a:lnTo>
                  <a:lnTo>
                    <a:pt x="586177" y="7006"/>
                  </a:lnTo>
                  <a:lnTo>
                    <a:pt x="586177" y="14508"/>
                  </a:lnTo>
                  <a:lnTo>
                    <a:pt x="991370" y="14508"/>
                  </a:lnTo>
                  <a:lnTo>
                    <a:pt x="991370" y="7006"/>
                  </a:lnTo>
                  <a:lnTo>
                    <a:pt x="1127505" y="7006"/>
                  </a:lnTo>
                  <a:lnTo>
                    <a:pt x="1104553" y="29968"/>
                  </a:lnTo>
                  <a:close/>
                  <a:moveTo>
                    <a:pt x="225600" y="29968"/>
                  </a:moveTo>
                  <a:lnTo>
                    <a:pt x="7006" y="29968"/>
                  </a:lnTo>
                  <a:lnTo>
                    <a:pt x="7006" y="7006"/>
                  </a:lnTo>
                  <a:lnTo>
                    <a:pt x="248552" y="7006"/>
                  </a:lnTo>
                  <a:lnTo>
                    <a:pt x="22560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0" name="Freeform: Shape 13439">
              <a:extLst>
                <a:ext uri="{FF2B5EF4-FFF2-40B4-BE49-F238E27FC236}">
                  <a16:creationId xmlns:a16="http://schemas.microsoft.com/office/drawing/2014/main" id="{975A4937-C3BD-4391-900B-0916B4EDC4D7}"/>
                </a:ext>
              </a:extLst>
            </p:cNvPr>
            <p:cNvSpPr/>
            <p:nvPr/>
          </p:nvSpPr>
          <p:spPr bwMode="ltGray">
            <a:xfrm>
              <a:off x="1967997" y="3227911"/>
              <a:ext cx="616546" cy="35872"/>
            </a:xfrm>
            <a:custGeom>
              <a:avLst/>
              <a:gdLst>
                <a:gd name="connsiteX0" fmla="*/ 597546 w 616546"/>
                <a:gd name="connsiteY0" fmla="*/ 29968 h 35871"/>
                <a:gd name="connsiteX1" fmla="*/ 578274 w 616546"/>
                <a:gd name="connsiteY1" fmla="*/ 29968 h 35871"/>
                <a:gd name="connsiteX2" fmla="*/ 591530 w 616546"/>
                <a:gd name="connsiteY2" fmla="*/ 7006 h 35871"/>
                <a:gd name="connsiteX3" fmla="*/ 610792 w 616546"/>
                <a:gd name="connsiteY3" fmla="*/ 7006 h 35871"/>
                <a:gd name="connsiteX4" fmla="*/ 597546 w 616546"/>
                <a:gd name="connsiteY4" fmla="*/ 29968 h 35871"/>
                <a:gd name="connsiteX5" fmla="*/ 39524 w 616546"/>
                <a:gd name="connsiteY5" fmla="*/ 29968 h 35871"/>
                <a:gd name="connsiteX6" fmla="*/ 20262 w 616546"/>
                <a:gd name="connsiteY6" fmla="*/ 29968 h 35871"/>
                <a:gd name="connsiteX7" fmla="*/ 7006 w 616546"/>
                <a:gd name="connsiteY7" fmla="*/ 7006 h 35871"/>
                <a:gd name="connsiteX8" fmla="*/ 26278 w 616546"/>
                <a:gd name="connsiteY8" fmla="*/ 7006 h 35871"/>
                <a:gd name="connsiteX9" fmla="*/ 39524 w 616546"/>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546" h="35871">
                  <a:moveTo>
                    <a:pt x="597546" y="29968"/>
                  </a:moveTo>
                  <a:lnTo>
                    <a:pt x="578274" y="29968"/>
                  </a:lnTo>
                  <a:lnTo>
                    <a:pt x="591530" y="7006"/>
                  </a:lnTo>
                  <a:lnTo>
                    <a:pt x="610792" y="7006"/>
                  </a:lnTo>
                  <a:lnTo>
                    <a:pt x="597546" y="29968"/>
                  </a:lnTo>
                  <a:close/>
                  <a:moveTo>
                    <a:pt x="39524" y="29968"/>
                  </a:moveTo>
                  <a:lnTo>
                    <a:pt x="20262" y="29968"/>
                  </a:lnTo>
                  <a:lnTo>
                    <a:pt x="7006" y="7006"/>
                  </a:lnTo>
                  <a:lnTo>
                    <a:pt x="26278" y="7006"/>
                  </a:lnTo>
                  <a:lnTo>
                    <a:pt x="3952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1" name="Freeform: Shape 13440">
              <a:extLst>
                <a:ext uri="{FF2B5EF4-FFF2-40B4-BE49-F238E27FC236}">
                  <a16:creationId xmlns:a16="http://schemas.microsoft.com/office/drawing/2014/main" id="{6992BF34-0097-4BDE-96A8-D7BD4FD985BA}"/>
                </a:ext>
              </a:extLst>
            </p:cNvPr>
            <p:cNvSpPr/>
            <p:nvPr/>
          </p:nvSpPr>
          <p:spPr bwMode="ltGray">
            <a:xfrm>
              <a:off x="215734" y="3227911"/>
              <a:ext cx="42598" cy="35872"/>
            </a:xfrm>
            <a:custGeom>
              <a:avLst/>
              <a:gdLst>
                <a:gd name="connsiteX0" fmla="*/ 14872 w 42597"/>
                <a:gd name="connsiteY0" fmla="*/ 29968 h 35871"/>
                <a:gd name="connsiteX1" fmla="*/ 7006 w 42597"/>
                <a:gd name="connsiteY1" fmla="*/ 29968 h 35871"/>
                <a:gd name="connsiteX2" fmla="*/ 29959 w 42597"/>
                <a:gd name="connsiteY2" fmla="*/ 7006 h 35871"/>
                <a:gd name="connsiteX3" fmla="*/ 37824 w 42597"/>
                <a:gd name="connsiteY3" fmla="*/ 7006 h 35871"/>
                <a:gd name="connsiteX4" fmla="*/ 14872 w 42597"/>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35871">
                  <a:moveTo>
                    <a:pt x="14872" y="29968"/>
                  </a:moveTo>
                  <a:lnTo>
                    <a:pt x="7006" y="29968"/>
                  </a:lnTo>
                  <a:lnTo>
                    <a:pt x="29959" y="7006"/>
                  </a:lnTo>
                  <a:lnTo>
                    <a:pt x="3782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2" name="Freeform: Shape 13441">
              <a:extLst>
                <a:ext uri="{FF2B5EF4-FFF2-40B4-BE49-F238E27FC236}">
                  <a16:creationId xmlns:a16="http://schemas.microsoft.com/office/drawing/2014/main" id="{5959E0D5-4243-4C21-B9C4-AEA3A650AFBC}"/>
                </a:ext>
              </a:extLst>
            </p:cNvPr>
            <p:cNvSpPr/>
            <p:nvPr/>
          </p:nvSpPr>
          <p:spPr bwMode="ltGray">
            <a:xfrm>
              <a:off x="1094686" y="3227911"/>
              <a:ext cx="484269" cy="35872"/>
            </a:xfrm>
            <a:custGeom>
              <a:avLst/>
              <a:gdLst>
                <a:gd name="connsiteX0" fmla="*/ 479225 w 484269"/>
                <a:gd name="connsiteY0" fmla="*/ 29968 h 35871"/>
                <a:gd name="connsiteX1" fmla="*/ 7006 w 484269"/>
                <a:gd name="connsiteY1" fmla="*/ 29968 h 35871"/>
                <a:gd name="connsiteX2" fmla="*/ 29959 w 484269"/>
                <a:gd name="connsiteY2" fmla="*/ 7006 h 35871"/>
                <a:gd name="connsiteX3" fmla="*/ 479225 w 484269"/>
                <a:gd name="connsiteY3" fmla="*/ 7006 h 35871"/>
                <a:gd name="connsiteX4" fmla="*/ 479225 w 48426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269" h="35871">
                  <a:moveTo>
                    <a:pt x="479225" y="29968"/>
                  </a:moveTo>
                  <a:lnTo>
                    <a:pt x="7006" y="29968"/>
                  </a:lnTo>
                  <a:lnTo>
                    <a:pt x="29959" y="7006"/>
                  </a:lnTo>
                  <a:lnTo>
                    <a:pt x="479225" y="7006"/>
                  </a:lnTo>
                  <a:lnTo>
                    <a:pt x="479225"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3" name="Freeform: Shape 13442">
              <a:extLst>
                <a:ext uri="{FF2B5EF4-FFF2-40B4-BE49-F238E27FC236}">
                  <a16:creationId xmlns:a16="http://schemas.microsoft.com/office/drawing/2014/main" id="{9C6A416F-3A75-41F0-9F7E-B4D3C0F5DDAD}"/>
                </a:ext>
              </a:extLst>
            </p:cNvPr>
            <p:cNvSpPr/>
            <p:nvPr/>
          </p:nvSpPr>
          <p:spPr bwMode="ltGray">
            <a:xfrm>
              <a:off x="576311" y="3227911"/>
              <a:ext cx="417009" cy="20178"/>
            </a:xfrm>
            <a:custGeom>
              <a:avLst/>
              <a:gdLst>
                <a:gd name="connsiteX0" fmla="*/ 7006 w 417009"/>
                <a:gd name="connsiteY0" fmla="*/ 7006 h 20177"/>
                <a:gd name="connsiteX1" fmla="*/ 412199 w 417009"/>
                <a:gd name="connsiteY1" fmla="*/ 7006 h 20177"/>
                <a:gd name="connsiteX2" fmla="*/ 412199 w 417009"/>
                <a:gd name="connsiteY2" fmla="*/ 14508 h 20177"/>
                <a:gd name="connsiteX3" fmla="*/ 7006 w 417009"/>
                <a:gd name="connsiteY3" fmla="*/ 14508 h 20177"/>
              </a:gdLst>
              <a:ahLst/>
              <a:cxnLst>
                <a:cxn ang="0">
                  <a:pos x="connsiteX0" y="connsiteY0"/>
                </a:cxn>
                <a:cxn ang="0">
                  <a:pos x="connsiteX1" y="connsiteY1"/>
                </a:cxn>
                <a:cxn ang="0">
                  <a:pos x="connsiteX2" y="connsiteY2"/>
                </a:cxn>
                <a:cxn ang="0">
                  <a:pos x="connsiteX3" y="connsiteY3"/>
                </a:cxn>
              </a:cxnLst>
              <a:rect l="l" t="t" r="r" b="b"/>
              <a:pathLst>
                <a:path w="417009" h="20177">
                  <a:moveTo>
                    <a:pt x="7006" y="7006"/>
                  </a:moveTo>
                  <a:lnTo>
                    <a:pt x="412199" y="7006"/>
                  </a:lnTo>
                  <a:lnTo>
                    <a:pt x="412199" y="14508"/>
                  </a:lnTo>
                  <a:lnTo>
                    <a:pt x="7006" y="1450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4" name="Freeform: Shape 13443">
              <a:extLst>
                <a:ext uri="{FF2B5EF4-FFF2-40B4-BE49-F238E27FC236}">
                  <a16:creationId xmlns:a16="http://schemas.microsoft.com/office/drawing/2014/main" id="{D9AC4EBB-E19F-4F65-B47D-237EF54D7D02}"/>
                </a:ext>
              </a:extLst>
            </p:cNvPr>
            <p:cNvSpPr/>
            <p:nvPr/>
          </p:nvSpPr>
          <p:spPr bwMode="ltGray">
            <a:xfrm>
              <a:off x="368095" y="2807108"/>
              <a:ext cx="2551380" cy="221957"/>
            </a:xfrm>
            <a:custGeom>
              <a:avLst/>
              <a:gdLst>
                <a:gd name="connsiteX0" fmla="*/ 2337441 w 2551380"/>
                <a:gd name="connsiteY0" fmla="*/ 215137 h 221956"/>
                <a:gd name="connsiteX1" fmla="*/ 2333489 w 2551380"/>
                <a:gd name="connsiteY1" fmla="*/ 215137 h 221956"/>
                <a:gd name="connsiteX2" fmla="*/ 2354330 w 2551380"/>
                <a:gd name="connsiteY2" fmla="*/ 179023 h 221956"/>
                <a:gd name="connsiteX3" fmla="*/ 2349482 w 2551380"/>
                <a:gd name="connsiteY3" fmla="*/ 170625 h 221956"/>
                <a:gd name="connsiteX4" fmla="*/ 2388521 w 2551380"/>
                <a:gd name="connsiteY4" fmla="*/ 131586 h 221956"/>
                <a:gd name="connsiteX5" fmla="*/ 2420983 w 2551380"/>
                <a:gd name="connsiteY5" fmla="*/ 131586 h 221956"/>
                <a:gd name="connsiteX6" fmla="*/ 2409324 w 2551380"/>
                <a:gd name="connsiteY6" fmla="*/ 143254 h 221956"/>
                <a:gd name="connsiteX7" fmla="*/ 2337441 w 2551380"/>
                <a:gd name="connsiteY7" fmla="*/ 215137 h 221956"/>
                <a:gd name="connsiteX8" fmla="*/ 2314227 w 2551380"/>
                <a:gd name="connsiteY8" fmla="*/ 215137 h 221956"/>
                <a:gd name="connsiteX9" fmla="*/ 1503384 w 2551380"/>
                <a:gd name="connsiteY9" fmla="*/ 215137 h 221956"/>
                <a:gd name="connsiteX10" fmla="*/ 1490128 w 2551380"/>
                <a:gd name="connsiteY10" fmla="*/ 192176 h 221956"/>
                <a:gd name="connsiteX11" fmla="*/ 2327483 w 2551380"/>
                <a:gd name="connsiteY11" fmla="*/ 192176 h 221956"/>
                <a:gd name="connsiteX12" fmla="*/ 2314227 w 2551380"/>
                <a:gd name="connsiteY12" fmla="*/ 215137 h 221956"/>
                <a:gd name="connsiteX13" fmla="*/ 1484121 w 2551380"/>
                <a:gd name="connsiteY13" fmla="*/ 215137 h 221956"/>
                <a:gd name="connsiteX14" fmla="*/ 1177772 w 2551380"/>
                <a:gd name="connsiteY14" fmla="*/ 215137 h 221956"/>
                <a:gd name="connsiteX15" fmla="*/ 1154820 w 2551380"/>
                <a:gd name="connsiteY15" fmla="*/ 192176 h 221956"/>
                <a:gd name="connsiteX16" fmla="*/ 1470866 w 2551380"/>
                <a:gd name="connsiteY16" fmla="*/ 192176 h 221956"/>
                <a:gd name="connsiteX17" fmla="*/ 1484121 w 2551380"/>
                <a:gd name="connsiteY17" fmla="*/ 215137 h 221956"/>
                <a:gd name="connsiteX18" fmla="*/ 1169916 w 2551380"/>
                <a:gd name="connsiteY18" fmla="*/ 215137 h 221956"/>
                <a:gd name="connsiteX19" fmla="*/ 184478 w 2551380"/>
                <a:gd name="connsiteY19" fmla="*/ 215137 h 221956"/>
                <a:gd name="connsiteX20" fmla="*/ 207440 w 2551380"/>
                <a:gd name="connsiteY20" fmla="*/ 192176 h 221956"/>
                <a:gd name="connsiteX21" fmla="*/ 1146954 w 2551380"/>
                <a:gd name="connsiteY21" fmla="*/ 192176 h 221956"/>
                <a:gd name="connsiteX22" fmla="*/ 1169916 w 2551380"/>
                <a:gd name="connsiteY22" fmla="*/ 215137 h 221956"/>
                <a:gd name="connsiteX23" fmla="*/ 160891 w 2551380"/>
                <a:gd name="connsiteY23" fmla="*/ 215137 h 221956"/>
                <a:gd name="connsiteX24" fmla="*/ 98143 w 2551380"/>
                <a:gd name="connsiteY24" fmla="*/ 215137 h 221956"/>
                <a:gd name="connsiteX25" fmla="*/ 121105 w 2551380"/>
                <a:gd name="connsiteY25" fmla="*/ 192176 h 221956"/>
                <a:gd name="connsiteX26" fmla="*/ 183843 w 2551380"/>
                <a:gd name="connsiteY26" fmla="*/ 192176 h 221956"/>
                <a:gd name="connsiteX27" fmla="*/ 160891 w 2551380"/>
                <a:gd name="connsiteY27" fmla="*/ 215137 h 221956"/>
                <a:gd name="connsiteX28" fmla="*/ 90277 w 2551380"/>
                <a:gd name="connsiteY28" fmla="*/ 215137 h 221956"/>
                <a:gd name="connsiteX29" fmla="*/ 7006 w 2551380"/>
                <a:gd name="connsiteY29" fmla="*/ 215137 h 221956"/>
                <a:gd name="connsiteX30" fmla="*/ 29968 w 2551380"/>
                <a:gd name="connsiteY30" fmla="*/ 192176 h 221956"/>
                <a:gd name="connsiteX31" fmla="*/ 113230 w 2551380"/>
                <a:gd name="connsiteY31" fmla="*/ 192176 h 221956"/>
                <a:gd name="connsiteX32" fmla="*/ 90277 w 2551380"/>
                <a:gd name="connsiteY32" fmla="*/ 215137 h 221956"/>
                <a:gd name="connsiteX33" fmla="*/ 2477266 w 2551380"/>
                <a:gd name="connsiteY33" fmla="*/ 75312 h 221956"/>
                <a:gd name="connsiteX34" fmla="*/ 2444804 w 2551380"/>
                <a:gd name="connsiteY34" fmla="*/ 75312 h 221956"/>
                <a:gd name="connsiteX35" fmla="*/ 2458013 w 2551380"/>
                <a:gd name="connsiteY35" fmla="*/ 62103 h 221956"/>
                <a:gd name="connsiteX36" fmla="*/ 2513110 w 2551380"/>
                <a:gd name="connsiteY36" fmla="*/ 7006 h 221956"/>
                <a:gd name="connsiteX37" fmla="*/ 2545572 w 2551380"/>
                <a:gd name="connsiteY37" fmla="*/ 7006 h 221956"/>
                <a:gd name="connsiteX38" fmla="*/ 2477266 w 2551380"/>
                <a:gd name="connsiteY38" fmla="*/ 75312 h 22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51380" h="221956">
                  <a:moveTo>
                    <a:pt x="2337441" y="215137"/>
                  </a:moveTo>
                  <a:lnTo>
                    <a:pt x="2333489" y="215137"/>
                  </a:lnTo>
                  <a:lnTo>
                    <a:pt x="2354330" y="179023"/>
                  </a:lnTo>
                  <a:lnTo>
                    <a:pt x="2349482" y="170625"/>
                  </a:lnTo>
                  <a:lnTo>
                    <a:pt x="2388521" y="131586"/>
                  </a:lnTo>
                  <a:lnTo>
                    <a:pt x="2420983" y="131586"/>
                  </a:lnTo>
                  <a:lnTo>
                    <a:pt x="2409324" y="143254"/>
                  </a:lnTo>
                  <a:lnTo>
                    <a:pt x="2337441" y="215137"/>
                  </a:lnTo>
                  <a:close/>
                  <a:moveTo>
                    <a:pt x="2314227" y="215137"/>
                  </a:moveTo>
                  <a:lnTo>
                    <a:pt x="1503384" y="215137"/>
                  </a:lnTo>
                  <a:lnTo>
                    <a:pt x="1490128" y="192176"/>
                  </a:lnTo>
                  <a:lnTo>
                    <a:pt x="2327483" y="192176"/>
                  </a:lnTo>
                  <a:lnTo>
                    <a:pt x="2314227" y="215137"/>
                  </a:lnTo>
                  <a:close/>
                  <a:moveTo>
                    <a:pt x="1484121" y="215137"/>
                  </a:moveTo>
                  <a:lnTo>
                    <a:pt x="1177772" y="215137"/>
                  </a:lnTo>
                  <a:lnTo>
                    <a:pt x="1154820" y="192176"/>
                  </a:lnTo>
                  <a:lnTo>
                    <a:pt x="1470866" y="192176"/>
                  </a:lnTo>
                  <a:lnTo>
                    <a:pt x="1484121" y="215137"/>
                  </a:lnTo>
                  <a:close/>
                  <a:moveTo>
                    <a:pt x="1169916" y="215137"/>
                  </a:moveTo>
                  <a:lnTo>
                    <a:pt x="184478" y="215137"/>
                  </a:lnTo>
                  <a:lnTo>
                    <a:pt x="207440" y="192176"/>
                  </a:lnTo>
                  <a:lnTo>
                    <a:pt x="1146954" y="192176"/>
                  </a:lnTo>
                  <a:lnTo>
                    <a:pt x="1169916" y="215137"/>
                  </a:lnTo>
                  <a:close/>
                  <a:moveTo>
                    <a:pt x="160891" y="215137"/>
                  </a:moveTo>
                  <a:lnTo>
                    <a:pt x="98143" y="215137"/>
                  </a:lnTo>
                  <a:lnTo>
                    <a:pt x="121105" y="192176"/>
                  </a:lnTo>
                  <a:lnTo>
                    <a:pt x="183843" y="192176"/>
                  </a:lnTo>
                  <a:lnTo>
                    <a:pt x="160891" y="215137"/>
                  </a:lnTo>
                  <a:close/>
                  <a:moveTo>
                    <a:pt x="90277" y="215137"/>
                  </a:moveTo>
                  <a:lnTo>
                    <a:pt x="7006" y="215137"/>
                  </a:lnTo>
                  <a:lnTo>
                    <a:pt x="29968" y="192176"/>
                  </a:lnTo>
                  <a:lnTo>
                    <a:pt x="113230" y="192176"/>
                  </a:lnTo>
                  <a:lnTo>
                    <a:pt x="90277" y="215137"/>
                  </a:lnTo>
                  <a:close/>
                  <a:moveTo>
                    <a:pt x="2477266" y="75312"/>
                  </a:moveTo>
                  <a:lnTo>
                    <a:pt x="2444804" y="75312"/>
                  </a:lnTo>
                  <a:lnTo>
                    <a:pt x="2458013" y="62103"/>
                  </a:lnTo>
                  <a:lnTo>
                    <a:pt x="2513110" y="7006"/>
                  </a:lnTo>
                  <a:lnTo>
                    <a:pt x="2545572" y="7006"/>
                  </a:lnTo>
                  <a:lnTo>
                    <a:pt x="2477266" y="75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5" name="Freeform: Shape 13444">
              <a:extLst>
                <a:ext uri="{FF2B5EF4-FFF2-40B4-BE49-F238E27FC236}">
                  <a16:creationId xmlns:a16="http://schemas.microsoft.com/office/drawing/2014/main" id="{11FC0D5D-2400-436A-A0D2-1D025D74B5C9}"/>
                </a:ext>
              </a:extLst>
            </p:cNvPr>
            <p:cNvSpPr/>
            <p:nvPr/>
          </p:nvSpPr>
          <p:spPr bwMode="ltGray">
            <a:xfrm>
              <a:off x="1831955" y="2970727"/>
              <a:ext cx="896795" cy="58292"/>
            </a:xfrm>
            <a:custGeom>
              <a:avLst/>
              <a:gdLst>
                <a:gd name="connsiteX0" fmla="*/ 869630 w 896794"/>
                <a:gd name="connsiteY0" fmla="*/ 51519 h 58291"/>
                <a:gd name="connsiteX1" fmla="*/ 850367 w 896794"/>
                <a:gd name="connsiteY1" fmla="*/ 51519 h 58291"/>
                <a:gd name="connsiteX2" fmla="*/ 863623 w 896794"/>
                <a:gd name="connsiteY2" fmla="*/ 28557 h 58291"/>
                <a:gd name="connsiteX3" fmla="*/ 864072 w 896794"/>
                <a:gd name="connsiteY3" fmla="*/ 28557 h 58291"/>
                <a:gd name="connsiteX4" fmla="*/ 885623 w 896794"/>
                <a:gd name="connsiteY4" fmla="*/ 7006 h 58291"/>
                <a:gd name="connsiteX5" fmla="*/ 890471 w 896794"/>
                <a:gd name="connsiteY5" fmla="*/ 15404 h 58291"/>
                <a:gd name="connsiteX6" fmla="*/ 869630 w 896794"/>
                <a:gd name="connsiteY6" fmla="*/ 51519 h 58291"/>
                <a:gd name="connsiteX7" fmla="*/ 39524 w 896794"/>
                <a:gd name="connsiteY7" fmla="*/ 51519 h 58291"/>
                <a:gd name="connsiteX8" fmla="*/ 20262 w 896794"/>
                <a:gd name="connsiteY8" fmla="*/ 51519 h 58291"/>
                <a:gd name="connsiteX9" fmla="*/ 7006 w 896794"/>
                <a:gd name="connsiteY9" fmla="*/ 28557 h 58291"/>
                <a:gd name="connsiteX10" fmla="*/ 26269 w 896794"/>
                <a:gd name="connsiteY10" fmla="*/ 28557 h 58291"/>
                <a:gd name="connsiteX11" fmla="*/ 39524 w 896794"/>
                <a:gd name="connsiteY11" fmla="*/ 51519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6794" h="58291">
                  <a:moveTo>
                    <a:pt x="869630" y="51519"/>
                  </a:moveTo>
                  <a:lnTo>
                    <a:pt x="850367" y="51519"/>
                  </a:lnTo>
                  <a:lnTo>
                    <a:pt x="863623" y="28557"/>
                  </a:lnTo>
                  <a:lnTo>
                    <a:pt x="864072" y="28557"/>
                  </a:lnTo>
                  <a:lnTo>
                    <a:pt x="885623" y="7006"/>
                  </a:lnTo>
                  <a:lnTo>
                    <a:pt x="890471" y="15404"/>
                  </a:lnTo>
                  <a:lnTo>
                    <a:pt x="869630" y="51519"/>
                  </a:lnTo>
                  <a:close/>
                  <a:moveTo>
                    <a:pt x="39524" y="51519"/>
                  </a:moveTo>
                  <a:lnTo>
                    <a:pt x="20262" y="51519"/>
                  </a:lnTo>
                  <a:lnTo>
                    <a:pt x="7006" y="28557"/>
                  </a:lnTo>
                  <a:lnTo>
                    <a:pt x="26269" y="28557"/>
                  </a:lnTo>
                  <a:lnTo>
                    <a:pt x="39524" y="5151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6" name="Freeform: Shape 13445">
              <a:extLst>
                <a:ext uri="{FF2B5EF4-FFF2-40B4-BE49-F238E27FC236}">
                  <a16:creationId xmlns:a16="http://schemas.microsoft.com/office/drawing/2014/main" id="{15046E63-2912-45AC-AB30-9779A4B90544}"/>
                </a:ext>
              </a:extLst>
            </p:cNvPr>
            <p:cNvSpPr/>
            <p:nvPr/>
          </p:nvSpPr>
          <p:spPr bwMode="ltGray">
            <a:xfrm>
              <a:off x="521980" y="2992278"/>
              <a:ext cx="60534" cy="35872"/>
            </a:xfrm>
            <a:custGeom>
              <a:avLst/>
              <a:gdLst>
                <a:gd name="connsiteX0" fmla="*/ 30594 w 60533"/>
                <a:gd name="connsiteY0" fmla="*/ 29968 h 35871"/>
                <a:gd name="connsiteX1" fmla="*/ 7006 w 60533"/>
                <a:gd name="connsiteY1" fmla="*/ 29968 h 35871"/>
                <a:gd name="connsiteX2" fmla="*/ 29959 w 60533"/>
                <a:gd name="connsiteY2" fmla="*/ 7006 h 35871"/>
                <a:gd name="connsiteX3" fmla="*/ 53556 w 60533"/>
                <a:gd name="connsiteY3" fmla="*/ 7006 h 35871"/>
                <a:gd name="connsiteX4" fmla="*/ 30594 w 60533"/>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35871">
                  <a:moveTo>
                    <a:pt x="30594" y="29968"/>
                  </a:moveTo>
                  <a:lnTo>
                    <a:pt x="7006" y="29968"/>
                  </a:lnTo>
                  <a:lnTo>
                    <a:pt x="29959" y="7006"/>
                  </a:lnTo>
                  <a:lnTo>
                    <a:pt x="53556" y="7006"/>
                  </a:lnTo>
                  <a:lnTo>
                    <a:pt x="3059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7" name="Freeform: Shape 13446">
              <a:extLst>
                <a:ext uri="{FF2B5EF4-FFF2-40B4-BE49-F238E27FC236}">
                  <a16:creationId xmlns:a16="http://schemas.microsoft.com/office/drawing/2014/main" id="{DEE6AE30-4BE1-4A23-B7BB-42AA5E23B12A}"/>
                </a:ext>
              </a:extLst>
            </p:cNvPr>
            <p:cNvSpPr/>
            <p:nvPr/>
          </p:nvSpPr>
          <p:spPr bwMode="ltGray">
            <a:xfrm>
              <a:off x="451367" y="2992278"/>
              <a:ext cx="1100815" cy="35872"/>
            </a:xfrm>
            <a:custGeom>
              <a:avLst/>
              <a:gdLst>
                <a:gd name="connsiteX0" fmla="*/ 1094501 w 1100815"/>
                <a:gd name="connsiteY0" fmla="*/ 29968 h 35871"/>
                <a:gd name="connsiteX1" fmla="*/ 1086645 w 1100815"/>
                <a:gd name="connsiteY1" fmla="*/ 29968 h 35871"/>
                <a:gd name="connsiteX2" fmla="*/ 1063683 w 1100815"/>
                <a:gd name="connsiteY2" fmla="*/ 7006 h 35871"/>
                <a:gd name="connsiteX3" fmla="*/ 1071549 w 1100815"/>
                <a:gd name="connsiteY3" fmla="*/ 7006 h 35871"/>
                <a:gd name="connsiteX4" fmla="*/ 1094501 w 1100815"/>
                <a:gd name="connsiteY4" fmla="*/ 29968 h 35871"/>
                <a:gd name="connsiteX5" fmla="*/ 14872 w 1100815"/>
                <a:gd name="connsiteY5" fmla="*/ 29968 h 35871"/>
                <a:gd name="connsiteX6" fmla="*/ 7006 w 1100815"/>
                <a:gd name="connsiteY6" fmla="*/ 29968 h 35871"/>
                <a:gd name="connsiteX7" fmla="*/ 29959 w 1100815"/>
                <a:gd name="connsiteY7" fmla="*/ 7006 h 35871"/>
                <a:gd name="connsiteX8" fmla="*/ 37834 w 1100815"/>
                <a:gd name="connsiteY8" fmla="*/ 7006 h 35871"/>
                <a:gd name="connsiteX9" fmla="*/ 14872 w 1100815"/>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0815" h="35871">
                  <a:moveTo>
                    <a:pt x="1094501" y="29968"/>
                  </a:moveTo>
                  <a:lnTo>
                    <a:pt x="1086645" y="29968"/>
                  </a:lnTo>
                  <a:lnTo>
                    <a:pt x="1063683" y="7006"/>
                  </a:lnTo>
                  <a:lnTo>
                    <a:pt x="1071549" y="7006"/>
                  </a:lnTo>
                  <a:lnTo>
                    <a:pt x="1094501" y="29968"/>
                  </a:lnTo>
                  <a:close/>
                  <a:moveTo>
                    <a:pt x="14872" y="29968"/>
                  </a:moveTo>
                  <a:lnTo>
                    <a:pt x="7006" y="29968"/>
                  </a:lnTo>
                  <a:lnTo>
                    <a:pt x="29959" y="7006"/>
                  </a:lnTo>
                  <a:lnTo>
                    <a:pt x="3783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8" name="Freeform: Shape 13447">
              <a:extLst>
                <a:ext uri="{FF2B5EF4-FFF2-40B4-BE49-F238E27FC236}">
                  <a16:creationId xmlns:a16="http://schemas.microsoft.com/office/drawing/2014/main" id="{C1242256-A72C-48B8-A376-0CC909A7B099}"/>
                </a:ext>
              </a:extLst>
            </p:cNvPr>
            <p:cNvSpPr/>
            <p:nvPr/>
          </p:nvSpPr>
          <p:spPr bwMode="ltGray">
            <a:xfrm>
              <a:off x="2749610" y="2875414"/>
              <a:ext cx="100889" cy="69502"/>
            </a:xfrm>
            <a:custGeom>
              <a:avLst/>
              <a:gdLst>
                <a:gd name="connsiteX0" fmla="*/ 39468 w 100889"/>
                <a:gd name="connsiteY0" fmla="*/ 63280 h 69501"/>
                <a:gd name="connsiteX1" fmla="*/ 7006 w 100889"/>
                <a:gd name="connsiteY1" fmla="*/ 63280 h 69501"/>
                <a:gd name="connsiteX2" fmla="*/ 11574 w 100889"/>
                <a:gd name="connsiteY2" fmla="*/ 58712 h 69501"/>
                <a:gd name="connsiteX3" fmla="*/ 63289 w 100889"/>
                <a:gd name="connsiteY3" fmla="*/ 7006 h 69501"/>
                <a:gd name="connsiteX4" fmla="*/ 95752 w 100889"/>
                <a:gd name="connsiteY4" fmla="*/ 7006 h 69501"/>
                <a:gd name="connsiteX5" fmla="*/ 92725 w 100889"/>
                <a:gd name="connsiteY5" fmla="*/ 10033 h 69501"/>
                <a:gd name="connsiteX6" fmla="*/ 39468 w 100889"/>
                <a:gd name="connsiteY6" fmla="*/ 6328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69501">
                  <a:moveTo>
                    <a:pt x="39468" y="63280"/>
                  </a:moveTo>
                  <a:lnTo>
                    <a:pt x="7006" y="63280"/>
                  </a:lnTo>
                  <a:lnTo>
                    <a:pt x="11574" y="58712"/>
                  </a:lnTo>
                  <a:lnTo>
                    <a:pt x="63289" y="7006"/>
                  </a:lnTo>
                  <a:lnTo>
                    <a:pt x="95752" y="7006"/>
                  </a:lnTo>
                  <a:lnTo>
                    <a:pt x="92725" y="10033"/>
                  </a:lnTo>
                  <a:lnTo>
                    <a:pt x="39468" y="6328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9" name="Freeform: Shape 13448">
              <a:extLst>
                <a:ext uri="{FF2B5EF4-FFF2-40B4-BE49-F238E27FC236}">
                  <a16:creationId xmlns:a16="http://schemas.microsoft.com/office/drawing/2014/main" id="{B831F15D-FA47-41DA-972D-052280D2B38D}"/>
                </a:ext>
              </a:extLst>
            </p:cNvPr>
            <p:cNvSpPr/>
            <p:nvPr/>
          </p:nvSpPr>
          <p:spPr bwMode="ltGray">
            <a:xfrm>
              <a:off x="-2860" y="2992278"/>
              <a:ext cx="405800" cy="35872"/>
            </a:xfrm>
            <a:custGeom>
              <a:avLst/>
              <a:gdLst>
                <a:gd name="connsiteX0" fmla="*/ 377962 w 405799"/>
                <a:gd name="connsiteY0" fmla="*/ 29968 h 35871"/>
                <a:gd name="connsiteX1" fmla="*/ 7006 w 405799"/>
                <a:gd name="connsiteY1" fmla="*/ 29968 h 35871"/>
                <a:gd name="connsiteX2" fmla="*/ 7006 w 405799"/>
                <a:gd name="connsiteY2" fmla="*/ 7006 h 35871"/>
                <a:gd name="connsiteX3" fmla="*/ 400924 w 405799"/>
                <a:gd name="connsiteY3" fmla="*/ 7006 h 35871"/>
                <a:gd name="connsiteX4" fmla="*/ 377962 w 40579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799" h="35871">
                  <a:moveTo>
                    <a:pt x="377962" y="29968"/>
                  </a:moveTo>
                  <a:lnTo>
                    <a:pt x="7006" y="29968"/>
                  </a:lnTo>
                  <a:lnTo>
                    <a:pt x="7006" y="7006"/>
                  </a:lnTo>
                  <a:lnTo>
                    <a:pt x="400924" y="7006"/>
                  </a:lnTo>
                  <a:lnTo>
                    <a:pt x="37796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0" name="Freeform: Shape 13449">
              <a:extLst>
                <a:ext uri="{FF2B5EF4-FFF2-40B4-BE49-F238E27FC236}">
                  <a16:creationId xmlns:a16="http://schemas.microsoft.com/office/drawing/2014/main" id="{DF2BB40E-C453-4607-AE54-543EA76CE22C}"/>
                </a:ext>
              </a:extLst>
            </p:cNvPr>
            <p:cNvSpPr/>
            <p:nvPr/>
          </p:nvSpPr>
          <p:spPr bwMode="ltGray">
            <a:xfrm>
              <a:off x="2885680" y="2450212"/>
              <a:ext cx="1365370" cy="358718"/>
            </a:xfrm>
            <a:custGeom>
              <a:avLst/>
              <a:gdLst>
                <a:gd name="connsiteX0" fmla="*/ 39468 w 1365369"/>
                <a:gd name="connsiteY0" fmla="*/ 352422 h 358717"/>
                <a:gd name="connsiteX1" fmla="*/ 7006 w 1365369"/>
                <a:gd name="connsiteY1" fmla="*/ 352422 h 358717"/>
                <a:gd name="connsiteX2" fmla="*/ 352422 w 1365369"/>
                <a:gd name="connsiteY2" fmla="*/ 7006 h 358717"/>
                <a:gd name="connsiteX3" fmla="*/ 674577 w 1365369"/>
                <a:gd name="connsiteY3" fmla="*/ 7006 h 358717"/>
                <a:gd name="connsiteX4" fmla="*/ 651625 w 1365369"/>
                <a:gd name="connsiteY4" fmla="*/ 29959 h 358717"/>
                <a:gd name="connsiteX5" fmla="*/ 361922 w 1365369"/>
                <a:gd name="connsiteY5" fmla="*/ 29959 h 358717"/>
                <a:gd name="connsiteX6" fmla="*/ 39468 w 1365369"/>
                <a:gd name="connsiteY6" fmla="*/ 352422 h 358717"/>
                <a:gd name="connsiteX7" fmla="*/ 1360205 w 1365369"/>
                <a:gd name="connsiteY7" fmla="*/ 268768 h 358717"/>
                <a:gd name="connsiteX8" fmla="*/ 1208263 w 1365369"/>
                <a:gd name="connsiteY8" fmla="*/ 268768 h 358717"/>
                <a:gd name="connsiteX9" fmla="*/ 1064795 w 1365369"/>
                <a:gd name="connsiteY9" fmla="*/ 125308 h 358717"/>
                <a:gd name="connsiteX10" fmla="*/ 1097257 w 1365369"/>
                <a:gd name="connsiteY10" fmla="*/ 125308 h 358717"/>
                <a:gd name="connsiteX11" fmla="*/ 1217764 w 1365369"/>
                <a:gd name="connsiteY11" fmla="*/ 245815 h 358717"/>
                <a:gd name="connsiteX12" fmla="*/ 1360205 w 1365369"/>
                <a:gd name="connsiteY12" fmla="*/ 245815 h 358717"/>
                <a:gd name="connsiteX13" fmla="*/ 1360205 w 1365369"/>
                <a:gd name="connsiteY13" fmla="*/ 268768 h 358717"/>
                <a:gd name="connsiteX14" fmla="*/ 1080367 w 1365369"/>
                <a:gd name="connsiteY14" fmla="*/ 108419 h 358717"/>
                <a:gd name="connsiteX15" fmla="*/ 1047915 w 1365369"/>
                <a:gd name="connsiteY15" fmla="*/ 108419 h 358717"/>
                <a:gd name="connsiteX16" fmla="*/ 969454 w 1365369"/>
                <a:gd name="connsiteY16" fmla="*/ 29959 h 358717"/>
                <a:gd name="connsiteX17" fmla="*/ 667851 w 1365369"/>
                <a:gd name="connsiteY17" fmla="*/ 29959 h 358717"/>
                <a:gd name="connsiteX18" fmla="*/ 690803 w 1365369"/>
                <a:gd name="connsiteY18" fmla="*/ 7006 h 358717"/>
                <a:gd name="connsiteX19" fmla="*/ 978964 w 1365369"/>
                <a:gd name="connsiteY19" fmla="*/ 7006 h 358717"/>
                <a:gd name="connsiteX20" fmla="*/ 1080367 w 1365369"/>
                <a:gd name="connsiteY20" fmla="*/ 108419 h 35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65369" h="358717">
                  <a:moveTo>
                    <a:pt x="39468" y="352422"/>
                  </a:moveTo>
                  <a:lnTo>
                    <a:pt x="7006" y="352422"/>
                  </a:lnTo>
                  <a:lnTo>
                    <a:pt x="352422" y="7006"/>
                  </a:lnTo>
                  <a:lnTo>
                    <a:pt x="674577" y="7006"/>
                  </a:lnTo>
                  <a:lnTo>
                    <a:pt x="651625" y="29959"/>
                  </a:lnTo>
                  <a:lnTo>
                    <a:pt x="361922" y="29959"/>
                  </a:lnTo>
                  <a:lnTo>
                    <a:pt x="39468" y="352422"/>
                  </a:lnTo>
                  <a:close/>
                  <a:moveTo>
                    <a:pt x="1360205" y="268768"/>
                  </a:moveTo>
                  <a:lnTo>
                    <a:pt x="1208263" y="268768"/>
                  </a:lnTo>
                  <a:lnTo>
                    <a:pt x="1064795" y="125308"/>
                  </a:lnTo>
                  <a:lnTo>
                    <a:pt x="1097257" y="125308"/>
                  </a:lnTo>
                  <a:lnTo>
                    <a:pt x="1217764" y="245815"/>
                  </a:lnTo>
                  <a:lnTo>
                    <a:pt x="1360205" y="245815"/>
                  </a:lnTo>
                  <a:lnTo>
                    <a:pt x="1360205" y="268768"/>
                  </a:lnTo>
                  <a:close/>
                  <a:moveTo>
                    <a:pt x="1080367" y="108419"/>
                  </a:moveTo>
                  <a:lnTo>
                    <a:pt x="1047915" y="108419"/>
                  </a:lnTo>
                  <a:lnTo>
                    <a:pt x="969454" y="29959"/>
                  </a:lnTo>
                  <a:lnTo>
                    <a:pt x="667851" y="29959"/>
                  </a:lnTo>
                  <a:lnTo>
                    <a:pt x="690803" y="7006"/>
                  </a:lnTo>
                  <a:lnTo>
                    <a:pt x="978964" y="7006"/>
                  </a:lnTo>
                  <a:lnTo>
                    <a:pt x="1080367" y="10841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1" name="Freeform: Shape 13450">
              <a:extLst>
                <a:ext uri="{FF2B5EF4-FFF2-40B4-BE49-F238E27FC236}">
                  <a16:creationId xmlns:a16="http://schemas.microsoft.com/office/drawing/2014/main" id="{AE8BA95A-7022-45ED-8377-332310D6A0BA}"/>
                </a:ext>
              </a:extLst>
            </p:cNvPr>
            <p:cNvSpPr/>
            <p:nvPr/>
          </p:nvSpPr>
          <p:spPr bwMode="ltGray">
            <a:xfrm>
              <a:off x="3926588" y="2551625"/>
              <a:ext cx="62776" cy="29146"/>
            </a:xfrm>
            <a:custGeom>
              <a:avLst/>
              <a:gdLst>
                <a:gd name="connsiteX0" fmla="*/ 56348 w 62775"/>
                <a:gd name="connsiteY0" fmla="*/ 23896 h 29145"/>
                <a:gd name="connsiteX1" fmla="*/ 23887 w 62775"/>
                <a:gd name="connsiteY1" fmla="*/ 23896 h 29145"/>
                <a:gd name="connsiteX2" fmla="*/ 7006 w 62775"/>
                <a:gd name="connsiteY2" fmla="*/ 7006 h 29145"/>
                <a:gd name="connsiteX3" fmla="*/ 39459 w 62775"/>
                <a:gd name="connsiteY3" fmla="*/ 7006 h 29145"/>
                <a:gd name="connsiteX4" fmla="*/ 56348 w 62775"/>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75" h="29145">
                  <a:moveTo>
                    <a:pt x="56348" y="23896"/>
                  </a:moveTo>
                  <a:lnTo>
                    <a:pt x="23887" y="23896"/>
                  </a:lnTo>
                  <a:lnTo>
                    <a:pt x="7006" y="7006"/>
                  </a:lnTo>
                  <a:lnTo>
                    <a:pt x="39459" y="7006"/>
                  </a:lnTo>
                  <a:lnTo>
                    <a:pt x="56348"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2" name="Freeform: Shape 13451">
              <a:extLst>
                <a:ext uri="{FF2B5EF4-FFF2-40B4-BE49-F238E27FC236}">
                  <a16:creationId xmlns:a16="http://schemas.microsoft.com/office/drawing/2014/main" id="{7A3559DB-31D5-4DE6-871C-D45DBD85C01F}"/>
                </a:ext>
              </a:extLst>
            </p:cNvPr>
            <p:cNvSpPr/>
            <p:nvPr/>
          </p:nvSpPr>
          <p:spPr bwMode="ltGray">
            <a:xfrm>
              <a:off x="2861233" y="3770024"/>
              <a:ext cx="773485" cy="168149"/>
            </a:xfrm>
            <a:custGeom>
              <a:avLst/>
              <a:gdLst>
                <a:gd name="connsiteX0" fmla="*/ 650018 w 773485"/>
                <a:gd name="connsiteY0" fmla="*/ 162217 h 168148"/>
                <a:gd name="connsiteX1" fmla="*/ 329703 w 773485"/>
                <a:gd name="connsiteY1" fmla="*/ 162217 h 168148"/>
                <a:gd name="connsiteX2" fmla="*/ 405342 w 773485"/>
                <a:gd name="connsiteY2" fmla="*/ 127784 h 168148"/>
                <a:gd name="connsiteX3" fmla="*/ 635763 w 773485"/>
                <a:gd name="connsiteY3" fmla="*/ 127784 h 168148"/>
                <a:gd name="connsiteX4" fmla="*/ 719501 w 773485"/>
                <a:gd name="connsiteY4" fmla="*/ 44046 h 168148"/>
                <a:gd name="connsiteX5" fmla="*/ 768189 w 773485"/>
                <a:gd name="connsiteY5" fmla="*/ 44046 h 168148"/>
                <a:gd name="connsiteX6" fmla="*/ 765181 w 773485"/>
                <a:gd name="connsiteY6" fmla="*/ 47054 h 168148"/>
                <a:gd name="connsiteX7" fmla="*/ 674857 w 773485"/>
                <a:gd name="connsiteY7" fmla="*/ 137387 h 168148"/>
                <a:gd name="connsiteX8" fmla="*/ 670934 w 773485"/>
                <a:gd name="connsiteY8" fmla="*/ 137387 h 168148"/>
                <a:gd name="connsiteX9" fmla="*/ 670934 w 773485"/>
                <a:gd name="connsiteY9" fmla="*/ 141301 h 168148"/>
                <a:gd name="connsiteX10" fmla="*/ 650018 w 773485"/>
                <a:gd name="connsiteY10" fmla="*/ 162217 h 168148"/>
                <a:gd name="connsiteX11" fmla="*/ 532752 w 773485"/>
                <a:gd name="connsiteY11" fmla="*/ 137387 h 168148"/>
                <a:gd name="connsiteX12" fmla="*/ 532752 w 773485"/>
                <a:gd name="connsiteY12" fmla="*/ 143002 h 168148"/>
                <a:gd name="connsiteX13" fmla="*/ 601843 w 773485"/>
                <a:gd name="connsiteY13" fmla="*/ 143002 h 168148"/>
                <a:gd name="connsiteX14" fmla="*/ 601843 w 773485"/>
                <a:gd name="connsiteY14" fmla="*/ 137387 h 168148"/>
                <a:gd name="connsiteX15" fmla="*/ 532752 w 773485"/>
                <a:gd name="connsiteY15" fmla="*/ 137387 h 168148"/>
                <a:gd name="connsiteX16" fmla="*/ 429901 w 773485"/>
                <a:gd name="connsiteY16" fmla="*/ 137387 h 168148"/>
                <a:gd name="connsiteX17" fmla="*/ 429901 w 773485"/>
                <a:gd name="connsiteY17" fmla="*/ 143002 h 168148"/>
                <a:gd name="connsiteX18" fmla="*/ 463671 w 773485"/>
                <a:gd name="connsiteY18" fmla="*/ 143002 h 168148"/>
                <a:gd name="connsiteX19" fmla="*/ 463671 w 773485"/>
                <a:gd name="connsiteY19" fmla="*/ 137387 h 168148"/>
                <a:gd name="connsiteX20" fmla="*/ 429901 w 773485"/>
                <a:gd name="connsiteY20" fmla="*/ 137387 h 168148"/>
                <a:gd name="connsiteX21" fmla="*/ 280024 w 773485"/>
                <a:gd name="connsiteY21" fmla="*/ 162217 h 168148"/>
                <a:gd name="connsiteX22" fmla="*/ 162227 w 773485"/>
                <a:gd name="connsiteY22" fmla="*/ 162217 h 168148"/>
                <a:gd name="connsiteX23" fmla="*/ 7006 w 773485"/>
                <a:gd name="connsiteY23" fmla="*/ 7006 h 168148"/>
                <a:gd name="connsiteX24" fmla="*/ 55704 w 773485"/>
                <a:gd name="connsiteY24" fmla="*/ 7006 h 168148"/>
                <a:gd name="connsiteX25" fmla="*/ 176482 w 773485"/>
                <a:gd name="connsiteY25" fmla="*/ 127784 h 168148"/>
                <a:gd name="connsiteX26" fmla="*/ 204395 w 773485"/>
                <a:gd name="connsiteY26" fmla="*/ 127784 h 168148"/>
                <a:gd name="connsiteX27" fmla="*/ 280024 w 773485"/>
                <a:gd name="connsiteY27" fmla="*/ 162217 h 16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3485" h="168148">
                  <a:moveTo>
                    <a:pt x="650018" y="162217"/>
                  </a:moveTo>
                  <a:lnTo>
                    <a:pt x="329703" y="162217"/>
                  </a:lnTo>
                  <a:cubicBezTo>
                    <a:pt x="358176" y="157677"/>
                    <a:pt x="384109" y="145468"/>
                    <a:pt x="405342" y="127784"/>
                  </a:cubicBezTo>
                  <a:lnTo>
                    <a:pt x="635763" y="127784"/>
                  </a:lnTo>
                  <a:lnTo>
                    <a:pt x="719501" y="44046"/>
                  </a:lnTo>
                  <a:lnTo>
                    <a:pt x="768189" y="44046"/>
                  </a:lnTo>
                  <a:lnTo>
                    <a:pt x="765181" y="47054"/>
                  </a:lnTo>
                  <a:lnTo>
                    <a:pt x="674857" y="137387"/>
                  </a:lnTo>
                  <a:lnTo>
                    <a:pt x="670934" y="137387"/>
                  </a:lnTo>
                  <a:lnTo>
                    <a:pt x="670934" y="141301"/>
                  </a:lnTo>
                  <a:lnTo>
                    <a:pt x="650018" y="162217"/>
                  </a:lnTo>
                  <a:close/>
                  <a:moveTo>
                    <a:pt x="532752" y="137387"/>
                  </a:moveTo>
                  <a:lnTo>
                    <a:pt x="532752" y="143002"/>
                  </a:lnTo>
                  <a:lnTo>
                    <a:pt x="601843" y="143002"/>
                  </a:lnTo>
                  <a:lnTo>
                    <a:pt x="601843" y="137387"/>
                  </a:lnTo>
                  <a:lnTo>
                    <a:pt x="532752" y="137387"/>
                  </a:lnTo>
                  <a:close/>
                  <a:moveTo>
                    <a:pt x="429901" y="137387"/>
                  </a:moveTo>
                  <a:lnTo>
                    <a:pt x="429901" y="143002"/>
                  </a:lnTo>
                  <a:lnTo>
                    <a:pt x="463671" y="143002"/>
                  </a:lnTo>
                  <a:lnTo>
                    <a:pt x="463671" y="137387"/>
                  </a:lnTo>
                  <a:lnTo>
                    <a:pt x="429901" y="137387"/>
                  </a:lnTo>
                  <a:close/>
                  <a:moveTo>
                    <a:pt x="280024" y="162217"/>
                  </a:moveTo>
                  <a:lnTo>
                    <a:pt x="162227" y="162217"/>
                  </a:lnTo>
                  <a:lnTo>
                    <a:pt x="7006" y="7006"/>
                  </a:lnTo>
                  <a:lnTo>
                    <a:pt x="55704" y="7006"/>
                  </a:lnTo>
                  <a:lnTo>
                    <a:pt x="176482" y="127784"/>
                  </a:lnTo>
                  <a:lnTo>
                    <a:pt x="204395" y="127784"/>
                  </a:lnTo>
                  <a:cubicBezTo>
                    <a:pt x="225619" y="145468"/>
                    <a:pt x="251560" y="157677"/>
                    <a:pt x="280024" y="162217"/>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3" name="Freeform: Shape 13452">
              <a:extLst>
                <a:ext uri="{FF2B5EF4-FFF2-40B4-BE49-F238E27FC236}">
                  <a16:creationId xmlns:a16="http://schemas.microsoft.com/office/drawing/2014/main" id="{BF5B2807-1940-4EB4-96F2-A3D5D212AAE0}"/>
                </a:ext>
              </a:extLst>
            </p:cNvPr>
            <p:cNvSpPr/>
            <p:nvPr/>
          </p:nvSpPr>
          <p:spPr bwMode="ltGray">
            <a:xfrm>
              <a:off x="3058621" y="3890801"/>
              <a:ext cx="212989" cy="47082"/>
            </a:xfrm>
            <a:custGeom>
              <a:avLst/>
              <a:gdLst>
                <a:gd name="connsiteX0" fmla="*/ 132315 w 212988"/>
                <a:gd name="connsiteY0" fmla="*/ 41439 h 47081"/>
                <a:gd name="connsiteX1" fmla="*/ 82636 w 212988"/>
                <a:gd name="connsiteY1" fmla="*/ 41439 h 47081"/>
                <a:gd name="connsiteX2" fmla="*/ 7006 w 212988"/>
                <a:gd name="connsiteY2" fmla="*/ 7006 h 47081"/>
                <a:gd name="connsiteX3" fmla="*/ 207954 w 212988"/>
                <a:gd name="connsiteY3" fmla="*/ 7006 h 47081"/>
                <a:gd name="connsiteX4" fmla="*/ 132315 w 212988"/>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8" h="47081">
                  <a:moveTo>
                    <a:pt x="132315" y="41439"/>
                  </a:moveTo>
                  <a:lnTo>
                    <a:pt x="82636" y="41439"/>
                  </a:lnTo>
                  <a:cubicBezTo>
                    <a:pt x="54172" y="36900"/>
                    <a:pt x="28230" y="24690"/>
                    <a:pt x="7006" y="7006"/>
                  </a:cubicBezTo>
                  <a:lnTo>
                    <a:pt x="207954" y="7006"/>
                  </a:lnTo>
                  <a:cubicBezTo>
                    <a:pt x="186720" y="24690"/>
                    <a:pt x="160788" y="36900"/>
                    <a:pt x="132315" y="4143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4" name="Freeform: Shape 13453">
              <a:extLst>
                <a:ext uri="{FF2B5EF4-FFF2-40B4-BE49-F238E27FC236}">
                  <a16:creationId xmlns:a16="http://schemas.microsoft.com/office/drawing/2014/main" id="{0D494BAE-792A-4B1B-86E8-C5166D07CD02}"/>
                </a:ext>
              </a:extLst>
            </p:cNvPr>
            <p:cNvSpPr/>
            <p:nvPr/>
          </p:nvSpPr>
          <p:spPr bwMode="ltGray">
            <a:xfrm>
              <a:off x="2562049" y="3470830"/>
              <a:ext cx="1268964" cy="343024"/>
            </a:xfrm>
            <a:custGeom>
              <a:avLst/>
              <a:gdLst>
                <a:gd name="connsiteX0" fmla="*/ 1073006 w 1268964"/>
                <a:gd name="connsiteY0" fmla="*/ 337616 h 343023"/>
                <a:gd name="connsiteX1" fmla="*/ 1024308 w 1268964"/>
                <a:gd name="connsiteY1" fmla="*/ 337616 h 343023"/>
                <a:gd name="connsiteX2" fmla="*/ 1040021 w 1268964"/>
                <a:gd name="connsiteY2" fmla="*/ 321903 h 343023"/>
                <a:gd name="connsiteX3" fmla="*/ 1080592 w 1268964"/>
                <a:gd name="connsiteY3" fmla="*/ 281332 h 343023"/>
                <a:gd name="connsiteX4" fmla="*/ 1215195 w 1268964"/>
                <a:gd name="connsiteY4" fmla="*/ 146729 h 343023"/>
                <a:gd name="connsiteX5" fmla="*/ 1263884 w 1268964"/>
                <a:gd name="connsiteY5" fmla="*/ 146729 h 343023"/>
                <a:gd name="connsiteX6" fmla="*/ 1104945 w 1268964"/>
                <a:gd name="connsiteY6" fmla="*/ 305677 h 343023"/>
                <a:gd name="connsiteX7" fmla="*/ 1073006 w 1268964"/>
                <a:gd name="connsiteY7" fmla="*/ 337616 h 343023"/>
                <a:gd name="connsiteX8" fmla="*/ 346434 w 1268964"/>
                <a:gd name="connsiteY8" fmla="*/ 297736 h 343023"/>
                <a:gd name="connsiteX9" fmla="*/ 297736 w 1268964"/>
                <a:gd name="connsiteY9" fmla="*/ 297736 h 343023"/>
                <a:gd name="connsiteX10" fmla="*/ 201125 w 1268964"/>
                <a:gd name="connsiteY10" fmla="*/ 201125 h 343023"/>
                <a:gd name="connsiteX11" fmla="*/ 227665 w 1268964"/>
                <a:gd name="connsiteY11" fmla="*/ 178976 h 343023"/>
                <a:gd name="connsiteX12" fmla="*/ 346434 w 1268964"/>
                <a:gd name="connsiteY12" fmla="*/ 297736 h 343023"/>
                <a:gd name="connsiteX13" fmla="*/ 143478 w 1268964"/>
                <a:gd name="connsiteY13" fmla="*/ 143478 h 343023"/>
                <a:gd name="connsiteX14" fmla="*/ 79273 w 1268964"/>
                <a:gd name="connsiteY14" fmla="*/ 79273 h 343023"/>
                <a:gd name="connsiteX15" fmla="*/ 127971 w 1268964"/>
                <a:gd name="connsiteY15" fmla="*/ 79273 h 343023"/>
                <a:gd name="connsiteX16" fmla="*/ 165627 w 1268964"/>
                <a:gd name="connsiteY16" fmla="*/ 116938 h 343023"/>
                <a:gd name="connsiteX17" fmla="*/ 143478 w 1268964"/>
                <a:gd name="connsiteY17" fmla="*/ 143478 h 343023"/>
                <a:gd name="connsiteX18" fmla="*/ 116714 w 1268964"/>
                <a:gd name="connsiteY18" fmla="*/ 68016 h 343023"/>
                <a:gd name="connsiteX19" fmla="*/ 68016 w 1268964"/>
                <a:gd name="connsiteY19" fmla="*/ 68016 h 343023"/>
                <a:gd name="connsiteX20" fmla="*/ 7006 w 1268964"/>
                <a:gd name="connsiteY20" fmla="*/ 7006 h 343023"/>
                <a:gd name="connsiteX21" fmla="*/ 55695 w 1268964"/>
                <a:gd name="connsiteY21" fmla="*/ 7006 h 343023"/>
                <a:gd name="connsiteX22" fmla="*/ 116714 w 1268964"/>
                <a:gd name="connsiteY22" fmla="*/ 68016 h 34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8964" h="343023">
                  <a:moveTo>
                    <a:pt x="1073006" y="337616"/>
                  </a:moveTo>
                  <a:lnTo>
                    <a:pt x="1024308" y="337616"/>
                  </a:lnTo>
                  <a:lnTo>
                    <a:pt x="1040021" y="321903"/>
                  </a:lnTo>
                  <a:lnTo>
                    <a:pt x="1080592" y="281332"/>
                  </a:lnTo>
                  <a:lnTo>
                    <a:pt x="1215195" y="146729"/>
                  </a:lnTo>
                  <a:lnTo>
                    <a:pt x="1263884" y="146729"/>
                  </a:lnTo>
                  <a:lnTo>
                    <a:pt x="1104945" y="305677"/>
                  </a:lnTo>
                  <a:lnTo>
                    <a:pt x="1073006" y="337616"/>
                  </a:lnTo>
                  <a:close/>
                  <a:moveTo>
                    <a:pt x="346434" y="297736"/>
                  </a:moveTo>
                  <a:lnTo>
                    <a:pt x="297736" y="297736"/>
                  </a:lnTo>
                  <a:lnTo>
                    <a:pt x="201125" y="201125"/>
                  </a:lnTo>
                  <a:cubicBezTo>
                    <a:pt x="212587" y="197473"/>
                    <a:pt x="222088" y="189429"/>
                    <a:pt x="227665" y="178976"/>
                  </a:cubicBezTo>
                  <a:lnTo>
                    <a:pt x="346434" y="297736"/>
                  </a:lnTo>
                  <a:close/>
                  <a:moveTo>
                    <a:pt x="143478" y="143478"/>
                  </a:moveTo>
                  <a:lnTo>
                    <a:pt x="79273" y="79273"/>
                  </a:lnTo>
                  <a:lnTo>
                    <a:pt x="127971" y="79273"/>
                  </a:lnTo>
                  <a:lnTo>
                    <a:pt x="165627" y="116938"/>
                  </a:lnTo>
                  <a:cubicBezTo>
                    <a:pt x="155174" y="122516"/>
                    <a:pt x="147130" y="132016"/>
                    <a:pt x="143478" y="143478"/>
                  </a:cubicBezTo>
                  <a:close/>
                  <a:moveTo>
                    <a:pt x="116714" y="68016"/>
                  </a:moveTo>
                  <a:lnTo>
                    <a:pt x="68016" y="68016"/>
                  </a:lnTo>
                  <a:lnTo>
                    <a:pt x="7006" y="7006"/>
                  </a:lnTo>
                  <a:lnTo>
                    <a:pt x="55695" y="7006"/>
                  </a:lnTo>
                  <a:lnTo>
                    <a:pt x="116714" y="680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5" name="Freeform: Shape 13454">
              <a:extLst>
                <a:ext uri="{FF2B5EF4-FFF2-40B4-BE49-F238E27FC236}">
                  <a16:creationId xmlns:a16="http://schemas.microsoft.com/office/drawing/2014/main" id="{D470E66B-217E-4F5B-A43A-E973FBBA496C}"/>
                </a:ext>
              </a:extLst>
            </p:cNvPr>
            <p:cNvSpPr/>
            <p:nvPr/>
          </p:nvSpPr>
          <p:spPr bwMode="ltGray">
            <a:xfrm>
              <a:off x="2623059" y="3531840"/>
              <a:ext cx="71744" cy="24662"/>
            </a:xfrm>
            <a:custGeom>
              <a:avLst/>
              <a:gdLst>
                <a:gd name="connsiteX0" fmla="*/ 66961 w 71743"/>
                <a:gd name="connsiteY0" fmla="*/ 18263 h 24661"/>
                <a:gd name="connsiteX1" fmla="*/ 18263 w 71743"/>
                <a:gd name="connsiteY1" fmla="*/ 18263 h 24661"/>
                <a:gd name="connsiteX2" fmla="*/ 7006 w 71743"/>
                <a:gd name="connsiteY2" fmla="*/ 7006 h 24661"/>
                <a:gd name="connsiteX3" fmla="*/ 55704 w 71743"/>
                <a:gd name="connsiteY3" fmla="*/ 7006 h 24661"/>
                <a:gd name="connsiteX4" fmla="*/ 66961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66961" y="18263"/>
                  </a:moveTo>
                  <a:lnTo>
                    <a:pt x="18263" y="18263"/>
                  </a:lnTo>
                  <a:lnTo>
                    <a:pt x="7006" y="7006"/>
                  </a:lnTo>
                  <a:lnTo>
                    <a:pt x="55704" y="7006"/>
                  </a:lnTo>
                  <a:lnTo>
                    <a:pt x="66961"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6" name="Freeform: Shape 13455">
              <a:extLst>
                <a:ext uri="{FF2B5EF4-FFF2-40B4-BE49-F238E27FC236}">
                  <a16:creationId xmlns:a16="http://schemas.microsoft.com/office/drawing/2014/main" id="{AA88F2BB-1FD4-4F95-8625-E58FED0BEBA7}"/>
                </a:ext>
              </a:extLst>
            </p:cNvPr>
            <p:cNvSpPr/>
            <p:nvPr/>
          </p:nvSpPr>
          <p:spPr bwMode="ltGray">
            <a:xfrm>
              <a:off x="3781494" y="3457210"/>
              <a:ext cx="2145581" cy="154697"/>
            </a:xfrm>
            <a:custGeom>
              <a:avLst/>
              <a:gdLst>
                <a:gd name="connsiteX0" fmla="*/ 55695 w 2145580"/>
                <a:gd name="connsiteY0" fmla="*/ 149092 h 154697"/>
                <a:gd name="connsiteX1" fmla="*/ 7006 w 2145580"/>
                <a:gd name="connsiteY1" fmla="*/ 149092 h 154697"/>
                <a:gd name="connsiteX2" fmla="*/ 59609 w 2145580"/>
                <a:gd name="connsiteY2" fmla="*/ 96489 h 154697"/>
                <a:gd name="connsiteX3" fmla="*/ 75835 w 2145580"/>
                <a:gd name="connsiteY3" fmla="*/ 80263 h 154697"/>
                <a:gd name="connsiteX4" fmla="*/ 140928 w 2145580"/>
                <a:gd name="connsiteY4" fmla="*/ 15171 h 154697"/>
                <a:gd name="connsiteX5" fmla="*/ 1733262 w 2145580"/>
                <a:gd name="connsiteY5" fmla="*/ 15171 h 154697"/>
                <a:gd name="connsiteX6" fmla="*/ 1733262 w 2145580"/>
                <a:gd name="connsiteY6" fmla="*/ 7006 h 154697"/>
                <a:gd name="connsiteX7" fmla="*/ 2139660 w 2145580"/>
                <a:gd name="connsiteY7" fmla="*/ 7006 h 154697"/>
                <a:gd name="connsiteX8" fmla="*/ 2139660 w 2145580"/>
                <a:gd name="connsiteY8" fmla="*/ 41439 h 154697"/>
                <a:gd name="connsiteX9" fmla="*/ 163357 w 2145580"/>
                <a:gd name="connsiteY9" fmla="*/ 41439 h 154697"/>
                <a:gd name="connsiteX10" fmla="*/ 100179 w 2145580"/>
                <a:gd name="connsiteY10" fmla="*/ 104607 h 154697"/>
                <a:gd name="connsiteX11" fmla="*/ 83953 w 2145580"/>
                <a:gd name="connsiteY11" fmla="*/ 120843 h 154697"/>
                <a:gd name="connsiteX12" fmla="*/ 55695 w 2145580"/>
                <a:gd name="connsiteY12" fmla="*/ 149092 h 15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5580" h="154697">
                  <a:moveTo>
                    <a:pt x="55695" y="149092"/>
                  </a:moveTo>
                  <a:lnTo>
                    <a:pt x="7006" y="149092"/>
                  </a:lnTo>
                  <a:lnTo>
                    <a:pt x="59609" y="96489"/>
                  </a:lnTo>
                  <a:lnTo>
                    <a:pt x="75835" y="80263"/>
                  </a:lnTo>
                  <a:lnTo>
                    <a:pt x="140928" y="15171"/>
                  </a:lnTo>
                  <a:lnTo>
                    <a:pt x="1733262" y="15171"/>
                  </a:lnTo>
                  <a:lnTo>
                    <a:pt x="1733262" y="7006"/>
                  </a:lnTo>
                  <a:lnTo>
                    <a:pt x="2139660" y="7006"/>
                  </a:lnTo>
                  <a:lnTo>
                    <a:pt x="2139660" y="41439"/>
                  </a:lnTo>
                  <a:lnTo>
                    <a:pt x="163357" y="41439"/>
                  </a:lnTo>
                  <a:lnTo>
                    <a:pt x="100179" y="104607"/>
                  </a:lnTo>
                  <a:lnTo>
                    <a:pt x="83953" y="120843"/>
                  </a:lnTo>
                  <a:lnTo>
                    <a:pt x="55695" y="1490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7" name="Freeform: Shape 13456">
              <a:extLst>
                <a:ext uri="{FF2B5EF4-FFF2-40B4-BE49-F238E27FC236}">
                  <a16:creationId xmlns:a16="http://schemas.microsoft.com/office/drawing/2014/main" id="{8CEBBDE7-29B8-4A07-BB19-E73C27DA1CEA}"/>
                </a:ext>
              </a:extLst>
            </p:cNvPr>
            <p:cNvSpPr/>
            <p:nvPr/>
          </p:nvSpPr>
          <p:spPr bwMode="ltGray">
            <a:xfrm>
              <a:off x="3915416" y="3457210"/>
              <a:ext cx="1605262" cy="20178"/>
            </a:xfrm>
            <a:custGeom>
              <a:avLst/>
              <a:gdLst>
                <a:gd name="connsiteX0" fmla="*/ 1599341 w 1605262"/>
                <a:gd name="connsiteY0" fmla="*/ 15171 h 20177"/>
                <a:gd name="connsiteX1" fmla="*/ 7006 w 1605262"/>
                <a:gd name="connsiteY1" fmla="*/ 15171 h 20177"/>
                <a:gd name="connsiteX2" fmla="*/ 15171 w 1605262"/>
                <a:gd name="connsiteY2" fmla="*/ 7006 h 20177"/>
                <a:gd name="connsiteX3" fmla="*/ 1599341 w 1605262"/>
                <a:gd name="connsiteY3" fmla="*/ 7006 h 20177"/>
                <a:gd name="connsiteX4" fmla="*/ 1599341 w 1605262"/>
                <a:gd name="connsiteY4" fmla="*/ 15171 h 20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262" h="20177">
                  <a:moveTo>
                    <a:pt x="1599341" y="15171"/>
                  </a:moveTo>
                  <a:lnTo>
                    <a:pt x="7006" y="15171"/>
                  </a:lnTo>
                  <a:lnTo>
                    <a:pt x="15171" y="7006"/>
                  </a:lnTo>
                  <a:lnTo>
                    <a:pt x="1599341" y="7006"/>
                  </a:lnTo>
                  <a:lnTo>
                    <a:pt x="1599341" y="1517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8" name="Freeform: Shape 13457">
              <a:extLst>
                <a:ext uri="{FF2B5EF4-FFF2-40B4-BE49-F238E27FC236}">
                  <a16:creationId xmlns:a16="http://schemas.microsoft.com/office/drawing/2014/main" id="{E03BD497-4148-4EA1-82E4-3EE9664FF40B}"/>
                </a:ext>
              </a:extLst>
            </p:cNvPr>
            <p:cNvSpPr/>
            <p:nvPr/>
          </p:nvSpPr>
          <p:spPr bwMode="ltGray">
            <a:xfrm>
              <a:off x="2698521" y="3580762"/>
              <a:ext cx="96405" cy="96405"/>
            </a:xfrm>
            <a:custGeom>
              <a:avLst/>
              <a:gdLst>
                <a:gd name="connsiteX0" fmla="*/ 64653 w 96405"/>
                <a:gd name="connsiteY0" fmla="*/ 91193 h 96405"/>
                <a:gd name="connsiteX1" fmla="*/ 7006 w 96405"/>
                <a:gd name="connsiteY1" fmla="*/ 33546 h 96405"/>
                <a:gd name="connsiteX2" fmla="*/ 29155 w 96405"/>
                <a:gd name="connsiteY2" fmla="*/ 7006 h 96405"/>
                <a:gd name="connsiteX3" fmla="*/ 91193 w 96405"/>
                <a:gd name="connsiteY3" fmla="*/ 69044 h 96405"/>
                <a:gd name="connsiteX4" fmla="*/ 64653 w 96405"/>
                <a:gd name="connsiteY4" fmla="*/ 91193 h 9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05" h="96405">
                  <a:moveTo>
                    <a:pt x="64653" y="91193"/>
                  </a:moveTo>
                  <a:lnTo>
                    <a:pt x="7006" y="33546"/>
                  </a:lnTo>
                  <a:cubicBezTo>
                    <a:pt x="10659" y="22084"/>
                    <a:pt x="18702" y="12583"/>
                    <a:pt x="29155" y="7006"/>
                  </a:cubicBezTo>
                  <a:lnTo>
                    <a:pt x="91193" y="69044"/>
                  </a:lnTo>
                  <a:cubicBezTo>
                    <a:pt x="85616" y="79497"/>
                    <a:pt x="76116" y="87540"/>
                    <a:pt x="64653" y="9119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9" name="Freeform: Shape 13458">
              <a:extLst>
                <a:ext uri="{FF2B5EF4-FFF2-40B4-BE49-F238E27FC236}">
                  <a16:creationId xmlns:a16="http://schemas.microsoft.com/office/drawing/2014/main" id="{06956732-9E61-4C27-91FF-64C4786E32DE}"/>
                </a:ext>
              </a:extLst>
            </p:cNvPr>
            <p:cNvSpPr/>
            <p:nvPr/>
          </p:nvSpPr>
          <p:spPr bwMode="ltGray">
            <a:xfrm>
              <a:off x="3573727" y="3801440"/>
              <a:ext cx="67260" cy="17936"/>
            </a:xfrm>
            <a:custGeom>
              <a:avLst/>
              <a:gdLst>
                <a:gd name="connsiteX0" fmla="*/ 55695 w 67259"/>
                <a:gd name="connsiteY0" fmla="*/ 12630 h 17935"/>
                <a:gd name="connsiteX1" fmla="*/ 7006 w 67259"/>
                <a:gd name="connsiteY1" fmla="*/ 12630 h 17935"/>
                <a:gd name="connsiteX2" fmla="*/ 12630 w 67259"/>
                <a:gd name="connsiteY2" fmla="*/ 7006 h 17935"/>
                <a:gd name="connsiteX3" fmla="*/ 61328 w 67259"/>
                <a:gd name="connsiteY3" fmla="*/ 7006 h 17935"/>
                <a:gd name="connsiteX4" fmla="*/ 55695 w 67259"/>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59" h="17935">
                  <a:moveTo>
                    <a:pt x="55695" y="12630"/>
                  </a:moveTo>
                  <a:lnTo>
                    <a:pt x="7006" y="12630"/>
                  </a:lnTo>
                  <a:lnTo>
                    <a:pt x="12630" y="7006"/>
                  </a:lnTo>
                  <a:lnTo>
                    <a:pt x="61328" y="7006"/>
                  </a:lnTo>
                  <a:lnTo>
                    <a:pt x="55695"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0" name="Freeform: Shape 13459">
              <a:extLst>
                <a:ext uri="{FF2B5EF4-FFF2-40B4-BE49-F238E27FC236}">
                  <a16:creationId xmlns:a16="http://schemas.microsoft.com/office/drawing/2014/main" id="{6B1C29AD-BED0-43CF-A8DF-11C89556AEB4}"/>
                </a:ext>
              </a:extLst>
            </p:cNvPr>
            <p:cNvSpPr/>
            <p:nvPr/>
          </p:nvSpPr>
          <p:spPr bwMode="ltGray">
            <a:xfrm>
              <a:off x="3770238" y="3599296"/>
              <a:ext cx="71744" cy="24662"/>
            </a:xfrm>
            <a:custGeom>
              <a:avLst/>
              <a:gdLst>
                <a:gd name="connsiteX0" fmla="*/ 55695 w 71743"/>
                <a:gd name="connsiteY0" fmla="*/ 18263 h 24661"/>
                <a:gd name="connsiteX1" fmla="*/ 7006 w 71743"/>
                <a:gd name="connsiteY1" fmla="*/ 18263 h 24661"/>
                <a:gd name="connsiteX2" fmla="*/ 18263 w 71743"/>
                <a:gd name="connsiteY2" fmla="*/ 7006 h 24661"/>
                <a:gd name="connsiteX3" fmla="*/ 66951 w 71743"/>
                <a:gd name="connsiteY3" fmla="*/ 7006 h 24661"/>
                <a:gd name="connsiteX4" fmla="*/ 55695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55695" y="18263"/>
                  </a:moveTo>
                  <a:lnTo>
                    <a:pt x="7006" y="18263"/>
                  </a:lnTo>
                  <a:lnTo>
                    <a:pt x="18263" y="7006"/>
                  </a:lnTo>
                  <a:lnTo>
                    <a:pt x="66951" y="7006"/>
                  </a:lnTo>
                  <a:lnTo>
                    <a:pt x="5569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1" name="Freeform: Shape 13460">
              <a:extLst>
                <a:ext uri="{FF2B5EF4-FFF2-40B4-BE49-F238E27FC236}">
                  <a16:creationId xmlns:a16="http://schemas.microsoft.com/office/drawing/2014/main" id="{E3965D02-3E1D-4327-9E82-799C0BB985A3}"/>
                </a:ext>
              </a:extLst>
            </p:cNvPr>
            <p:cNvSpPr/>
            <p:nvPr/>
          </p:nvSpPr>
          <p:spPr bwMode="ltGray">
            <a:xfrm>
              <a:off x="2852779" y="3761560"/>
              <a:ext cx="69502" cy="22420"/>
            </a:xfrm>
            <a:custGeom>
              <a:avLst/>
              <a:gdLst>
                <a:gd name="connsiteX0" fmla="*/ 64158 w 69501"/>
                <a:gd name="connsiteY0" fmla="*/ 15470 h 22419"/>
                <a:gd name="connsiteX1" fmla="*/ 15460 w 69501"/>
                <a:gd name="connsiteY1" fmla="*/ 15470 h 22419"/>
                <a:gd name="connsiteX2" fmla="*/ 7006 w 69501"/>
                <a:gd name="connsiteY2" fmla="*/ 7006 h 22419"/>
                <a:gd name="connsiteX3" fmla="*/ 55704 w 69501"/>
                <a:gd name="connsiteY3" fmla="*/ 7006 h 22419"/>
                <a:gd name="connsiteX4" fmla="*/ 64158 w 69501"/>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2419">
                  <a:moveTo>
                    <a:pt x="64158" y="15470"/>
                  </a:moveTo>
                  <a:lnTo>
                    <a:pt x="15460" y="15470"/>
                  </a:lnTo>
                  <a:lnTo>
                    <a:pt x="7006" y="7006"/>
                  </a:lnTo>
                  <a:lnTo>
                    <a:pt x="55704" y="7006"/>
                  </a:lnTo>
                  <a:lnTo>
                    <a:pt x="64158"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2" name="Freeform: Shape 13461">
              <a:extLst>
                <a:ext uri="{FF2B5EF4-FFF2-40B4-BE49-F238E27FC236}">
                  <a16:creationId xmlns:a16="http://schemas.microsoft.com/office/drawing/2014/main" id="{9FF7661F-2825-4B44-8C6E-D2D4591129D8}"/>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3" name="Freeform: Shape 13462">
              <a:extLst>
                <a:ext uri="{FF2B5EF4-FFF2-40B4-BE49-F238E27FC236}">
                  <a16:creationId xmlns:a16="http://schemas.microsoft.com/office/drawing/2014/main" id="{A05F2A44-EC77-447F-B970-066026EE61F2}"/>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4" name="Freeform: Shape 13463">
              <a:extLst>
                <a:ext uri="{FF2B5EF4-FFF2-40B4-BE49-F238E27FC236}">
                  <a16:creationId xmlns:a16="http://schemas.microsoft.com/office/drawing/2014/main" id="{527F5270-17EA-4A81-91B1-234CA1785A2F}"/>
                </a:ext>
              </a:extLst>
            </p:cNvPr>
            <p:cNvSpPr/>
            <p:nvPr/>
          </p:nvSpPr>
          <p:spPr bwMode="ltGray">
            <a:xfrm>
              <a:off x="3525160" y="3900405"/>
              <a:ext cx="17936" cy="15694"/>
            </a:xfrm>
            <a:custGeom>
              <a:avLst/>
              <a:gdLst>
                <a:gd name="connsiteX0" fmla="*/ 7006 w 17935"/>
                <a:gd name="connsiteY0" fmla="*/ 10920 h 15693"/>
                <a:gd name="connsiteX1" fmla="*/ 7006 w 17935"/>
                <a:gd name="connsiteY1" fmla="*/ 7006 h 15693"/>
                <a:gd name="connsiteX2" fmla="*/ 10930 w 17935"/>
                <a:gd name="connsiteY2" fmla="*/ 7006 h 15693"/>
                <a:gd name="connsiteX3" fmla="*/ 7006 w 17935"/>
                <a:gd name="connsiteY3" fmla="*/ 10920 h 15693"/>
              </a:gdLst>
              <a:ahLst/>
              <a:cxnLst>
                <a:cxn ang="0">
                  <a:pos x="connsiteX0" y="connsiteY0"/>
                </a:cxn>
                <a:cxn ang="0">
                  <a:pos x="connsiteX1" y="connsiteY1"/>
                </a:cxn>
                <a:cxn ang="0">
                  <a:pos x="connsiteX2" y="connsiteY2"/>
                </a:cxn>
                <a:cxn ang="0">
                  <a:pos x="connsiteX3" y="connsiteY3"/>
                </a:cxn>
              </a:cxnLst>
              <a:rect l="l" t="t" r="r" b="b"/>
              <a:pathLst>
                <a:path w="17935" h="15693">
                  <a:moveTo>
                    <a:pt x="7006" y="10920"/>
                  </a:moveTo>
                  <a:lnTo>
                    <a:pt x="7006" y="7006"/>
                  </a:lnTo>
                  <a:lnTo>
                    <a:pt x="10930" y="7006"/>
                  </a:lnTo>
                  <a:lnTo>
                    <a:pt x="7006" y="109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5" name="Freeform: Shape 13464">
              <a:extLst>
                <a:ext uri="{FF2B5EF4-FFF2-40B4-BE49-F238E27FC236}">
                  <a16:creationId xmlns:a16="http://schemas.microsoft.com/office/drawing/2014/main" id="{A9B7DD52-28F4-4CED-968C-19D7622DA990}"/>
                </a:ext>
              </a:extLst>
            </p:cNvPr>
            <p:cNvSpPr/>
            <p:nvPr/>
          </p:nvSpPr>
          <p:spPr bwMode="ltGray">
            <a:xfrm>
              <a:off x="-2860" y="3354424"/>
              <a:ext cx="2614156" cy="118825"/>
            </a:xfrm>
            <a:custGeom>
              <a:avLst/>
              <a:gdLst>
                <a:gd name="connsiteX0" fmla="*/ 2609132 w 2614156"/>
                <a:gd name="connsiteY0" fmla="*/ 111941 h 118825"/>
                <a:gd name="connsiteX1" fmla="*/ 2560444 w 2614156"/>
                <a:gd name="connsiteY1" fmla="*/ 111941 h 118825"/>
                <a:gd name="connsiteX2" fmla="*/ 2555175 w 2614156"/>
                <a:gd name="connsiteY2" fmla="*/ 106672 h 118825"/>
                <a:gd name="connsiteX3" fmla="*/ 2603864 w 2614156"/>
                <a:gd name="connsiteY3" fmla="*/ 106672 h 118825"/>
                <a:gd name="connsiteX4" fmla="*/ 2609132 w 2614156"/>
                <a:gd name="connsiteY4" fmla="*/ 111941 h 118825"/>
                <a:gd name="connsiteX5" fmla="*/ 2558837 w 2614156"/>
                <a:gd name="connsiteY5" fmla="*/ 61645 h 118825"/>
                <a:gd name="connsiteX6" fmla="*/ 2510149 w 2614156"/>
                <a:gd name="connsiteY6" fmla="*/ 61645 h 118825"/>
                <a:gd name="connsiteX7" fmla="*/ 2489943 w 2614156"/>
                <a:gd name="connsiteY7" fmla="*/ 41439 h 118825"/>
                <a:gd name="connsiteX8" fmla="*/ 1046168 w 2614156"/>
                <a:gd name="connsiteY8" fmla="*/ 41439 h 118825"/>
                <a:gd name="connsiteX9" fmla="*/ 1080592 w 2614156"/>
                <a:gd name="connsiteY9" fmla="*/ 7006 h 118825"/>
                <a:gd name="connsiteX10" fmla="*/ 2050905 w 2614156"/>
                <a:gd name="connsiteY10" fmla="*/ 7006 h 118825"/>
                <a:gd name="connsiteX11" fmla="*/ 2056996 w 2614156"/>
                <a:gd name="connsiteY11" fmla="*/ 17553 h 118825"/>
                <a:gd name="connsiteX12" fmla="*/ 2502526 w 2614156"/>
                <a:gd name="connsiteY12" fmla="*/ 17553 h 118825"/>
                <a:gd name="connsiteX13" fmla="*/ 2507000 w 2614156"/>
                <a:gd name="connsiteY13" fmla="*/ 9809 h 118825"/>
                <a:gd name="connsiteX14" fmla="*/ 2558837 w 2614156"/>
                <a:gd name="connsiteY14" fmla="*/ 61645 h 118825"/>
                <a:gd name="connsiteX15" fmla="*/ 966577 w 2614156"/>
                <a:gd name="connsiteY15" fmla="*/ 41439 h 118825"/>
                <a:gd name="connsiteX16" fmla="*/ 587588 w 2614156"/>
                <a:gd name="connsiteY16" fmla="*/ 41439 h 118825"/>
                <a:gd name="connsiteX17" fmla="*/ 553155 w 2614156"/>
                <a:gd name="connsiteY17" fmla="*/ 7006 h 118825"/>
                <a:gd name="connsiteX18" fmla="*/ 1001001 w 2614156"/>
                <a:gd name="connsiteY18" fmla="*/ 7006 h 118825"/>
                <a:gd name="connsiteX19" fmla="*/ 966577 w 2614156"/>
                <a:gd name="connsiteY19" fmla="*/ 41439 h 118825"/>
                <a:gd name="connsiteX20" fmla="*/ 579722 w 2614156"/>
                <a:gd name="connsiteY20" fmla="*/ 41439 h 118825"/>
                <a:gd name="connsiteX21" fmla="*/ 7006 w 2614156"/>
                <a:gd name="connsiteY21" fmla="*/ 41439 h 118825"/>
                <a:gd name="connsiteX22" fmla="*/ 7006 w 2614156"/>
                <a:gd name="connsiteY22" fmla="*/ 35452 h 118825"/>
                <a:gd name="connsiteX23" fmla="*/ 281799 w 2614156"/>
                <a:gd name="connsiteY23" fmla="*/ 35452 h 118825"/>
                <a:gd name="connsiteX24" fmla="*/ 310244 w 2614156"/>
                <a:gd name="connsiteY24" fmla="*/ 7006 h 118825"/>
                <a:gd name="connsiteX25" fmla="*/ 545289 w 2614156"/>
                <a:gd name="connsiteY25" fmla="*/ 7006 h 118825"/>
                <a:gd name="connsiteX26" fmla="*/ 579722 w 2614156"/>
                <a:gd name="connsiteY26" fmla="*/ 41439 h 118825"/>
                <a:gd name="connsiteX27" fmla="*/ 274812 w 2614156"/>
                <a:gd name="connsiteY27" fmla="*/ 18571 h 118825"/>
                <a:gd name="connsiteX28" fmla="*/ 7006 w 2614156"/>
                <a:gd name="connsiteY28" fmla="*/ 18571 h 118825"/>
                <a:gd name="connsiteX29" fmla="*/ 7006 w 2614156"/>
                <a:gd name="connsiteY29" fmla="*/ 11985 h 118825"/>
                <a:gd name="connsiteX30" fmla="*/ 124925 w 2614156"/>
                <a:gd name="connsiteY30" fmla="*/ 11985 h 118825"/>
                <a:gd name="connsiteX31" fmla="*/ 129905 w 2614156"/>
                <a:gd name="connsiteY31" fmla="*/ 7006 h 118825"/>
                <a:gd name="connsiteX32" fmla="*/ 286367 w 2614156"/>
                <a:gd name="connsiteY32" fmla="*/ 7006 h 118825"/>
                <a:gd name="connsiteX33" fmla="*/ 274812 w 2614156"/>
                <a:gd name="connsiteY33" fmla="*/ 18571 h 1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14156" h="118825">
                  <a:moveTo>
                    <a:pt x="2609132" y="111941"/>
                  </a:moveTo>
                  <a:lnTo>
                    <a:pt x="2560444" y="111941"/>
                  </a:lnTo>
                  <a:lnTo>
                    <a:pt x="2555175" y="106672"/>
                  </a:lnTo>
                  <a:lnTo>
                    <a:pt x="2603864" y="106672"/>
                  </a:lnTo>
                  <a:lnTo>
                    <a:pt x="2609132" y="111941"/>
                  </a:lnTo>
                  <a:close/>
                  <a:moveTo>
                    <a:pt x="2558837" y="61645"/>
                  </a:moveTo>
                  <a:lnTo>
                    <a:pt x="2510149" y="61645"/>
                  </a:lnTo>
                  <a:lnTo>
                    <a:pt x="2489943" y="41439"/>
                  </a:lnTo>
                  <a:lnTo>
                    <a:pt x="1046168" y="41439"/>
                  </a:lnTo>
                  <a:lnTo>
                    <a:pt x="1080592" y="7006"/>
                  </a:lnTo>
                  <a:lnTo>
                    <a:pt x="2050905" y="7006"/>
                  </a:lnTo>
                  <a:lnTo>
                    <a:pt x="2056996" y="17553"/>
                  </a:lnTo>
                  <a:lnTo>
                    <a:pt x="2502526" y="17553"/>
                  </a:lnTo>
                  <a:lnTo>
                    <a:pt x="2507000" y="9809"/>
                  </a:lnTo>
                  <a:lnTo>
                    <a:pt x="2558837" y="61645"/>
                  </a:lnTo>
                  <a:close/>
                  <a:moveTo>
                    <a:pt x="966577" y="41439"/>
                  </a:moveTo>
                  <a:lnTo>
                    <a:pt x="587588" y="41439"/>
                  </a:lnTo>
                  <a:lnTo>
                    <a:pt x="553155" y="7006"/>
                  </a:lnTo>
                  <a:lnTo>
                    <a:pt x="1001001" y="7006"/>
                  </a:lnTo>
                  <a:lnTo>
                    <a:pt x="966577" y="41439"/>
                  </a:lnTo>
                  <a:close/>
                  <a:moveTo>
                    <a:pt x="579722" y="41439"/>
                  </a:moveTo>
                  <a:lnTo>
                    <a:pt x="7006" y="41439"/>
                  </a:lnTo>
                  <a:lnTo>
                    <a:pt x="7006" y="35452"/>
                  </a:lnTo>
                  <a:lnTo>
                    <a:pt x="281799" y="35452"/>
                  </a:lnTo>
                  <a:lnTo>
                    <a:pt x="310244" y="7006"/>
                  </a:lnTo>
                  <a:lnTo>
                    <a:pt x="545289" y="7006"/>
                  </a:lnTo>
                  <a:lnTo>
                    <a:pt x="579722" y="41439"/>
                  </a:lnTo>
                  <a:close/>
                  <a:moveTo>
                    <a:pt x="274812" y="18571"/>
                  </a:moveTo>
                  <a:lnTo>
                    <a:pt x="7006" y="18571"/>
                  </a:lnTo>
                  <a:lnTo>
                    <a:pt x="7006" y="11985"/>
                  </a:lnTo>
                  <a:lnTo>
                    <a:pt x="124925" y="11985"/>
                  </a:lnTo>
                  <a:lnTo>
                    <a:pt x="129905" y="7006"/>
                  </a:lnTo>
                  <a:lnTo>
                    <a:pt x="286367" y="7006"/>
                  </a:lnTo>
                  <a:lnTo>
                    <a:pt x="274812" y="1857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6" name="Freeform: Shape 13465">
              <a:extLst>
                <a:ext uri="{FF2B5EF4-FFF2-40B4-BE49-F238E27FC236}">
                  <a16:creationId xmlns:a16="http://schemas.microsoft.com/office/drawing/2014/main" id="{D5AD8269-2533-49EF-8227-3EF40B1E2621}"/>
                </a:ext>
              </a:extLst>
            </p:cNvPr>
            <p:cNvSpPr/>
            <p:nvPr/>
          </p:nvSpPr>
          <p:spPr bwMode="ltGray">
            <a:xfrm>
              <a:off x="2041039" y="3354424"/>
              <a:ext cx="468575" cy="22420"/>
            </a:xfrm>
            <a:custGeom>
              <a:avLst/>
              <a:gdLst>
                <a:gd name="connsiteX0" fmla="*/ 458627 w 468575"/>
                <a:gd name="connsiteY0" fmla="*/ 17553 h 22419"/>
                <a:gd name="connsiteX1" fmla="*/ 13097 w 468575"/>
                <a:gd name="connsiteY1" fmla="*/ 17553 h 22419"/>
                <a:gd name="connsiteX2" fmla="*/ 7006 w 468575"/>
                <a:gd name="connsiteY2" fmla="*/ 7006 h 22419"/>
                <a:gd name="connsiteX3" fmla="*/ 460308 w 468575"/>
                <a:gd name="connsiteY3" fmla="*/ 7006 h 22419"/>
                <a:gd name="connsiteX4" fmla="*/ 463101 w 468575"/>
                <a:gd name="connsiteY4" fmla="*/ 9809 h 22419"/>
                <a:gd name="connsiteX5" fmla="*/ 458627 w 468575"/>
                <a:gd name="connsiteY5" fmla="*/ 17553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575" h="22419">
                  <a:moveTo>
                    <a:pt x="458627" y="17553"/>
                  </a:moveTo>
                  <a:lnTo>
                    <a:pt x="13097" y="17553"/>
                  </a:lnTo>
                  <a:lnTo>
                    <a:pt x="7006" y="7006"/>
                  </a:lnTo>
                  <a:lnTo>
                    <a:pt x="460308" y="7006"/>
                  </a:lnTo>
                  <a:lnTo>
                    <a:pt x="463101" y="9809"/>
                  </a:lnTo>
                  <a:lnTo>
                    <a:pt x="458627" y="175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7" name="Freeform: Shape 13466">
              <a:extLst>
                <a:ext uri="{FF2B5EF4-FFF2-40B4-BE49-F238E27FC236}">
                  <a16:creationId xmlns:a16="http://schemas.microsoft.com/office/drawing/2014/main" id="{92F902B6-2D98-4F78-B405-CE35E3DA21C7}"/>
                </a:ext>
              </a:extLst>
            </p:cNvPr>
            <p:cNvSpPr/>
            <p:nvPr/>
          </p:nvSpPr>
          <p:spPr bwMode="ltGray">
            <a:xfrm>
              <a:off x="-2860" y="3354424"/>
              <a:ext cx="136761" cy="17936"/>
            </a:xfrm>
            <a:custGeom>
              <a:avLst/>
              <a:gdLst>
                <a:gd name="connsiteX0" fmla="*/ 124925 w 136761"/>
                <a:gd name="connsiteY0" fmla="*/ 11985 h 17935"/>
                <a:gd name="connsiteX1" fmla="*/ 7006 w 136761"/>
                <a:gd name="connsiteY1" fmla="*/ 11985 h 17935"/>
                <a:gd name="connsiteX2" fmla="*/ 7006 w 136761"/>
                <a:gd name="connsiteY2" fmla="*/ 7006 h 17935"/>
                <a:gd name="connsiteX3" fmla="*/ 129905 w 136761"/>
                <a:gd name="connsiteY3" fmla="*/ 7006 h 17935"/>
                <a:gd name="connsiteX4" fmla="*/ 124925 w 136761"/>
                <a:gd name="connsiteY4" fmla="*/ 11985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61" h="17935">
                  <a:moveTo>
                    <a:pt x="124925" y="11985"/>
                  </a:moveTo>
                  <a:lnTo>
                    <a:pt x="7006" y="11985"/>
                  </a:lnTo>
                  <a:lnTo>
                    <a:pt x="7006" y="7006"/>
                  </a:lnTo>
                  <a:lnTo>
                    <a:pt x="129905" y="7006"/>
                  </a:lnTo>
                  <a:lnTo>
                    <a:pt x="124925" y="119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8" name="Freeform: Shape 13467">
              <a:extLst>
                <a:ext uri="{FF2B5EF4-FFF2-40B4-BE49-F238E27FC236}">
                  <a16:creationId xmlns:a16="http://schemas.microsoft.com/office/drawing/2014/main" id="{54BA0D31-56C0-40AC-8A4D-BF4D4678497D}"/>
                </a:ext>
              </a:extLst>
            </p:cNvPr>
            <p:cNvSpPr/>
            <p:nvPr/>
          </p:nvSpPr>
          <p:spPr bwMode="ltGray">
            <a:xfrm>
              <a:off x="535422" y="3354424"/>
              <a:ext cx="56050" cy="47082"/>
            </a:xfrm>
            <a:custGeom>
              <a:avLst/>
              <a:gdLst>
                <a:gd name="connsiteX0" fmla="*/ 49305 w 56049"/>
                <a:gd name="connsiteY0" fmla="*/ 41439 h 47081"/>
                <a:gd name="connsiteX1" fmla="*/ 41439 w 56049"/>
                <a:gd name="connsiteY1" fmla="*/ 41439 h 47081"/>
                <a:gd name="connsiteX2" fmla="*/ 7006 w 56049"/>
                <a:gd name="connsiteY2" fmla="*/ 7006 h 47081"/>
                <a:gd name="connsiteX3" fmla="*/ 14872 w 56049"/>
                <a:gd name="connsiteY3" fmla="*/ 7006 h 47081"/>
                <a:gd name="connsiteX4" fmla="*/ 4930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49305" y="41439"/>
                  </a:moveTo>
                  <a:lnTo>
                    <a:pt x="41439" y="41439"/>
                  </a:lnTo>
                  <a:lnTo>
                    <a:pt x="7006" y="7006"/>
                  </a:lnTo>
                  <a:lnTo>
                    <a:pt x="14872" y="7006"/>
                  </a:lnTo>
                  <a:lnTo>
                    <a:pt x="4930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9" name="Freeform: Shape 13468">
              <a:extLst>
                <a:ext uri="{FF2B5EF4-FFF2-40B4-BE49-F238E27FC236}">
                  <a16:creationId xmlns:a16="http://schemas.microsoft.com/office/drawing/2014/main" id="{03C518BC-9E88-45E6-A567-A3E9AF006A3F}"/>
                </a:ext>
              </a:extLst>
            </p:cNvPr>
            <p:cNvSpPr/>
            <p:nvPr/>
          </p:nvSpPr>
          <p:spPr bwMode="ltGray">
            <a:xfrm>
              <a:off x="956711" y="3354424"/>
              <a:ext cx="127793" cy="47082"/>
            </a:xfrm>
            <a:custGeom>
              <a:avLst/>
              <a:gdLst>
                <a:gd name="connsiteX0" fmla="*/ 86597 w 127793"/>
                <a:gd name="connsiteY0" fmla="*/ 41439 h 47081"/>
                <a:gd name="connsiteX1" fmla="*/ 7006 w 127793"/>
                <a:gd name="connsiteY1" fmla="*/ 41439 h 47081"/>
                <a:gd name="connsiteX2" fmla="*/ 41430 w 127793"/>
                <a:gd name="connsiteY2" fmla="*/ 7006 h 47081"/>
                <a:gd name="connsiteX3" fmla="*/ 121021 w 127793"/>
                <a:gd name="connsiteY3" fmla="*/ 7006 h 47081"/>
                <a:gd name="connsiteX4" fmla="*/ 86597 w 127793"/>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9"/>
                  </a:moveTo>
                  <a:lnTo>
                    <a:pt x="7006" y="41439"/>
                  </a:lnTo>
                  <a:lnTo>
                    <a:pt x="41430" y="7006"/>
                  </a:lnTo>
                  <a:lnTo>
                    <a:pt x="121021" y="7006"/>
                  </a:lnTo>
                  <a:lnTo>
                    <a:pt x="86597"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0" name="Freeform: Shape 13469">
              <a:extLst>
                <a:ext uri="{FF2B5EF4-FFF2-40B4-BE49-F238E27FC236}">
                  <a16:creationId xmlns:a16="http://schemas.microsoft.com/office/drawing/2014/main" id="{1F79229C-4608-43BA-821B-FD7D78D995F7}"/>
                </a:ext>
              </a:extLst>
            </p:cNvPr>
            <p:cNvSpPr/>
            <p:nvPr/>
          </p:nvSpPr>
          <p:spPr bwMode="ltGray">
            <a:xfrm>
              <a:off x="2500282" y="3409063"/>
              <a:ext cx="107615" cy="58292"/>
            </a:xfrm>
            <a:custGeom>
              <a:avLst/>
              <a:gdLst>
                <a:gd name="connsiteX0" fmla="*/ 100721 w 107615"/>
                <a:gd name="connsiteY0" fmla="*/ 52033 h 58291"/>
                <a:gd name="connsiteX1" fmla="*/ 52033 w 107615"/>
                <a:gd name="connsiteY1" fmla="*/ 52033 h 58291"/>
                <a:gd name="connsiteX2" fmla="*/ 7006 w 107615"/>
                <a:gd name="connsiteY2" fmla="*/ 7006 h 58291"/>
                <a:gd name="connsiteX3" fmla="*/ 55695 w 107615"/>
                <a:gd name="connsiteY3" fmla="*/ 7006 h 58291"/>
                <a:gd name="connsiteX4" fmla="*/ 100721 w 107615"/>
                <a:gd name="connsiteY4" fmla="*/ 52033 h 5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15" h="58291">
                  <a:moveTo>
                    <a:pt x="100721" y="52033"/>
                  </a:moveTo>
                  <a:lnTo>
                    <a:pt x="52033" y="52033"/>
                  </a:lnTo>
                  <a:lnTo>
                    <a:pt x="7006" y="7006"/>
                  </a:lnTo>
                  <a:lnTo>
                    <a:pt x="55695" y="7006"/>
                  </a:lnTo>
                  <a:lnTo>
                    <a:pt x="100721"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1" name="Freeform: Shape 13470">
              <a:extLst>
                <a:ext uri="{FF2B5EF4-FFF2-40B4-BE49-F238E27FC236}">
                  <a16:creationId xmlns:a16="http://schemas.microsoft.com/office/drawing/2014/main" id="{BF707F24-6E71-4B23-A0B6-6A49641E62C0}"/>
                </a:ext>
              </a:extLst>
            </p:cNvPr>
            <p:cNvSpPr/>
            <p:nvPr/>
          </p:nvSpPr>
          <p:spPr bwMode="ltGray">
            <a:xfrm>
              <a:off x="-2860" y="3354424"/>
              <a:ext cx="316120" cy="40356"/>
            </a:xfrm>
            <a:custGeom>
              <a:avLst/>
              <a:gdLst>
                <a:gd name="connsiteX0" fmla="*/ 281799 w 316120"/>
                <a:gd name="connsiteY0" fmla="*/ 35452 h 40355"/>
                <a:gd name="connsiteX1" fmla="*/ 7006 w 316120"/>
                <a:gd name="connsiteY1" fmla="*/ 35452 h 40355"/>
                <a:gd name="connsiteX2" fmla="*/ 7006 w 316120"/>
                <a:gd name="connsiteY2" fmla="*/ 18571 h 40355"/>
                <a:gd name="connsiteX3" fmla="*/ 274812 w 316120"/>
                <a:gd name="connsiteY3" fmla="*/ 18571 h 40355"/>
                <a:gd name="connsiteX4" fmla="*/ 286367 w 316120"/>
                <a:gd name="connsiteY4" fmla="*/ 7006 h 40355"/>
                <a:gd name="connsiteX5" fmla="*/ 310244 w 316120"/>
                <a:gd name="connsiteY5" fmla="*/ 7006 h 40355"/>
                <a:gd name="connsiteX6" fmla="*/ 281799 w 316120"/>
                <a:gd name="connsiteY6" fmla="*/ 35452 h 4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20" h="40355">
                  <a:moveTo>
                    <a:pt x="281799" y="35452"/>
                  </a:moveTo>
                  <a:lnTo>
                    <a:pt x="7006" y="35452"/>
                  </a:lnTo>
                  <a:lnTo>
                    <a:pt x="7006" y="18571"/>
                  </a:lnTo>
                  <a:lnTo>
                    <a:pt x="274812" y="18571"/>
                  </a:lnTo>
                  <a:lnTo>
                    <a:pt x="286367" y="7006"/>
                  </a:lnTo>
                  <a:lnTo>
                    <a:pt x="310244" y="7006"/>
                  </a:lnTo>
                  <a:lnTo>
                    <a:pt x="281799" y="3545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2" name="Freeform: Shape 13471">
              <a:extLst>
                <a:ext uri="{FF2B5EF4-FFF2-40B4-BE49-F238E27FC236}">
                  <a16:creationId xmlns:a16="http://schemas.microsoft.com/office/drawing/2014/main" id="{DAC841DA-4F09-44FF-ACB9-91B3235B7415}"/>
                </a:ext>
              </a:extLst>
            </p:cNvPr>
            <p:cNvSpPr/>
            <p:nvPr/>
          </p:nvSpPr>
          <p:spPr bwMode="ltGray">
            <a:xfrm>
              <a:off x="-2860" y="3181689"/>
              <a:ext cx="3295720" cy="145729"/>
            </a:xfrm>
            <a:custGeom>
              <a:avLst/>
              <a:gdLst>
                <a:gd name="connsiteX0" fmla="*/ 3158345 w 3295719"/>
                <a:gd name="connsiteY0" fmla="*/ 139302 h 145729"/>
                <a:gd name="connsiteX1" fmla="*/ 3130647 w 3295719"/>
                <a:gd name="connsiteY1" fmla="*/ 139302 h 145729"/>
                <a:gd name="connsiteX2" fmla="*/ 3167369 w 3295719"/>
                <a:gd name="connsiteY2" fmla="*/ 102590 h 145729"/>
                <a:gd name="connsiteX3" fmla="*/ 3195067 w 3295719"/>
                <a:gd name="connsiteY3" fmla="*/ 102590 h 145729"/>
                <a:gd name="connsiteX4" fmla="*/ 3158345 w 3295719"/>
                <a:gd name="connsiteY4" fmla="*/ 139302 h 145729"/>
                <a:gd name="connsiteX5" fmla="*/ 3114729 w 3295719"/>
                <a:gd name="connsiteY5" fmla="*/ 139302 h 145729"/>
                <a:gd name="connsiteX6" fmla="*/ 2826278 w 3295719"/>
                <a:gd name="connsiteY6" fmla="*/ 139302 h 145729"/>
                <a:gd name="connsiteX7" fmla="*/ 2745128 w 3295719"/>
                <a:gd name="connsiteY7" fmla="*/ 139302 h 145729"/>
                <a:gd name="connsiteX8" fmla="*/ 2531961 w 3295719"/>
                <a:gd name="connsiteY8" fmla="*/ 139302 h 145729"/>
                <a:gd name="connsiteX9" fmla="*/ 2551840 w 3295719"/>
                <a:gd name="connsiteY9" fmla="*/ 104879 h 145729"/>
                <a:gd name="connsiteX10" fmla="*/ 3144089 w 3295719"/>
                <a:gd name="connsiteY10" fmla="*/ 104879 h 145729"/>
                <a:gd name="connsiteX11" fmla="*/ 3172778 w 3295719"/>
                <a:gd name="connsiteY11" fmla="*/ 76190 h 145729"/>
                <a:gd name="connsiteX12" fmla="*/ 3195730 w 3295719"/>
                <a:gd name="connsiteY12" fmla="*/ 53229 h 145729"/>
                <a:gd name="connsiteX13" fmla="*/ 3238552 w 3295719"/>
                <a:gd name="connsiteY13" fmla="*/ 10407 h 145729"/>
                <a:gd name="connsiteX14" fmla="*/ 3241962 w 3295719"/>
                <a:gd name="connsiteY14" fmla="*/ 7006 h 145729"/>
                <a:gd name="connsiteX15" fmla="*/ 3290641 w 3295719"/>
                <a:gd name="connsiteY15" fmla="*/ 7006 h 145729"/>
                <a:gd name="connsiteX16" fmla="*/ 3287240 w 3295719"/>
                <a:gd name="connsiteY16" fmla="*/ 10407 h 145729"/>
                <a:gd name="connsiteX17" fmla="*/ 3244419 w 3295719"/>
                <a:gd name="connsiteY17" fmla="*/ 53229 h 145729"/>
                <a:gd name="connsiteX18" fmla="*/ 3221457 w 3295719"/>
                <a:gd name="connsiteY18" fmla="*/ 76190 h 145729"/>
                <a:gd name="connsiteX19" fmla="*/ 3206323 w 3295719"/>
                <a:gd name="connsiteY19" fmla="*/ 91333 h 145729"/>
                <a:gd name="connsiteX20" fmla="*/ 3162707 w 3295719"/>
                <a:gd name="connsiteY20" fmla="*/ 91333 h 145729"/>
                <a:gd name="connsiteX21" fmla="*/ 3114729 w 3295719"/>
                <a:gd name="connsiteY21" fmla="*/ 139302 h 145729"/>
                <a:gd name="connsiteX22" fmla="*/ 2512699 w 3295719"/>
                <a:gd name="connsiteY22" fmla="*/ 139302 h 145729"/>
                <a:gd name="connsiteX23" fmla="*/ 2046823 w 3295719"/>
                <a:gd name="connsiteY23" fmla="*/ 139302 h 145729"/>
                <a:gd name="connsiteX24" fmla="*/ 2026944 w 3295719"/>
                <a:gd name="connsiteY24" fmla="*/ 104879 h 145729"/>
                <a:gd name="connsiteX25" fmla="*/ 2532568 w 3295719"/>
                <a:gd name="connsiteY25" fmla="*/ 104879 h 145729"/>
                <a:gd name="connsiteX26" fmla="*/ 2512699 w 3295719"/>
                <a:gd name="connsiteY26" fmla="*/ 139302 h 145729"/>
                <a:gd name="connsiteX27" fmla="*/ 2027561 w 3295719"/>
                <a:gd name="connsiteY27" fmla="*/ 139302 h 145729"/>
                <a:gd name="connsiteX28" fmla="*/ 1121031 w 3295719"/>
                <a:gd name="connsiteY28" fmla="*/ 139302 h 145729"/>
                <a:gd name="connsiteX29" fmla="*/ 1155465 w 3295719"/>
                <a:gd name="connsiteY29" fmla="*/ 104879 h 145729"/>
                <a:gd name="connsiteX30" fmla="*/ 2007682 w 3295719"/>
                <a:gd name="connsiteY30" fmla="*/ 104879 h 145729"/>
                <a:gd name="connsiteX31" fmla="*/ 2027561 w 3295719"/>
                <a:gd name="connsiteY31" fmla="*/ 139302 h 145729"/>
                <a:gd name="connsiteX32" fmla="*/ 1041441 w 3295719"/>
                <a:gd name="connsiteY32" fmla="*/ 139302 h 145729"/>
                <a:gd name="connsiteX33" fmla="*/ 512715 w 3295719"/>
                <a:gd name="connsiteY33" fmla="*/ 139302 h 145729"/>
                <a:gd name="connsiteX34" fmla="*/ 497180 w 3295719"/>
                <a:gd name="connsiteY34" fmla="*/ 123767 h 145729"/>
                <a:gd name="connsiteX35" fmla="*/ 1030399 w 3295719"/>
                <a:gd name="connsiteY35" fmla="*/ 123767 h 145729"/>
                <a:gd name="connsiteX36" fmla="*/ 1030399 w 3295719"/>
                <a:gd name="connsiteY36" fmla="*/ 106878 h 145729"/>
                <a:gd name="connsiteX37" fmla="*/ 480290 w 3295719"/>
                <a:gd name="connsiteY37" fmla="*/ 106878 h 145729"/>
                <a:gd name="connsiteX38" fmla="*/ 478291 w 3295719"/>
                <a:gd name="connsiteY38" fmla="*/ 104879 h 145729"/>
                <a:gd name="connsiteX39" fmla="*/ 1075865 w 3295719"/>
                <a:gd name="connsiteY39" fmla="*/ 104879 h 145729"/>
                <a:gd name="connsiteX40" fmla="*/ 1041441 w 3295719"/>
                <a:gd name="connsiteY40" fmla="*/ 139302 h 145729"/>
                <a:gd name="connsiteX41" fmla="*/ 504849 w 3295719"/>
                <a:gd name="connsiteY41" fmla="*/ 139302 h 145729"/>
                <a:gd name="connsiteX42" fmla="*/ 350684 w 3295719"/>
                <a:gd name="connsiteY42" fmla="*/ 139302 h 145729"/>
                <a:gd name="connsiteX43" fmla="*/ 366219 w 3295719"/>
                <a:gd name="connsiteY43" fmla="*/ 123767 h 145729"/>
                <a:gd name="connsiteX44" fmla="*/ 489314 w 3295719"/>
                <a:gd name="connsiteY44" fmla="*/ 123767 h 145729"/>
                <a:gd name="connsiteX45" fmla="*/ 504849 w 3295719"/>
                <a:gd name="connsiteY45" fmla="*/ 139302 h 145729"/>
                <a:gd name="connsiteX46" fmla="*/ 326807 w 3295719"/>
                <a:gd name="connsiteY46" fmla="*/ 139302 h 145729"/>
                <a:gd name="connsiteX47" fmla="*/ 170354 w 3295719"/>
                <a:gd name="connsiteY47" fmla="*/ 139302 h 145729"/>
                <a:gd name="connsiteX48" fmla="*/ 204778 w 3295719"/>
                <a:gd name="connsiteY48" fmla="*/ 104879 h 145729"/>
                <a:gd name="connsiteX49" fmla="*/ 470416 w 3295719"/>
                <a:gd name="connsiteY49" fmla="*/ 104879 h 145729"/>
                <a:gd name="connsiteX50" fmla="*/ 472424 w 3295719"/>
                <a:gd name="connsiteY50" fmla="*/ 106878 h 145729"/>
                <a:gd name="connsiteX51" fmla="*/ 359232 w 3295719"/>
                <a:gd name="connsiteY51" fmla="*/ 106878 h 145729"/>
                <a:gd name="connsiteX52" fmla="*/ 326807 w 3295719"/>
                <a:gd name="connsiteY52" fmla="*/ 139302 h 145729"/>
                <a:gd name="connsiteX53" fmla="*/ 162479 w 3295719"/>
                <a:gd name="connsiteY53" fmla="*/ 139302 h 145729"/>
                <a:gd name="connsiteX54" fmla="*/ 7006 w 3295719"/>
                <a:gd name="connsiteY54" fmla="*/ 139302 h 145729"/>
                <a:gd name="connsiteX55" fmla="*/ 7006 w 3295719"/>
                <a:gd name="connsiteY55" fmla="*/ 104879 h 145729"/>
                <a:gd name="connsiteX56" fmla="*/ 196912 w 3295719"/>
                <a:gd name="connsiteY56" fmla="*/ 104879 h 145729"/>
                <a:gd name="connsiteX57" fmla="*/ 162479 w 3295719"/>
                <a:gd name="connsiteY57" fmla="*/ 139302 h 14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95719" h="145729">
                  <a:moveTo>
                    <a:pt x="3158345" y="139302"/>
                  </a:moveTo>
                  <a:lnTo>
                    <a:pt x="3130647" y="139302"/>
                  </a:lnTo>
                  <a:lnTo>
                    <a:pt x="3167369" y="102590"/>
                  </a:lnTo>
                  <a:lnTo>
                    <a:pt x="3195067" y="102590"/>
                  </a:lnTo>
                  <a:lnTo>
                    <a:pt x="3158345" y="139302"/>
                  </a:lnTo>
                  <a:close/>
                  <a:moveTo>
                    <a:pt x="3114729" y="139302"/>
                  </a:moveTo>
                  <a:lnTo>
                    <a:pt x="2826278" y="139302"/>
                  </a:lnTo>
                  <a:lnTo>
                    <a:pt x="2745128" y="139302"/>
                  </a:lnTo>
                  <a:lnTo>
                    <a:pt x="2531961" y="139302"/>
                  </a:lnTo>
                  <a:lnTo>
                    <a:pt x="2551840" y="104879"/>
                  </a:lnTo>
                  <a:lnTo>
                    <a:pt x="3144089" y="104879"/>
                  </a:lnTo>
                  <a:lnTo>
                    <a:pt x="3172778" y="76190"/>
                  </a:lnTo>
                  <a:lnTo>
                    <a:pt x="3195730" y="53229"/>
                  </a:lnTo>
                  <a:lnTo>
                    <a:pt x="3238552" y="10407"/>
                  </a:lnTo>
                  <a:lnTo>
                    <a:pt x="3241962" y="7006"/>
                  </a:lnTo>
                  <a:lnTo>
                    <a:pt x="3290641" y="7006"/>
                  </a:lnTo>
                  <a:lnTo>
                    <a:pt x="3287240" y="10407"/>
                  </a:lnTo>
                  <a:lnTo>
                    <a:pt x="3244419" y="53229"/>
                  </a:lnTo>
                  <a:lnTo>
                    <a:pt x="3221457" y="76190"/>
                  </a:lnTo>
                  <a:lnTo>
                    <a:pt x="3206323" y="91333"/>
                  </a:lnTo>
                  <a:lnTo>
                    <a:pt x="3162707" y="91333"/>
                  </a:lnTo>
                  <a:lnTo>
                    <a:pt x="3114729" y="139302"/>
                  </a:lnTo>
                  <a:close/>
                  <a:moveTo>
                    <a:pt x="2512699" y="139302"/>
                  </a:moveTo>
                  <a:lnTo>
                    <a:pt x="2046823" y="139302"/>
                  </a:lnTo>
                  <a:lnTo>
                    <a:pt x="2026944" y="104879"/>
                  </a:lnTo>
                  <a:lnTo>
                    <a:pt x="2532568" y="104879"/>
                  </a:lnTo>
                  <a:lnTo>
                    <a:pt x="2512699" y="139302"/>
                  </a:lnTo>
                  <a:close/>
                  <a:moveTo>
                    <a:pt x="2027561" y="139302"/>
                  </a:moveTo>
                  <a:lnTo>
                    <a:pt x="1121031" y="139302"/>
                  </a:lnTo>
                  <a:lnTo>
                    <a:pt x="1155465" y="104879"/>
                  </a:lnTo>
                  <a:lnTo>
                    <a:pt x="2007682" y="104879"/>
                  </a:lnTo>
                  <a:lnTo>
                    <a:pt x="2027561" y="139302"/>
                  </a:lnTo>
                  <a:close/>
                  <a:moveTo>
                    <a:pt x="1041441" y="139302"/>
                  </a:moveTo>
                  <a:lnTo>
                    <a:pt x="512715" y="139302"/>
                  </a:lnTo>
                  <a:lnTo>
                    <a:pt x="497180" y="123767"/>
                  </a:lnTo>
                  <a:lnTo>
                    <a:pt x="1030399" y="123767"/>
                  </a:lnTo>
                  <a:lnTo>
                    <a:pt x="1030399" y="106878"/>
                  </a:lnTo>
                  <a:lnTo>
                    <a:pt x="480290" y="106878"/>
                  </a:lnTo>
                  <a:lnTo>
                    <a:pt x="478291" y="104879"/>
                  </a:lnTo>
                  <a:lnTo>
                    <a:pt x="1075865" y="104879"/>
                  </a:lnTo>
                  <a:lnTo>
                    <a:pt x="1041441" y="139302"/>
                  </a:lnTo>
                  <a:close/>
                  <a:moveTo>
                    <a:pt x="504849" y="139302"/>
                  </a:moveTo>
                  <a:lnTo>
                    <a:pt x="350684" y="139302"/>
                  </a:lnTo>
                  <a:lnTo>
                    <a:pt x="366219" y="123767"/>
                  </a:lnTo>
                  <a:lnTo>
                    <a:pt x="489314" y="123767"/>
                  </a:lnTo>
                  <a:lnTo>
                    <a:pt x="504849" y="139302"/>
                  </a:lnTo>
                  <a:close/>
                  <a:moveTo>
                    <a:pt x="326807" y="139302"/>
                  </a:moveTo>
                  <a:lnTo>
                    <a:pt x="170354" y="139302"/>
                  </a:lnTo>
                  <a:lnTo>
                    <a:pt x="204778" y="104879"/>
                  </a:lnTo>
                  <a:lnTo>
                    <a:pt x="470416" y="104879"/>
                  </a:lnTo>
                  <a:lnTo>
                    <a:pt x="472424" y="106878"/>
                  </a:lnTo>
                  <a:lnTo>
                    <a:pt x="359232" y="106878"/>
                  </a:lnTo>
                  <a:lnTo>
                    <a:pt x="326807" y="139302"/>
                  </a:lnTo>
                  <a:close/>
                  <a:moveTo>
                    <a:pt x="162479" y="139302"/>
                  </a:moveTo>
                  <a:lnTo>
                    <a:pt x="7006" y="139302"/>
                  </a:lnTo>
                  <a:lnTo>
                    <a:pt x="7006" y="104879"/>
                  </a:lnTo>
                  <a:lnTo>
                    <a:pt x="196912" y="104879"/>
                  </a:lnTo>
                  <a:lnTo>
                    <a:pt x="162479" y="13930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3" name="Freeform: Shape 13472">
              <a:extLst>
                <a:ext uri="{FF2B5EF4-FFF2-40B4-BE49-F238E27FC236}">
                  <a16:creationId xmlns:a16="http://schemas.microsoft.com/office/drawing/2014/main" id="{31AA7E66-E5CF-46A1-A4EE-976E4604AFF3}"/>
                </a:ext>
              </a:extLst>
            </p:cNvPr>
            <p:cNvSpPr/>
            <p:nvPr/>
          </p:nvSpPr>
          <p:spPr bwMode="ltGray">
            <a:xfrm>
              <a:off x="1997815" y="3279561"/>
              <a:ext cx="556013" cy="47082"/>
            </a:xfrm>
            <a:custGeom>
              <a:avLst/>
              <a:gdLst>
                <a:gd name="connsiteX0" fmla="*/ 531286 w 556012"/>
                <a:gd name="connsiteY0" fmla="*/ 41430 h 47081"/>
                <a:gd name="connsiteX1" fmla="*/ 512023 w 556012"/>
                <a:gd name="connsiteY1" fmla="*/ 41430 h 47081"/>
                <a:gd name="connsiteX2" fmla="*/ 531893 w 556012"/>
                <a:gd name="connsiteY2" fmla="*/ 7006 h 47081"/>
                <a:gd name="connsiteX3" fmla="*/ 551165 w 556012"/>
                <a:gd name="connsiteY3" fmla="*/ 7006 h 47081"/>
                <a:gd name="connsiteX4" fmla="*/ 531286 w 556012"/>
                <a:gd name="connsiteY4" fmla="*/ 41430 h 47081"/>
                <a:gd name="connsiteX5" fmla="*/ 46148 w 556012"/>
                <a:gd name="connsiteY5" fmla="*/ 41430 h 47081"/>
                <a:gd name="connsiteX6" fmla="*/ 26885 w 556012"/>
                <a:gd name="connsiteY6" fmla="*/ 41430 h 47081"/>
                <a:gd name="connsiteX7" fmla="*/ 7006 w 556012"/>
                <a:gd name="connsiteY7" fmla="*/ 7006 h 47081"/>
                <a:gd name="connsiteX8" fmla="*/ 26269 w 556012"/>
                <a:gd name="connsiteY8" fmla="*/ 7006 h 47081"/>
                <a:gd name="connsiteX9" fmla="*/ 46148 w 556012"/>
                <a:gd name="connsiteY9"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012" h="47081">
                  <a:moveTo>
                    <a:pt x="531286" y="41430"/>
                  </a:moveTo>
                  <a:lnTo>
                    <a:pt x="512023" y="41430"/>
                  </a:lnTo>
                  <a:lnTo>
                    <a:pt x="531893" y="7006"/>
                  </a:lnTo>
                  <a:lnTo>
                    <a:pt x="551165" y="7006"/>
                  </a:lnTo>
                  <a:lnTo>
                    <a:pt x="531286" y="41430"/>
                  </a:lnTo>
                  <a:close/>
                  <a:moveTo>
                    <a:pt x="46148" y="41430"/>
                  </a:moveTo>
                  <a:lnTo>
                    <a:pt x="26885" y="41430"/>
                  </a:lnTo>
                  <a:lnTo>
                    <a:pt x="7006" y="7006"/>
                  </a:lnTo>
                  <a:lnTo>
                    <a:pt x="26269" y="7006"/>
                  </a:lnTo>
                  <a:lnTo>
                    <a:pt x="46148"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4" name="Freeform: Shape 13473">
              <a:extLst>
                <a:ext uri="{FF2B5EF4-FFF2-40B4-BE49-F238E27FC236}">
                  <a16:creationId xmlns:a16="http://schemas.microsoft.com/office/drawing/2014/main" id="{678D68AB-54CB-4625-B135-A9769AFAB8C9}"/>
                </a:ext>
              </a:extLst>
            </p:cNvPr>
            <p:cNvSpPr/>
            <p:nvPr/>
          </p:nvSpPr>
          <p:spPr bwMode="ltGray">
            <a:xfrm>
              <a:off x="152612" y="3279561"/>
              <a:ext cx="56050" cy="47082"/>
            </a:xfrm>
            <a:custGeom>
              <a:avLst/>
              <a:gdLst>
                <a:gd name="connsiteX0" fmla="*/ 14881 w 56049"/>
                <a:gd name="connsiteY0" fmla="*/ 41430 h 47081"/>
                <a:gd name="connsiteX1" fmla="*/ 7006 w 56049"/>
                <a:gd name="connsiteY1" fmla="*/ 41430 h 47081"/>
                <a:gd name="connsiteX2" fmla="*/ 41439 w 56049"/>
                <a:gd name="connsiteY2" fmla="*/ 7006 h 47081"/>
                <a:gd name="connsiteX3" fmla="*/ 49305 w 56049"/>
                <a:gd name="connsiteY3" fmla="*/ 7006 h 47081"/>
                <a:gd name="connsiteX4" fmla="*/ 14881 w 56049"/>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881" y="41430"/>
                  </a:moveTo>
                  <a:lnTo>
                    <a:pt x="7006" y="41430"/>
                  </a:lnTo>
                  <a:lnTo>
                    <a:pt x="41439" y="7006"/>
                  </a:lnTo>
                  <a:lnTo>
                    <a:pt x="49305" y="7006"/>
                  </a:lnTo>
                  <a:lnTo>
                    <a:pt x="14881"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5" name="Freeform: Shape 13474">
              <a:extLst>
                <a:ext uri="{FF2B5EF4-FFF2-40B4-BE49-F238E27FC236}">
                  <a16:creationId xmlns:a16="http://schemas.microsoft.com/office/drawing/2014/main" id="{5073B2DC-2028-48B4-91AF-F78214648F49}"/>
                </a:ext>
              </a:extLst>
            </p:cNvPr>
            <p:cNvSpPr/>
            <p:nvPr/>
          </p:nvSpPr>
          <p:spPr bwMode="ltGray">
            <a:xfrm>
              <a:off x="460549" y="3279561"/>
              <a:ext cx="56050" cy="47082"/>
            </a:xfrm>
            <a:custGeom>
              <a:avLst/>
              <a:gdLst>
                <a:gd name="connsiteX0" fmla="*/ 49305 w 56049"/>
                <a:gd name="connsiteY0" fmla="*/ 41430 h 47081"/>
                <a:gd name="connsiteX1" fmla="*/ 41439 w 56049"/>
                <a:gd name="connsiteY1" fmla="*/ 41430 h 47081"/>
                <a:gd name="connsiteX2" fmla="*/ 25904 w 56049"/>
                <a:gd name="connsiteY2" fmla="*/ 25895 h 47081"/>
                <a:gd name="connsiteX3" fmla="*/ 33770 w 56049"/>
                <a:gd name="connsiteY3" fmla="*/ 25895 h 47081"/>
                <a:gd name="connsiteX4" fmla="*/ 49305 w 56049"/>
                <a:gd name="connsiteY4" fmla="*/ 41430 h 47081"/>
                <a:gd name="connsiteX5" fmla="*/ 16880 w 56049"/>
                <a:gd name="connsiteY5" fmla="*/ 9005 h 47081"/>
                <a:gd name="connsiteX6" fmla="*/ 9015 w 56049"/>
                <a:gd name="connsiteY6" fmla="*/ 9005 h 47081"/>
                <a:gd name="connsiteX7" fmla="*/ 7006 w 56049"/>
                <a:gd name="connsiteY7" fmla="*/ 7006 h 47081"/>
                <a:gd name="connsiteX8" fmla="*/ 14881 w 56049"/>
                <a:gd name="connsiteY8" fmla="*/ 7006 h 47081"/>
                <a:gd name="connsiteX9" fmla="*/ 16880 w 56049"/>
                <a:gd name="connsiteY9" fmla="*/ 9005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049" h="47081">
                  <a:moveTo>
                    <a:pt x="49305" y="41430"/>
                  </a:moveTo>
                  <a:lnTo>
                    <a:pt x="41439" y="41430"/>
                  </a:lnTo>
                  <a:lnTo>
                    <a:pt x="25904" y="25895"/>
                  </a:lnTo>
                  <a:lnTo>
                    <a:pt x="33770" y="25895"/>
                  </a:lnTo>
                  <a:lnTo>
                    <a:pt x="49305" y="41430"/>
                  </a:lnTo>
                  <a:close/>
                  <a:moveTo>
                    <a:pt x="16880" y="9005"/>
                  </a:moveTo>
                  <a:lnTo>
                    <a:pt x="9015" y="9005"/>
                  </a:lnTo>
                  <a:lnTo>
                    <a:pt x="7006" y="7006"/>
                  </a:lnTo>
                  <a:lnTo>
                    <a:pt x="14881" y="7006"/>
                  </a:lnTo>
                  <a:lnTo>
                    <a:pt x="16880" y="900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6" name="Freeform: Shape 13475">
              <a:extLst>
                <a:ext uri="{FF2B5EF4-FFF2-40B4-BE49-F238E27FC236}">
                  <a16:creationId xmlns:a16="http://schemas.microsoft.com/office/drawing/2014/main" id="{FE2DF4FE-710C-4443-84F7-8A08FD599403}"/>
                </a:ext>
              </a:extLst>
            </p:cNvPr>
            <p:cNvSpPr/>
            <p:nvPr/>
          </p:nvSpPr>
          <p:spPr bwMode="ltGray">
            <a:xfrm>
              <a:off x="1031574" y="3279561"/>
              <a:ext cx="127793" cy="47082"/>
            </a:xfrm>
            <a:custGeom>
              <a:avLst/>
              <a:gdLst>
                <a:gd name="connsiteX0" fmla="*/ 86597 w 127793"/>
                <a:gd name="connsiteY0" fmla="*/ 41430 h 47081"/>
                <a:gd name="connsiteX1" fmla="*/ 7006 w 127793"/>
                <a:gd name="connsiteY1" fmla="*/ 41430 h 47081"/>
                <a:gd name="connsiteX2" fmla="*/ 41430 w 127793"/>
                <a:gd name="connsiteY2" fmla="*/ 7006 h 47081"/>
                <a:gd name="connsiteX3" fmla="*/ 121030 w 127793"/>
                <a:gd name="connsiteY3" fmla="*/ 7006 h 47081"/>
                <a:gd name="connsiteX4" fmla="*/ 86597 w 127793"/>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0"/>
                  </a:moveTo>
                  <a:lnTo>
                    <a:pt x="7006" y="41430"/>
                  </a:lnTo>
                  <a:lnTo>
                    <a:pt x="41430" y="7006"/>
                  </a:lnTo>
                  <a:lnTo>
                    <a:pt x="121030" y="7006"/>
                  </a:lnTo>
                  <a:lnTo>
                    <a:pt x="8659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7" name="Freeform: Shape 13476">
              <a:extLst>
                <a:ext uri="{FF2B5EF4-FFF2-40B4-BE49-F238E27FC236}">
                  <a16:creationId xmlns:a16="http://schemas.microsoft.com/office/drawing/2014/main" id="{BEB5A05F-0425-45C9-8FD6-638520AC271D}"/>
                </a:ext>
              </a:extLst>
            </p:cNvPr>
            <p:cNvSpPr/>
            <p:nvPr/>
          </p:nvSpPr>
          <p:spPr bwMode="ltGray">
            <a:xfrm>
              <a:off x="3104862" y="3266015"/>
              <a:ext cx="105373" cy="60534"/>
            </a:xfrm>
            <a:custGeom>
              <a:avLst/>
              <a:gdLst>
                <a:gd name="connsiteX0" fmla="*/ 22924 w 105373"/>
                <a:gd name="connsiteY0" fmla="*/ 54976 h 60533"/>
                <a:gd name="connsiteX1" fmla="*/ 7006 w 105373"/>
                <a:gd name="connsiteY1" fmla="*/ 54976 h 60533"/>
                <a:gd name="connsiteX2" fmla="*/ 54985 w 105373"/>
                <a:gd name="connsiteY2" fmla="*/ 7006 h 60533"/>
                <a:gd name="connsiteX3" fmla="*/ 98601 w 105373"/>
                <a:gd name="connsiteY3" fmla="*/ 7006 h 60533"/>
                <a:gd name="connsiteX4" fmla="*/ 87344 w 105373"/>
                <a:gd name="connsiteY4" fmla="*/ 18263 h 60533"/>
                <a:gd name="connsiteX5" fmla="*/ 59646 w 105373"/>
                <a:gd name="connsiteY5" fmla="*/ 18263 h 60533"/>
                <a:gd name="connsiteX6" fmla="*/ 22924 w 105373"/>
                <a:gd name="connsiteY6" fmla="*/ 54976 h 6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373" h="60533">
                  <a:moveTo>
                    <a:pt x="22924" y="54976"/>
                  </a:moveTo>
                  <a:lnTo>
                    <a:pt x="7006" y="54976"/>
                  </a:lnTo>
                  <a:lnTo>
                    <a:pt x="54985" y="7006"/>
                  </a:lnTo>
                  <a:lnTo>
                    <a:pt x="98601" y="7006"/>
                  </a:lnTo>
                  <a:lnTo>
                    <a:pt x="87344" y="18263"/>
                  </a:lnTo>
                  <a:lnTo>
                    <a:pt x="59646" y="18263"/>
                  </a:lnTo>
                  <a:lnTo>
                    <a:pt x="22924" y="5497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8" name="Freeform: Shape 13477">
              <a:extLst>
                <a:ext uri="{FF2B5EF4-FFF2-40B4-BE49-F238E27FC236}">
                  <a16:creationId xmlns:a16="http://schemas.microsoft.com/office/drawing/2014/main" id="{3E8342B8-4EFC-41D0-BA4F-46CC96C3AE2A}"/>
                </a:ext>
              </a:extLst>
            </p:cNvPr>
            <p:cNvSpPr/>
            <p:nvPr/>
          </p:nvSpPr>
          <p:spPr bwMode="ltGray">
            <a:xfrm>
              <a:off x="316941" y="3281560"/>
              <a:ext cx="717436" cy="44840"/>
            </a:xfrm>
            <a:custGeom>
              <a:avLst/>
              <a:gdLst>
                <a:gd name="connsiteX0" fmla="*/ 30883 w 717435"/>
                <a:gd name="connsiteY0" fmla="*/ 39431 h 44839"/>
                <a:gd name="connsiteX1" fmla="*/ 7006 w 717435"/>
                <a:gd name="connsiteY1" fmla="*/ 39431 h 44839"/>
                <a:gd name="connsiteX2" fmla="*/ 39431 w 717435"/>
                <a:gd name="connsiteY2" fmla="*/ 7006 h 44839"/>
                <a:gd name="connsiteX3" fmla="*/ 710598 w 717435"/>
                <a:gd name="connsiteY3" fmla="*/ 7006 h 44839"/>
                <a:gd name="connsiteX4" fmla="*/ 710598 w 717435"/>
                <a:gd name="connsiteY4" fmla="*/ 23896 h 44839"/>
                <a:gd name="connsiteX5" fmla="*/ 177379 w 717435"/>
                <a:gd name="connsiteY5" fmla="*/ 23896 h 44839"/>
                <a:gd name="connsiteX6" fmla="*/ 169513 w 717435"/>
                <a:gd name="connsiteY6" fmla="*/ 23896 h 44839"/>
                <a:gd name="connsiteX7" fmla="*/ 46418 w 717435"/>
                <a:gd name="connsiteY7" fmla="*/ 23896 h 44839"/>
                <a:gd name="connsiteX8" fmla="*/ 30883 w 717435"/>
                <a:gd name="connsiteY8" fmla="*/ 39431 h 44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435" h="44839">
                  <a:moveTo>
                    <a:pt x="30883" y="39431"/>
                  </a:moveTo>
                  <a:lnTo>
                    <a:pt x="7006" y="39431"/>
                  </a:lnTo>
                  <a:lnTo>
                    <a:pt x="39431" y="7006"/>
                  </a:lnTo>
                  <a:lnTo>
                    <a:pt x="710598" y="7006"/>
                  </a:lnTo>
                  <a:lnTo>
                    <a:pt x="710598" y="23896"/>
                  </a:lnTo>
                  <a:lnTo>
                    <a:pt x="177379" y="23896"/>
                  </a:lnTo>
                  <a:lnTo>
                    <a:pt x="169513" y="23896"/>
                  </a:lnTo>
                  <a:lnTo>
                    <a:pt x="46418" y="23896"/>
                  </a:lnTo>
                  <a:lnTo>
                    <a:pt x="30883" y="3943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9" name="Freeform: Shape 13478">
              <a:extLst>
                <a:ext uri="{FF2B5EF4-FFF2-40B4-BE49-F238E27FC236}">
                  <a16:creationId xmlns:a16="http://schemas.microsoft.com/office/drawing/2014/main" id="{5364D97E-D716-460A-9C15-649019AA951C}"/>
                </a:ext>
              </a:extLst>
            </p:cNvPr>
            <p:cNvSpPr/>
            <p:nvPr/>
          </p:nvSpPr>
          <p:spPr bwMode="ltGray">
            <a:xfrm>
              <a:off x="3248975" y="2784147"/>
              <a:ext cx="616546" cy="394590"/>
            </a:xfrm>
            <a:custGeom>
              <a:avLst/>
              <a:gdLst>
                <a:gd name="connsiteX0" fmla="*/ 55695 w 616546"/>
                <a:gd name="connsiteY0" fmla="*/ 387668 h 394589"/>
                <a:gd name="connsiteX1" fmla="*/ 7006 w 616546"/>
                <a:gd name="connsiteY1" fmla="*/ 387668 h 394589"/>
                <a:gd name="connsiteX2" fmla="*/ 78535 w 616546"/>
                <a:gd name="connsiteY2" fmla="*/ 316139 h 394589"/>
                <a:gd name="connsiteX3" fmla="*/ 184348 w 616546"/>
                <a:gd name="connsiteY3" fmla="*/ 210327 h 394589"/>
                <a:gd name="connsiteX4" fmla="*/ 193764 w 616546"/>
                <a:gd name="connsiteY4" fmla="*/ 210327 h 394589"/>
                <a:gd name="connsiteX5" fmla="*/ 213391 w 616546"/>
                <a:gd name="connsiteY5" fmla="*/ 229963 h 394589"/>
                <a:gd name="connsiteX6" fmla="*/ 127214 w 616546"/>
                <a:gd name="connsiteY6" fmla="*/ 316139 h 394589"/>
                <a:gd name="connsiteX7" fmla="*/ 55695 w 616546"/>
                <a:gd name="connsiteY7" fmla="*/ 387668 h 394589"/>
                <a:gd name="connsiteX8" fmla="*/ 225189 w 616546"/>
                <a:gd name="connsiteY8" fmla="*/ 218164 h 394589"/>
                <a:gd name="connsiteX9" fmla="*/ 200845 w 616546"/>
                <a:gd name="connsiteY9" fmla="*/ 193820 h 394589"/>
                <a:gd name="connsiteX10" fmla="*/ 247712 w 616546"/>
                <a:gd name="connsiteY10" fmla="*/ 146953 h 394589"/>
                <a:gd name="connsiteX11" fmla="*/ 266600 w 616546"/>
                <a:gd name="connsiteY11" fmla="*/ 146953 h 394589"/>
                <a:gd name="connsiteX12" fmla="*/ 281500 w 616546"/>
                <a:gd name="connsiteY12" fmla="*/ 161862 h 394589"/>
                <a:gd name="connsiteX13" fmla="*/ 225189 w 616546"/>
                <a:gd name="connsiteY13" fmla="*/ 218164 h 394589"/>
                <a:gd name="connsiteX14" fmla="*/ 285480 w 616546"/>
                <a:gd name="connsiteY14" fmla="*/ 157883 h 394589"/>
                <a:gd name="connsiteX15" fmla="*/ 268927 w 616546"/>
                <a:gd name="connsiteY15" fmla="*/ 141329 h 394589"/>
                <a:gd name="connsiteX16" fmla="*/ 253345 w 616546"/>
                <a:gd name="connsiteY16" fmla="*/ 141329 h 394589"/>
                <a:gd name="connsiteX17" fmla="*/ 387659 w 616546"/>
                <a:gd name="connsiteY17" fmla="*/ 7006 h 394589"/>
                <a:gd name="connsiteX18" fmla="*/ 610914 w 616546"/>
                <a:gd name="connsiteY18" fmla="*/ 7006 h 394589"/>
                <a:gd name="connsiteX19" fmla="*/ 610914 w 616546"/>
                <a:gd name="connsiteY19" fmla="*/ 41439 h 394589"/>
                <a:gd name="connsiteX20" fmla="*/ 401923 w 616546"/>
                <a:gd name="connsiteY20" fmla="*/ 41439 h 394589"/>
                <a:gd name="connsiteX21" fmla="*/ 285480 w 616546"/>
                <a:gd name="connsiteY21" fmla="*/ 157883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6546" h="394589">
                  <a:moveTo>
                    <a:pt x="55695" y="387668"/>
                  </a:moveTo>
                  <a:lnTo>
                    <a:pt x="7006" y="387668"/>
                  </a:lnTo>
                  <a:lnTo>
                    <a:pt x="78535" y="316139"/>
                  </a:lnTo>
                  <a:lnTo>
                    <a:pt x="184348" y="210327"/>
                  </a:lnTo>
                  <a:lnTo>
                    <a:pt x="193764" y="210327"/>
                  </a:lnTo>
                  <a:lnTo>
                    <a:pt x="213391" y="229963"/>
                  </a:lnTo>
                  <a:lnTo>
                    <a:pt x="127214" y="316139"/>
                  </a:lnTo>
                  <a:lnTo>
                    <a:pt x="55695" y="387668"/>
                  </a:lnTo>
                  <a:close/>
                  <a:moveTo>
                    <a:pt x="225189" y="218164"/>
                  </a:moveTo>
                  <a:lnTo>
                    <a:pt x="200845" y="193820"/>
                  </a:lnTo>
                  <a:lnTo>
                    <a:pt x="247712" y="146953"/>
                  </a:lnTo>
                  <a:lnTo>
                    <a:pt x="266600" y="146953"/>
                  </a:lnTo>
                  <a:lnTo>
                    <a:pt x="281500" y="161862"/>
                  </a:lnTo>
                  <a:lnTo>
                    <a:pt x="225189" y="218164"/>
                  </a:lnTo>
                  <a:close/>
                  <a:moveTo>
                    <a:pt x="285480" y="157883"/>
                  </a:moveTo>
                  <a:lnTo>
                    <a:pt x="268927" y="141329"/>
                  </a:lnTo>
                  <a:lnTo>
                    <a:pt x="253345" y="141329"/>
                  </a:lnTo>
                  <a:lnTo>
                    <a:pt x="387659" y="7006"/>
                  </a:lnTo>
                  <a:lnTo>
                    <a:pt x="610914" y="7006"/>
                  </a:lnTo>
                  <a:lnTo>
                    <a:pt x="610914" y="41439"/>
                  </a:lnTo>
                  <a:lnTo>
                    <a:pt x="401923" y="41439"/>
                  </a:lnTo>
                  <a:lnTo>
                    <a:pt x="285480" y="15788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0" name="Freeform: Shape 13479">
              <a:extLst>
                <a:ext uri="{FF2B5EF4-FFF2-40B4-BE49-F238E27FC236}">
                  <a16:creationId xmlns:a16="http://schemas.microsoft.com/office/drawing/2014/main" id="{0D7E8B37-C2DD-40D2-ACDA-E99B1B5A3045}"/>
                </a:ext>
              </a:extLst>
            </p:cNvPr>
            <p:cNvSpPr/>
            <p:nvPr/>
          </p:nvSpPr>
          <p:spPr bwMode="ltGray">
            <a:xfrm>
              <a:off x="3426317" y="2970961"/>
              <a:ext cx="53808" cy="49324"/>
            </a:xfrm>
            <a:custGeom>
              <a:avLst/>
              <a:gdLst>
                <a:gd name="connsiteX0" fmla="*/ 36049 w 53807"/>
                <a:gd name="connsiteY0" fmla="*/ 43149 h 49323"/>
                <a:gd name="connsiteX1" fmla="*/ 16423 w 53807"/>
                <a:gd name="connsiteY1" fmla="*/ 23513 h 49323"/>
                <a:gd name="connsiteX2" fmla="*/ 7006 w 53807"/>
                <a:gd name="connsiteY2" fmla="*/ 23513 h 49323"/>
                <a:gd name="connsiteX3" fmla="*/ 23503 w 53807"/>
                <a:gd name="connsiteY3" fmla="*/ 7006 h 49323"/>
                <a:gd name="connsiteX4" fmla="*/ 47848 w 53807"/>
                <a:gd name="connsiteY4" fmla="*/ 31350 h 49323"/>
                <a:gd name="connsiteX5" fmla="*/ 36049 w 53807"/>
                <a:gd name="connsiteY5" fmla="*/ 43149 h 4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07" h="49323">
                  <a:moveTo>
                    <a:pt x="36049" y="43149"/>
                  </a:moveTo>
                  <a:lnTo>
                    <a:pt x="16423" y="23513"/>
                  </a:lnTo>
                  <a:lnTo>
                    <a:pt x="7006" y="23513"/>
                  </a:lnTo>
                  <a:lnTo>
                    <a:pt x="23503" y="7006"/>
                  </a:lnTo>
                  <a:lnTo>
                    <a:pt x="47848" y="31350"/>
                  </a:lnTo>
                  <a:lnTo>
                    <a:pt x="36049" y="4314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1" name="Freeform: Shape 13480">
              <a:extLst>
                <a:ext uri="{FF2B5EF4-FFF2-40B4-BE49-F238E27FC236}">
                  <a16:creationId xmlns:a16="http://schemas.microsoft.com/office/drawing/2014/main" id="{30A1C48B-4214-4D8F-A731-DF971749DF7D}"/>
                </a:ext>
              </a:extLst>
            </p:cNvPr>
            <p:cNvSpPr/>
            <p:nvPr/>
          </p:nvSpPr>
          <p:spPr bwMode="ltGray">
            <a:xfrm>
              <a:off x="3489681" y="2918470"/>
              <a:ext cx="51566" cy="33630"/>
            </a:xfrm>
            <a:custGeom>
              <a:avLst/>
              <a:gdLst>
                <a:gd name="connsiteX0" fmla="*/ 40795 w 51565"/>
                <a:gd name="connsiteY0" fmla="*/ 27539 h 33629"/>
                <a:gd name="connsiteX1" fmla="*/ 25895 w 51565"/>
                <a:gd name="connsiteY1" fmla="*/ 12630 h 33629"/>
                <a:gd name="connsiteX2" fmla="*/ 7006 w 51565"/>
                <a:gd name="connsiteY2" fmla="*/ 12630 h 33629"/>
                <a:gd name="connsiteX3" fmla="*/ 12639 w 51565"/>
                <a:gd name="connsiteY3" fmla="*/ 7006 h 33629"/>
                <a:gd name="connsiteX4" fmla="*/ 28221 w 51565"/>
                <a:gd name="connsiteY4" fmla="*/ 7006 h 33629"/>
                <a:gd name="connsiteX5" fmla="*/ 44774 w 51565"/>
                <a:gd name="connsiteY5" fmla="*/ 23560 h 33629"/>
                <a:gd name="connsiteX6" fmla="*/ 40795 w 51565"/>
                <a:gd name="connsiteY6" fmla="*/ 27539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33629">
                  <a:moveTo>
                    <a:pt x="40795" y="27539"/>
                  </a:moveTo>
                  <a:lnTo>
                    <a:pt x="25895" y="12630"/>
                  </a:lnTo>
                  <a:lnTo>
                    <a:pt x="7006" y="12630"/>
                  </a:lnTo>
                  <a:lnTo>
                    <a:pt x="12639" y="7006"/>
                  </a:lnTo>
                  <a:lnTo>
                    <a:pt x="28221" y="7006"/>
                  </a:lnTo>
                  <a:lnTo>
                    <a:pt x="44774" y="23560"/>
                  </a:lnTo>
                  <a:lnTo>
                    <a:pt x="40795" y="275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2" name="Freeform: Shape 13481">
              <a:extLst>
                <a:ext uri="{FF2B5EF4-FFF2-40B4-BE49-F238E27FC236}">
                  <a16:creationId xmlns:a16="http://schemas.microsoft.com/office/drawing/2014/main" id="{79E95478-7879-4610-90B5-1175952F6221}"/>
                </a:ext>
              </a:extLst>
            </p:cNvPr>
            <p:cNvSpPr/>
            <p:nvPr/>
          </p:nvSpPr>
          <p:spPr bwMode="ltGray">
            <a:xfrm>
              <a:off x="3232095" y="3164808"/>
              <a:ext cx="78470" cy="29146"/>
            </a:xfrm>
            <a:custGeom>
              <a:avLst/>
              <a:gdLst>
                <a:gd name="connsiteX0" fmla="*/ 55685 w 78469"/>
                <a:gd name="connsiteY0" fmla="*/ 23886 h 29145"/>
                <a:gd name="connsiteX1" fmla="*/ 7006 w 78469"/>
                <a:gd name="connsiteY1" fmla="*/ 23886 h 29145"/>
                <a:gd name="connsiteX2" fmla="*/ 23886 w 78469"/>
                <a:gd name="connsiteY2" fmla="*/ 7006 h 29145"/>
                <a:gd name="connsiteX3" fmla="*/ 72575 w 78469"/>
                <a:gd name="connsiteY3" fmla="*/ 7006 h 29145"/>
                <a:gd name="connsiteX4" fmla="*/ 55685 w 78469"/>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9" h="29145">
                  <a:moveTo>
                    <a:pt x="55685" y="23886"/>
                  </a:moveTo>
                  <a:lnTo>
                    <a:pt x="7006" y="23886"/>
                  </a:lnTo>
                  <a:lnTo>
                    <a:pt x="23886" y="7006"/>
                  </a:lnTo>
                  <a:lnTo>
                    <a:pt x="72575" y="7006"/>
                  </a:lnTo>
                  <a:lnTo>
                    <a:pt x="5568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3" name="Freeform: Shape 13482">
              <a:extLst>
                <a:ext uri="{FF2B5EF4-FFF2-40B4-BE49-F238E27FC236}">
                  <a16:creationId xmlns:a16="http://schemas.microsoft.com/office/drawing/2014/main" id="{BE2F2136-E6B8-467F-9E38-3BFD5F97C184}"/>
                </a:ext>
              </a:extLst>
            </p:cNvPr>
            <p:cNvSpPr/>
            <p:nvPr/>
          </p:nvSpPr>
          <p:spPr bwMode="ltGray">
            <a:xfrm>
              <a:off x="699125" y="2338505"/>
              <a:ext cx="2979600" cy="219715"/>
            </a:xfrm>
            <a:custGeom>
              <a:avLst/>
              <a:gdLst>
                <a:gd name="connsiteX0" fmla="*/ 2020256 w 2979599"/>
                <a:gd name="connsiteY0" fmla="*/ 213577 h 219714"/>
                <a:gd name="connsiteX1" fmla="*/ 7006 w 2979599"/>
                <a:gd name="connsiteY1" fmla="*/ 213577 h 219714"/>
                <a:gd name="connsiteX2" fmla="*/ 41430 w 2979599"/>
                <a:gd name="connsiteY2" fmla="*/ 179144 h 219714"/>
                <a:gd name="connsiteX3" fmla="*/ 2006000 w 2979599"/>
                <a:gd name="connsiteY3" fmla="*/ 179144 h 219714"/>
                <a:gd name="connsiteX4" fmla="*/ 2178148 w 2979599"/>
                <a:gd name="connsiteY4" fmla="*/ 7006 h 219714"/>
                <a:gd name="connsiteX5" fmla="*/ 2460825 w 2979599"/>
                <a:gd name="connsiteY5" fmla="*/ 7006 h 219714"/>
                <a:gd name="connsiteX6" fmla="*/ 2426392 w 2979599"/>
                <a:gd name="connsiteY6" fmla="*/ 41430 h 219714"/>
                <a:gd name="connsiteX7" fmla="*/ 2384962 w 2979599"/>
                <a:gd name="connsiteY7" fmla="*/ 41430 h 219714"/>
                <a:gd name="connsiteX8" fmla="*/ 2192403 w 2979599"/>
                <a:gd name="connsiteY8" fmla="*/ 41430 h 219714"/>
                <a:gd name="connsiteX9" fmla="*/ 2177232 w 2979599"/>
                <a:gd name="connsiteY9" fmla="*/ 56610 h 219714"/>
                <a:gd name="connsiteX10" fmla="*/ 2169647 w 2979599"/>
                <a:gd name="connsiteY10" fmla="*/ 56610 h 219714"/>
                <a:gd name="connsiteX11" fmla="*/ 2169647 w 2979599"/>
                <a:gd name="connsiteY11" fmla="*/ 64186 h 219714"/>
                <a:gd name="connsiteX12" fmla="*/ 2020256 w 2979599"/>
                <a:gd name="connsiteY12" fmla="*/ 213577 h 219714"/>
                <a:gd name="connsiteX13" fmla="*/ 2938415 w 2979599"/>
                <a:gd name="connsiteY13" fmla="*/ 41430 h 219714"/>
                <a:gd name="connsiteX14" fmla="*/ 2547263 w 2979599"/>
                <a:gd name="connsiteY14" fmla="*/ 41430 h 219714"/>
                <a:gd name="connsiteX15" fmla="*/ 2438368 w 2979599"/>
                <a:gd name="connsiteY15" fmla="*/ 41430 h 219714"/>
                <a:gd name="connsiteX16" fmla="*/ 2472791 w 2979599"/>
                <a:gd name="connsiteY16" fmla="*/ 7006 h 219714"/>
                <a:gd name="connsiteX17" fmla="*/ 2972839 w 2979599"/>
                <a:gd name="connsiteY17" fmla="*/ 7006 h 219714"/>
                <a:gd name="connsiteX18" fmla="*/ 2938415 w 2979599"/>
                <a:gd name="connsiteY18" fmla="*/ 41430 h 21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9599" h="219714">
                  <a:moveTo>
                    <a:pt x="2020256" y="213577"/>
                  </a:moveTo>
                  <a:lnTo>
                    <a:pt x="7006" y="213577"/>
                  </a:lnTo>
                  <a:lnTo>
                    <a:pt x="41430" y="179144"/>
                  </a:lnTo>
                  <a:lnTo>
                    <a:pt x="2006000" y="179144"/>
                  </a:lnTo>
                  <a:lnTo>
                    <a:pt x="2178148" y="7006"/>
                  </a:lnTo>
                  <a:lnTo>
                    <a:pt x="2460825" y="7006"/>
                  </a:lnTo>
                  <a:lnTo>
                    <a:pt x="2426392" y="41430"/>
                  </a:lnTo>
                  <a:lnTo>
                    <a:pt x="2384962" y="41430"/>
                  </a:lnTo>
                  <a:lnTo>
                    <a:pt x="2192403" y="41430"/>
                  </a:lnTo>
                  <a:lnTo>
                    <a:pt x="2177232" y="56610"/>
                  </a:lnTo>
                  <a:lnTo>
                    <a:pt x="2169647" y="56610"/>
                  </a:lnTo>
                  <a:lnTo>
                    <a:pt x="2169647" y="64186"/>
                  </a:lnTo>
                  <a:lnTo>
                    <a:pt x="2020256" y="213577"/>
                  </a:lnTo>
                  <a:close/>
                  <a:moveTo>
                    <a:pt x="2938415" y="41430"/>
                  </a:moveTo>
                  <a:lnTo>
                    <a:pt x="2547263" y="41430"/>
                  </a:lnTo>
                  <a:lnTo>
                    <a:pt x="2438368" y="41430"/>
                  </a:lnTo>
                  <a:lnTo>
                    <a:pt x="2472791" y="7006"/>
                  </a:lnTo>
                  <a:lnTo>
                    <a:pt x="2972839" y="7006"/>
                  </a:lnTo>
                  <a:lnTo>
                    <a:pt x="2938415"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4" name="Freeform: Shape 13483">
              <a:extLst>
                <a:ext uri="{FF2B5EF4-FFF2-40B4-BE49-F238E27FC236}">
                  <a16:creationId xmlns:a16="http://schemas.microsoft.com/office/drawing/2014/main" id="{804E6A72-FFC0-41BD-81C1-3F6D977B53CE}"/>
                </a:ext>
              </a:extLst>
            </p:cNvPr>
            <p:cNvSpPr/>
            <p:nvPr/>
          </p:nvSpPr>
          <p:spPr bwMode="ltGray">
            <a:xfrm>
              <a:off x="2861765" y="2338505"/>
              <a:ext cx="316120" cy="69502"/>
            </a:xfrm>
            <a:custGeom>
              <a:avLst/>
              <a:gdLst>
                <a:gd name="connsiteX0" fmla="*/ 7006 w 316120"/>
                <a:gd name="connsiteY0" fmla="*/ 64186 h 69501"/>
                <a:gd name="connsiteX1" fmla="*/ 7006 w 316120"/>
                <a:gd name="connsiteY1" fmla="*/ 56610 h 69501"/>
                <a:gd name="connsiteX2" fmla="*/ 14591 w 316120"/>
                <a:gd name="connsiteY2" fmla="*/ 56610 h 69501"/>
                <a:gd name="connsiteX3" fmla="*/ 7006 w 316120"/>
                <a:gd name="connsiteY3" fmla="*/ 64186 h 69501"/>
                <a:gd name="connsiteX4" fmla="*/ 275727 w 316120"/>
                <a:gd name="connsiteY4" fmla="*/ 41430 h 69501"/>
                <a:gd name="connsiteX5" fmla="*/ 263751 w 316120"/>
                <a:gd name="connsiteY5" fmla="*/ 41430 h 69501"/>
                <a:gd name="connsiteX6" fmla="*/ 298184 w 316120"/>
                <a:gd name="connsiteY6" fmla="*/ 7006 h 69501"/>
                <a:gd name="connsiteX7" fmla="*/ 310151 w 316120"/>
                <a:gd name="connsiteY7" fmla="*/ 7006 h 69501"/>
                <a:gd name="connsiteX8" fmla="*/ 275727 w 316120"/>
                <a:gd name="connsiteY8" fmla="*/ 4143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120" h="69501">
                  <a:moveTo>
                    <a:pt x="7006" y="64186"/>
                  </a:moveTo>
                  <a:lnTo>
                    <a:pt x="7006" y="56610"/>
                  </a:lnTo>
                  <a:lnTo>
                    <a:pt x="14591" y="56610"/>
                  </a:lnTo>
                  <a:lnTo>
                    <a:pt x="7006" y="64186"/>
                  </a:lnTo>
                  <a:close/>
                  <a:moveTo>
                    <a:pt x="275727" y="41430"/>
                  </a:moveTo>
                  <a:lnTo>
                    <a:pt x="263751" y="41430"/>
                  </a:lnTo>
                  <a:lnTo>
                    <a:pt x="298184" y="7006"/>
                  </a:lnTo>
                  <a:lnTo>
                    <a:pt x="310151" y="7006"/>
                  </a:lnTo>
                  <a:lnTo>
                    <a:pt x="27572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5" name="Freeform: Shape 13484">
              <a:extLst>
                <a:ext uri="{FF2B5EF4-FFF2-40B4-BE49-F238E27FC236}">
                  <a16:creationId xmlns:a16="http://schemas.microsoft.com/office/drawing/2014/main" id="{ABB9B4A0-48C8-47AF-810E-A597BC7DA25C}"/>
                </a:ext>
              </a:extLst>
            </p:cNvPr>
            <p:cNvSpPr/>
            <p:nvPr/>
          </p:nvSpPr>
          <p:spPr bwMode="ltGray">
            <a:xfrm>
              <a:off x="-2860" y="2510643"/>
              <a:ext cx="742097" cy="47082"/>
            </a:xfrm>
            <a:custGeom>
              <a:avLst/>
              <a:gdLst>
                <a:gd name="connsiteX0" fmla="*/ 701023 w 742097"/>
                <a:gd name="connsiteY0" fmla="*/ 41439 h 47081"/>
                <a:gd name="connsiteX1" fmla="*/ 7006 w 742097"/>
                <a:gd name="connsiteY1" fmla="*/ 41439 h 47081"/>
                <a:gd name="connsiteX2" fmla="*/ 7006 w 742097"/>
                <a:gd name="connsiteY2" fmla="*/ 7006 h 47081"/>
                <a:gd name="connsiteX3" fmla="*/ 735456 w 742097"/>
                <a:gd name="connsiteY3" fmla="*/ 7006 h 47081"/>
                <a:gd name="connsiteX4" fmla="*/ 701023 w 742097"/>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097" h="47081">
                  <a:moveTo>
                    <a:pt x="701023" y="41439"/>
                  </a:moveTo>
                  <a:lnTo>
                    <a:pt x="7006" y="41439"/>
                  </a:lnTo>
                  <a:lnTo>
                    <a:pt x="7006" y="7006"/>
                  </a:lnTo>
                  <a:lnTo>
                    <a:pt x="735456" y="7006"/>
                  </a:lnTo>
                  <a:lnTo>
                    <a:pt x="701023"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6" name="Freeform: Shape 13485">
              <a:extLst>
                <a:ext uri="{FF2B5EF4-FFF2-40B4-BE49-F238E27FC236}">
                  <a16:creationId xmlns:a16="http://schemas.microsoft.com/office/drawing/2014/main" id="{62B699C2-003D-465B-BD7B-42A55EC75F48}"/>
                </a:ext>
              </a:extLst>
            </p:cNvPr>
            <p:cNvSpPr/>
            <p:nvPr/>
          </p:nvSpPr>
          <p:spPr bwMode="ltGray">
            <a:xfrm>
              <a:off x="691157" y="2510643"/>
              <a:ext cx="56050" cy="47082"/>
            </a:xfrm>
            <a:custGeom>
              <a:avLst/>
              <a:gdLst>
                <a:gd name="connsiteX0" fmla="*/ 14975 w 56049"/>
                <a:gd name="connsiteY0" fmla="*/ 41439 h 47081"/>
                <a:gd name="connsiteX1" fmla="*/ 7006 w 56049"/>
                <a:gd name="connsiteY1" fmla="*/ 41439 h 47081"/>
                <a:gd name="connsiteX2" fmla="*/ 41439 w 56049"/>
                <a:gd name="connsiteY2" fmla="*/ 7006 h 47081"/>
                <a:gd name="connsiteX3" fmla="*/ 49398 w 56049"/>
                <a:gd name="connsiteY3" fmla="*/ 7006 h 47081"/>
                <a:gd name="connsiteX4" fmla="*/ 1497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975" y="41439"/>
                  </a:moveTo>
                  <a:lnTo>
                    <a:pt x="7006" y="41439"/>
                  </a:lnTo>
                  <a:lnTo>
                    <a:pt x="41439" y="7006"/>
                  </a:lnTo>
                  <a:lnTo>
                    <a:pt x="49398" y="7006"/>
                  </a:lnTo>
                  <a:lnTo>
                    <a:pt x="1497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7" name="Freeform: Shape 13486">
              <a:extLst>
                <a:ext uri="{FF2B5EF4-FFF2-40B4-BE49-F238E27FC236}">
                  <a16:creationId xmlns:a16="http://schemas.microsoft.com/office/drawing/2014/main" id="{3B431A08-E426-43B7-8BEB-CEBBA987266F}"/>
                </a:ext>
              </a:extLst>
            </p:cNvPr>
            <p:cNvSpPr/>
            <p:nvPr/>
          </p:nvSpPr>
          <p:spPr bwMode="ltGray">
            <a:xfrm>
              <a:off x="3646751" y="2338505"/>
              <a:ext cx="605336" cy="47082"/>
            </a:xfrm>
            <a:custGeom>
              <a:avLst/>
              <a:gdLst>
                <a:gd name="connsiteX0" fmla="*/ 599134 w 605336"/>
                <a:gd name="connsiteY0" fmla="*/ 41430 h 47081"/>
                <a:gd name="connsiteX1" fmla="*/ 7006 w 605336"/>
                <a:gd name="connsiteY1" fmla="*/ 41430 h 47081"/>
                <a:gd name="connsiteX2" fmla="*/ 41439 w 605336"/>
                <a:gd name="connsiteY2" fmla="*/ 7006 h 47081"/>
                <a:gd name="connsiteX3" fmla="*/ 599134 w 605336"/>
                <a:gd name="connsiteY3" fmla="*/ 7006 h 47081"/>
                <a:gd name="connsiteX4" fmla="*/ 599134 w 605336"/>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6" h="47081">
                  <a:moveTo>
                    <a:pt x="599134" y="41430"/>
                  </a:moveTo>
                  <a:lnTo>
                    <a:pt x="7006" y="41430"/>
                  </a:lnTo>
                  <a:lnTo>
                    <a:pt x="41439" y="7006"/>
                  </a:lnTo>
                  <a:lnTo>
                    <a:pt x="599134" y="7006"/>
                  </a:lnTo>
                  <a:lnTo>
                    <a:pt x="599134"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8" name="Freeform: Shape 13487">
              <a:extLst>
                <a:ext uri="{FF2B5EF4-FFF2-40B4-BE49-F238E27FC236}">
                  <a16:creationId xmlns:a16="http://schemas.microsoft.com/office/drawing/2014/main" id="{D5620784-6634-422B-92FB-0A111D25F534}"/>
                </a:ext>
              </a:extLst>
            </p:cNvPr>
            <p:cNvSpPr/>
            <p:nvPr/>
          </p:nvSpPr>
          <p:spPr bwMode="ltGray">
            <a:xfrm>
              <a:off x="7740369" y="4000313"/>
              <a:ext cx="1320530" cy="47082"/>
            </a:xfrm>
            <a:custGeom>
              <a:avLst/>
              <a:gdLst>
                <a:gd name="connsiteX0" fmla="*/ 7006 w 1320529"/>
                <a:gd name="connsiteY0" fmla="*/ 7006 h 47081"/>
                <a:gd name="connsiteX1" fmla="*/ 1314449 w 1320529"/>
                <a:gd name="connsiteY1" fmla="*/ 7006 h 47081"/>
                <a:gd name="connsiteX2" fmla="*/ 1314449 w 1320529"/>
                <a:gd name="connsiteY2" fmla="*/ 41430 h 47081"/>
                <a:gd name="connsiteX3" fmla="*/ 7006 w 1320529"/>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320529" h="47081">
                  <a:moveTo>
                    <a:pt x="7006" y="7006"/>
                  </a:moveTo>
                  <a:lnTo>
                    <a:pt x="1314449" y="7006"/>
                  </a:lnTo>
                  <a:lnTo>
                    <a:pt x="1314449"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9" name="Freeform: Shape 13488">
              <a:extLst>
                <a:ext uri="{FF2B5EF4-FFF2-40B4-BE49-F238E27FC236}">
                  <a16:creationId xmlns:a16="http://schemas.microsoft.com/office/drawing/2014/main" id="{8AA149CD-2723-4FE5-A0E8-4A82DD5CE056}"/>
                </a:ext>
              </a:extLst>
            </p:cNvPr>
            <p:cNvSpPr/>
            <p:nvPr/>
          </p:nvSpPr>
          <p:spPr bwMode="ltGray">
            <a:xfrm>
              <a:off x="2854096" y="3332705"/>
              <a:ext cx="930424" cy="495479"/>
            </a:xfrm>
            <a:custGeom>
              <a:avLst/>
              <a:gdLst>
                <a:gd name="connsiteX0" fmla="*/ 414263 w 930424"/>
                <a:gd name="connsiteY0" fmla="*/ 490379 h 495478"/>
                <a:gd name="connsiteX1" fmla="*/ 354552 w 930424"/>
                <a:gd name="connsiteY1" fmla="*/ 490379 h 495478"/>
                <a:gd name="connsiteX2" fmla="*/ 364323 w 930424"/>
                <a:gd name="connsiteY2" fmla="*/ 478907 h 495478"/>
                <a:gd name="connsiteX3" fmla="*/ 418710 w 930424"/>
                <a:gd name="connsiteY3" fmla="*/ 478907 h 495478"/>
                <a:gd name="connsiteX4" fmla="*/ 414263 w 930424"/>
                <a:gd name="connsiteY4" fmla="*/ 490379 h 495478"/>
                <a:gd name="connsiteX5" fmla="*/ 269459 w 930424"/>
                <a:gd name="connsiteY5" fmla="*/ 490379 h 495478"/>
                <a:gd name="connsiteX6" fmla="*/ 209747 w 930424"/>
                <a:gd name="connsiteY6" fmla="*/ 490379 h 495478"/>
                <a:gd name="connsiteX7" fmla="*/ 205301 w 930424"/>
                <a:gd name="connsiteY7" fmla="*/ 478907 h 495478"/>
                <a:gd name="connsiteX8" fmla="*/ 259688 w 930424"/>
                <a:gd name="connsiteY8" fmla="*/ 478907 h 495478"/>
                <a:gd name="connsiteX9" fmla="*/ 269459 w 930424"/>
                <a:gd name="connsiteY9" fmla="*/ 490379 h 495478"/>
                <a:gd name="connsiteX10" fmla="*/ 467903 w 930424"/>
                <a:gd name="connsiteY10" fmla="*/ 464484 h 495478"/>
                <a:gd name="connsiteX11" fmla="*/ 469164 w 930424"/>
                <a:gd name="connsiteY11" fmla="*/ 446987 h 495478"/>
                <a:gd name="connsiteX12" fmla="*/ 602049 w 930424"/>
                <a:gd name="connsiteY12" fmla="*/ 314102 h 495478"/>
                <a:gd name="connsiteX13" fmla="*/ 642628 w 930424"/>
                <a:gd name="connsiteY13" fmla="*/ 273532 h 495478"/>
                <a:gd name="connsiteX14" fmla="*/ 841082 w 930424"/>
                <a:gd name="connsiteY14" fmla="*/ 75069 h 495478"/>
                <a:gd name="connsiteX15" fmla="*/ 857308 w 930424"/>
                <a:gd name="connsiteY15" fmla="*/ 58843 h 495478"/>
                <a:gd name="connsiteX16" fmla="*/ 909145 w 930424"/>
                <a:gd name="connsiteY16" fmla="*/ 7006 h 495478"/>
                <a:gd name="connsiteX17" fmla="*/ 925371 w 930424"/>
                <a:gd name="connsiteY17" fmla="*/ 7006 h 495478"/>
                <a:gd name="connsiteX18" fmla="*/ 865426 w 930424"/>
                <a:gd name="connsiteY18" fmla="*/ 66961 h 495478"/>
                <a:gd name="connsiteX19" fmla="*/ 849200 w 930424"/>
                <a:gd name="connsiteY19" fmla="*/ 83187 h 495478"/>
                <a:gd name="connsiteX20" fmla="*/ 650737 w 930424"/>
                <a:gd name="connsiteY20" fmla="*/ 281640 h 495478"/>
                <a:gd name="connsiteX21" fmla="*/ 610167 w 930424"/>
                <a:gd name="connsiteY21" fmla="*/ 322220 h 495478"/>
                <a:gd name="connsiteX22" fmla="*/ 467903 w 930424"/>
                <a:gd name="connsiteY22" fmla="*/ 464484 h 495478"/>
                <a:gd name="connsiteX23" fmla="*/ 155006 w 930424"/>
                <a:gd name="connsiteY23" fmla="*/ 452003 h 495478"/>
                <a:gd name="connsiteX24" fmla="*/ 7006 w 930424"/>
                <a:gd name="connsiteY24" fmla="*/ 304004 h 495478"/>
                <a:gd name="connsiteX25" fmla="*/ 23233 w 930424"/>
                <a:gd name="connsiteY25" fmla="*/ 304004 h 495478"/>
                <a:gd name="connsiteX26" fmla="*/ 155043 w 930424"/>
                <a:gd name="connsiteY26" fmla="*/ 435824 h 495478"/>
                <a:gd name="connsiteX27" fmla="*/ 154819 w 930424"/>
                <a:gd name="connsiteY27" fmla="*/ 444306 h 495478"/>
                <a:gd name="connsiteX28" fmla="*/ 155006 w 930424"/>
                <a:gd name="connsiteY28" fmla="*/ 452003 h 49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30424" h="495478">
                  <a:moveTo>
                    <a:pt x="414263" y="490379"/>
                  </a:moveTo>
                  <a:lnTo>
                    <a:pt x="354552" y="490379"/>
                  </a:lnTo>
                  <a:cubicBezTo>
                    <a:pt x="358242" y="486969"/>
                    <a:pt x="361530" y="483111"/>
                    <a:pt x="364323" y="478907"/>
                  </a:cubicBezTo>
                  <a:lnTo>
                    <a:pt x="418710" y="478907"/>
                  </a:lnTo>
                  <a:cubicBezTo>
                    <a:pt x="417440" y="482831"/>
                    <a:pt x="415954" y="486661"/>
                    <a:pt x="414263" y="490379"/>
                  </a:cubicBezTo>
                  <a:close/>
                  <a:moveTo>
                    <a:pt x="269459" y="490379"/>
                  </a:moveTo>
                  <a:lnTo>
                    <a:pt x="209747" y="490379"/>
                  </a:lnTo>
                  <a:cubicBezTo>
                    <a:pt x="208066" y="486661"/>
                    <a:pt x="206581" y="482831"/>
                    <a:pt x="205301" y="478907"/>
                  </a:cubicBezTo>
                  <a:lnTo>
                    <a:pt x="259688" y="478907"/>
                  </a:lnTo>
                  <a:cubicBezTo>
                    <a:pt x="262481" y="483111"/>
                    <a:pt x="265769" y="486969"/>
                    <a:pt x="269459" y="490379"/>
                  </a:cubicBezTo>
                  <a:close/>
                  <a:moveTo>
                    <a:pt x="467903" y="464484"/>
                  </a:moveTo>
                  <a:cubicBezTo>
                    <a:pt x="468641" y="458739"/>
                    <a:pt x="469071" y="452900"/>
                    <a:pt x="469164" y="446987"/>
                  </a:cubicBezTo>
                  <a:lnTo>
                    <a:pt x="602049" y="314102"/>
                  </a:lnTo>
                  <a:lnTo>
                    <a:pt x="642628" y="273532"/>
                  </a:lnTo>
                  <a:lnTo>
                    <a:pt x="841082" y="75069"/>
                  </a:lnTo>
                  <a:lnTo>
                    <a:pt x="857308" y="58843"/>
                  </a:lnTo>
                  <a:lnTo>
                    <a:pt x="909145" y="7006"/>
                  </a:lnTo>
                  <a:lnTo>
                    <a:pt x="925371" y="7006"/>
                  </a:lnTo>
                  <a:lnTo>
                    <a:pt x="865426" y="66961"/>
                  </a:lnTo>
                  <a:lnTo>
                    <a:pt x="849200" y="83187"/>
                  </a:lnTo>
                  <a:lnTo>
                    <a:pt x="650737" y="281640"/>
                  </a:lnTo>
                  <a:lnTo>
                    <a:pt x="610167" y="322220"/>
                  </a:lnTo>
                  <a:lnTo>
                    <a:pt x="467903" y="464484"/>
                  </a:lnTo>
                  <a:close/>
                  <a:moveTo>
                    <a:pt x="155006" y="452003"/>
                  </a:moveTo>
                  <a:lnTo>
                    <a:pt x="7006" y="304004"/>
                  </a:lnTo>
                  <a:lnTo>
                    <a:pt x="23233" y="304004"/>
                  </a:lnTo>
                  <a:lnTo>
                    <a:pt x="155043" y="435824"/>
                  </a:lnTo>
                  <a:cubicBezTo>
                    <a:pt x="154893" y="438626"/>
                    <a:pt x="154819" y="441457"/>
                    <a:pt x="154819" y="444306"/>
                  </a:cubicBezTo>
                  <a:cubicBezTo>
                    <a:pt x="154819" y="446884"/>
                    <a:pt x="154884" y="449453"/>
                    <a:pt x="155006" y="45200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0" name="Freeform: Shape 13489">
              <a:extLst>
                <a:ext uri="{FF2B5EF4-FFF2-40B4-BE49-F238E27FC236}">
                  <a16:creationId xmlns:a16="http://schemas.microsoft.com/office/drawing/2014/main" id="{FAB10177-D1C1-4B98-9887-2B3188A8F9B8}"/>
                </a:ext>
              </a:extLst>
            </p:cNvPr>
            <p:cNvSpPr/>
            <p:nvPr/>
          </p:nvSpPr>
          <p:spPr bwMode="ltGray">
            <a:xfrm>
              <a:off x="3106777" y="3804606"/>
              <a:ext cx="116583" cy="24662"/>
            </a:xfrm>
            <a:custGeom>
              <a:avLst/>
              <a:gdLst>
                <a:gd name="connsiteX0" fmla="*/ 101870 w 116583"/>
                <a:gd name="connsiteY0" fmla="*/ 18478 h 24661"/>
                <a:gd name="connsiteX1" fmla="*/ 16777 w 116583"/>
                <a:gd name="connsiteY1" fmla="*/ 18478 h 24661"/>
                <a:gd name="connsiteX2" fmla="*/ 7006 w 116583"/>
                <a:gd name="connsiteY2" fmla="*/ 7006 h 24661"/>
                <a:gd name="connsiteX3" fmla="*/ 111642 w 116583"/>
                <a:gd name="connsiteY3" fmla="*/ 7006 h 24661"/>
                <a:gd name="connsiteX4" fmla="*/ 101870 w 116583"/>
                <a:gd name="connsiteY4" fmla="*/ 18478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3" h="24661">
                  <a:moveTo>
                    <a:pt x="101870" y="18478"/>
                  </a:moveTo>
                  <a:lnTo>
                    <a:pt x="16777" y="18478"/>
                  </a:lnTo>
                  <a:cubicBezTo>
                    <a:pt x="13088" y="15068"/>
                    <a:pt x="9799" y="11210"/>
                    <a:pt x="7006" y="7006"/>
                  </a:cubicBezTo>
                  <a:lnTo>
                    <a:pt x="111642" y="7006"/>
                  </a:lnTo>
                  <a:cubicBezTo>
                    <a:pt x="108849" y="11210"/>
                    <a:pt x="105560" y="15068"/>
                    <a:pt x="101870" y="18478"/>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1" name="Freeform: Shape 13490">
              <a:extLst>
                <a:ext uri="{FF2B5EF4-FFF2-40B4-BE49-F238E27FC236}">
                  <a16:creationId xmlns:a16="http://schemas.microsoft.com/office/drawing/2014/main" id="{D311B630-8F72-4550-B05D-F926FAC3738C}"/>
                </a:ext>
              </a:extLst>
            </p:cNvPr>
            <p:cNvSpPr/>
            <p:nvPr/>
          </p:nvSpPr>
          <p:spPr bwMode="ltGray">
            <a:xfrm>
              <a:off x="3001908" y="3761523"/>
              <a:ext cx="327330" cy="67260"/>
            </a:xfrm>
            <a:custGeom>
              <a:avLst/>
              <a:gdLst>
                <a:gd name="connsiteX0" fmla="*/ 294186 w 327329"/>
                <a:gd name="connsiteY0" fmla="*/ 61561 h 67259"/>
                <a:gd name="connsiteX1" fmla="*/ 266451 w 327329"/>
                <a:gd name="connsiteY1" fmla="*/ 61561 h 67259"/>
                <a:gd name="connsiteX2" fmla="*/ 270898 w 327329"/>
                <a:gd name="connsiteY2" fmla="*/ 50090 h 67259"/>
                <a:gd name="connsiteX3" fmla="*/ 289441 w 327329"/>
                <a:gd name="connsiteY3" fmla="*/ 50090 h 67259"/>
                <a:gd name="connsiteX4" fmla="*/ 321352 w 327329"/>
                <a:gd name="connsiteY4" fmla="*/ 18170 h 67259"/>
                <a:gd name="connsiteX5" fmla="*/ 320091 w 327329"/>
                <a:gd name="connsiteY5" fmla="*/ 35666 h 67259"/>
                <a:gd name="connsiteX6" fmla="*/ 294186 w 327329"/>
                <a:gd name="connsiteY6" fmla="*/ 61561 h 67259"/>
                <a:gd name="connsiteX7" fmla="*/ 61935 w 327329"/>
                <a:gd name="connsiteY7" fmla="*/ 61561 h 67259"/>
                <a:gd name="connsiteX8" fmla="*/ 45569 w 327329"/>
                <a:gd name="connsiteY8" fmla="*/ 61561 h 67259"/>
                <a:gd name="connsiteX9" fmla="*/ 7193 w 327329"/>
                <a:gd name="connsiteY9" fmla="*/ 23186 h 67259"/>
                <a:gd name="connsiteX10" fmla="*/ 7006 w 327329"/>
                <a:gd name="connsiteY10" fmla="*/ 15488 h 67259"/>
                <a:gd name="connsiteX11" fmla="*/ 7231 w 327329"/>
                <a:gd name="connsiteY11" fmla="*/ 7006 h 67259"/>
                <a:gd name="connsiteX12" fmla="*/ 50314 w 327329"/>
                <a:gd name="connsiteY12" fmla="*/ 50090 h 67259"/>
                <a:gd name="connsiteX13" fmla="*/ 57489 w 327329"/>
                <a:gd name="connsiteY13" fmla="*/ 50090 h 67259"/>
                <a:gd name="connsiteX14" fmla="*/ 61935 w 327329"/>
                <a:gd name="connsiteY14" fmla="*/ 61561 h 6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7329" h="67259">
                  <a:moveTo>
                    <a:pt x="294186" y="61561"/>
                  </a:moveTo>
                  <a:lnTo>
                    <a:pt x="266451" y="61561"/>
                  </a:lnTo>
                  <a:cubicBezTo>
                    <a:pt x="268142" y="57843"/>
                    <a:pt x="269627" y="54013"/>
                    <a:pt x="270898" y="50090"/>
                  </a:cubicBezTo>
                  <a:lnTo>
                    <a:pt x="289441" y="50090"/>
                  </a:lnTo>
                  <a:lnTo>
                    <a:pt x="321352" y="18170"/>
                  </a:lnTo>
                  <a:cubicBezTo>
                    <a:pt x="321258" y="24083"/>
                    <a:pt x="320828" y="29921"/>
                    <a:pt x="320091" y="35666"/>
                  </a:cubicBezTo>
                  <a:lnTo>
                    <a:pt x="294186" y="61561"/>
                  </a:lnTo>
                  <a:close/>
                  <a:moveTo>
                    <a:pt x="61935" y="61561"/>
                  </a:moveTo>
                  <a:lnTo>
                    <a:pt x="45569" y="61561"/>
                  </a:lnTo>
                  <a:lnTo>
                    <a:pt x="7193" y="23186"/>
                  </a:lnTo>
                  <a:cubicBezTo>
                    <a:pt x="7072" y="20636"/>
                    <a:pt x="7006" y="18067"/>
                    <a:pt x="7006" y="15488"/>
                  </a:cubicBezTo>
                  <a:cubicBezTo>
                    <a:pt x="7006" y="12639"/>
                    <a:pt x="7081" y="9809"/>
                    <a:pt x="7231" y="7006"/>
                  </a:cubicBezTo>
                  <a:lnTo>
                    <a:pt x="50314" y="50090"/>
                  </a:lnTo>
                  <a:lnTo>
                    <a:pt x="57489" y="50090"/>
                  </a:lnTo>
                  <a:cubicBezTo>
                    <a:pt x="58768" y="54013"/>
                    <a:pt x="60254" y="57843"/>
                    <a:pt x="61935" y="6156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2" name="Freeform: Shape 13491">
              <a:extLst>
                <a:ext uri="{FF2B5EF4-FFF2-40B4-BE49-F238E27FC236}">
                  <a16:creationId xmlns:a16="http://schemas.microsoft.com/office/drawing/2014/main" id="{A4329765-5B33-4057-89BE-526398E98B26}"/>
                </a:ext>
              </a:extLst>
            </p:cNvPr>
            <p:cNvSpPr/>
            <p:nvPr/>
          </p:nvSpPr>
          <p:spPr bwMode="ltGray">
            <a:xfrm>
              <a:off x="2177342" y="3459359"/>
              <a:ext cx="688290" cy="165907"/>
            </a:xfrm>
            <a:custGeom>
              <a:avLst/>
              <a:gdLst>
                <a:gd name="connsiteX0" fmla="*/ 683106 w 688289"/>
                <a:gd name="connsiteY0" fmla="*/ 160470 h 165906"/>
                <a:gd name="connsiteX1" fmla="*/ 666879 w 688289"/>
                <a:gd name="connsiteY1" fmla="*/ 160470 h 165906"/>
                <a:gd name="connsiteX2" fmla="*/ 597163 w 688289"/>
                <a:gd name="connsiteY2" fmla="*/ 90745 h 165906"/>
                <a:gd name="connsiteX3" fmla="*/ 613389 w 688289"/>
                <a:gd name="connsiteY3" fmla="*/ 90745 h 165906"/>
                <a:gd name="connsiteX4" fmla="*/ 683106 w 688289"/>
                <a:gd name="connsiteY4" fmla="*/ 160470 h 165906"/>
                <a:gd name="connsiteX5" fmla="*/ 602133 w 688289"/>
                <a:gd name="connsiteY5" fmla="*/ 79488 h 165906"/>
                <a:gd name="connsiteX6" fmla="*/ 585906 w 688289"/>
                <a:gd name="connsiteY6" fmla="*/ 79488 h 165906"/>
                <a:gd name="connsiteX7" fmla="*/ 524887 w 688289"/>
                <a:gd name="connsiteY7" fmla="*/ 18478 h 165906"/>
                <a:gd name="connsiteX8" fmla="*/ 440401 w 688289"/>
                <a:gd name="connsiteY8" fmla="*/ 18478 h 165906"/>
                <a:gd name="connsiteX9" fmla="*/ 391713 w 688289"/>
                <a:gd name="connsiteY9" fmla="*/ 18478 h 165906"/>
                <a:gd name="connsiteX10" fmla="*/ 7006 w 688289"/>
                <a:gd name="connsiteY10" fmla="*/ 18478 h 165906"/>
                <a:gd name="connsiteX11" fmla="*/ 7006 w 688289"/>
                <a:gd name="connsiteY11" fmla="*/ 7006 h 165906"/>
                <a:gd name="connsiteX12" fmla="*/ 529642 w 688289"/>
                <a:gd name="connsiteY12" fmla="*/ 7006 h 165906"/>
                <a:gd name="connsiteX13" fmla="*/ 602133 w 688289"/>
                <a:gd name="connsiteY13" fmla="*/ 79488 h 16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8289" h="165906">
                  <a:moveTo>
                    <a:pt x="683106" y="160470"/>
                  </a:moveTo>
                  <a:lnTo>
                    <a:pt x="666879" y="160470"/>
                  </a:lnTo>
                  <a:lnTo>
                    <a:pt x="597163" y="90745"/>
                  </a:lnTo>
                  <a:lnTo>
                    <a:pt x="613389" y="90745"/>
                  </a:lnTo>
                  <a:lnTo>
                    <a:pt x="683106" y="160470"/>
                  </a:lnTo>
                  <a:close/>
                  <a:moveTo>
                    <a:pt x="602133" y="79488"/>
                  </a:moveTo>
                  <a:lnTo>
                    <a:pt x="585906" y="79488"/>
                  </a:lnTo>
                  <a:lnTo>
                    <a:pt x="524887" y="18478"/>
                  </a:lnTo>
                  <a:lnTo>
                    <a:pt x="440401" y="18478"/>
                  </a:lnTo>
                  <a:lnTo>
                    <a:pt x="391713" y="18478"/>
                  </a:lnTo>
                  <a:lnTo>
                    <a:pt x="7006" y="18478"/>
                  </a:lnTo>
                  <a:lnTo>
                    <a:pt x="7006" y="7006"/>
                  </a:lnTo>
                  <a:lnTo>
                    <a:pt x="529642" y="7006"/>
                  </a:lnTo>
                  <a:lnTo>
                    <a:pt x="602133" y="7948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3" name="Freeform: Shape 13492">
              <a:extLst>
                <a:ext uri="{FF2B5EF4-FFF2-40B4-BE49-F238E27FC236}">
                  <a16:creationId xmlns:a16="http://schemas.microsoft.com/office/drawing/2014/main" id="{8B6917BC-EBF9-4D55-AB46-9BC677A8B9D8}"/>
                </a:ext>
              </a:extLst>
            </p:cNvPr>
            <p:cNvSpPr/>
            <p:nvPr/>
          </p:nvSpPr>
          <p:spPr bwMode="ltGray">
            <a:xfrm>
              <a:off x="2756242" y="3531840"/>
              <a:ext cx="40356" cy="24662"/>
            </a:xfrm>
            <a:custGeom>
              <a:avLst/>
              <a:gdLst>
                <a:gd name="connsiteX0" fmla="*/ 34489 w 40355"/>
                <a:gd name="connsiteY0" fmla="*/ 18263 h 24661"/>
                <a:gd name="connsiteX1" fmla="*/ 18263 w 40355"/>
                <a:gd name="connsiteY1" fmla="*/ 18263 h 24661"/>
                <a:gd name="connsiteX2" fmla="*/ 7006 w 40355"/>
                <a:gd name="connsiteY2" fmla="*/ 7006 h 24661"/>
                <a:gd name="connsiteX3" fmla="*/ 23233 w 40355"/>
                <a:gd name="connsiteY3" fmla="*/ 7006 h 24661"/>
                <a:gd name="connsiteX4" fmla="*/ 34489 w 40355"/>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24661">
                  <a:moveTo>
                    <a:pt x="34489" y="18263"/>
                  </a:moveTo>
                  <a:lnTo>
                    <a:pt x="18263" y="18263"/>
                  </a:lnTo>
                  <a:lnTo>
                    <a:pt x="7006" y="7006"/>
                  </a:lnTo>
                  <a:lnTo>
                    <a:pt x="23233" y="7006"/>
                  </a:lnTo>
                  <a:lnTo>
                    <a:pt x="34489"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4" name="Freeform: Shape 13493">
              <a:extLst>
                <a:ext uri="{FF2B5EF4-FFF2-40B4-BE49-F238E27FC236}">
                  <a16:creationId xmlns:a16="http://schemas.microsoft.com/office/drawing/2014/main" id="{5964A6E6-12D8-4BD0-9FDB-15A1EC4EC549}"/>
                </a:ext>
              </a:extLst>
            </p:cNvPr>
            <p:cNvSpPr/>
            <p:nvPr/>
          </p:nvSpPr>
          <p:spPr bwMode="ltGray">
            <a:xfrm>
              <a:off x="2837215" y="3612823"/>
              <a:ext cx="47082" cy="29146"/>
            </a:xfrm>
            <a:custGeom>
              <a:avLst/>
              <a:gdLst>
                <a:gd name="connsiteX0" fmla="*/ 40113 w 47081"/>
                <a:gd name="connsiteY0" fmla="*/ 23887 h 29145"/>
                <a:gd name="connsiteX1" fmla="*/ 23887 w 47081"/>
                <a:gd name="connsiteY1" fmla="*/ 23887 h 29145"/>
                <a:gd name="connsiteX2" fmla="*/ 7006 w 47081"/>
                <a:gd name="connsiteY2" fmla="*/ 7006 h 29145"/>
                <a:gd name="connsiteX3" fmla="*/ 23233 w 47081"/>
                <a:gd name="connsiteY3" fmla="*/ 7006 h 29145"/>
                <a:gd name="connsiteX4" fmla="*/ 40113 w 47081"/>
                <a:gd name="connsiteY4" fmla="*/ 23887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40113" y="23887"/>
                  </a:moveTo>
                  <a:lnTo>
                    <a:pt x="23887" y="23887"/>
                  </a:lnTo>
                  <a:lnTo>
                    <a:pt x="7006" y="7006"/>
                  </a:lnTo>
                  <a:lnTo>
                    <a:pt x="23233" y="7006"/>
                  </a:lnTo>
                  <a:lnTo>
                    <a:pt x="40113"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5" name="Freeform: Shape 13494">
              <a:extLst>
                <a:ext uri="{FF2B5EF4-FFF2-40B4-BE49-F238E27FC236}">
                  <a16:creationId xmlns:a16="http://schemas.microsoft.com/office/drawing/2014/main" id="{8307C446-87C2-43A7-AA7F-881016A7667D}"/>
                </a:ext>
              </a:extLst>
            </p:cNvPr>
            <p:cNvSpPr/>
            <p:nvPr/>
          </p:nvSpPr>
          <p:spPr bwMode="ltGray">
            <a:xfrm>
              <a:off x="3756235" y="3319150"/>
              <a:ext cx="33630" cy="26904"/>
            </a:xfrm>
            <a:custGeom>
              <a:avLst/>
              <a:gdLst>
                <a:gd name="connsiteX0" fmla="*/ 23233 w 33629"/>
                <a:gd name="connsiteY0" fmla="*/ 20561 h 26903"/>
                <a:gd name="connsiteX1" fmla="*/ 7006 w 33629"/>
                <a:gd name="connsiteY1" fmla="*/ 20561 h 26903"/>
                <a:gd name="connsiteX2" fmla="*/ 20561 w 33629"/>
                <a:gd name="connsiteY2" fmla="*/ 7006 h 26903"/>
                <a:gd name="connsiteX3" fmla="*/ 28679 w 33629"/>
                <a:gd name="connsiteY3" fmla="*/ 15115 h 26903"/>
                <a:gd name="connsiteX4" fmla="*/ 23233 w 33629"/>
                <a:gd name="connsiteY4" fmla="*/ 20561 h 26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26903">
                  <a:moveTo>
                    <a:pt x="23233" y="20561"/>
                  </a:moveTo>
                  <a:lnTo>
                    <a:pt x="7006" y="20561"/>
                  </a:lnTo>
                  <a:lnTo>
                    <a:pt x="20561" y="7006"/>
                  </a:lnTo>
                  <a:lnTo>
                    <a:pt x="28679" y="15115"/>
                  </a:lnTo>
                  <a:lnTo>
                    <a:pt x="23233" y="2056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6" name="Freeform: Shape 13495">
              <a:extLst>
                <a:ext uri="{FF2B5EF4-FFF2-40B4-BE49-F238E27FC236}">
                  <a16:creationId xmlns:a16="http://schemas.microsoft.com/office/drawing/2014/main" id="{901AAD4A-D391-4B4B-84B7-10660CA80E4E}"/>
                </a:ext>
              </a:extLst>
            </p:cNvPr>
            <p:cNvSpPr/>
            <p:nvPr/>
          </p:nvSpPr>
          <p:spPr bwMode="ltGray">
            <a:xfrm>
              <a:off x="8569643" y="3116232"/>
              <a:ext cx="968538" cy="58292"/>
            </a:xfrm>
            <a:custGeom>
              <a:avLst/>
              <a:gdLst>
                <a:gd name="connsiteX0" fmla="*/ 7006 w 968538"/>
                <a:gd name="connsiteY0" fmla="*/ 7006 h 58291"/>
                <a:gd name="connsiteX1" fmla="*/ 963327 w 968538"/>
                <a:gd name="connsiteY1" fmla="*/ 7006 h 58291"/>
                <a:gd name="connsiteX2" fmla="*/ 963327 w 968538"/>
                <a:gd name="connsiteY2" fmla="*/ 52911 h 58291"/>
                <a:gd name="connsiteX3" fmla="*/ 7006 w 968538"/>
                <a:gd name="connsiteY3" fmla="*/ 52911 h 58291"/>
              </a:gdLst>
              <a:ahLst/>
              <a:cxnLst>
                <a:cxn ang="0">
                  <a:pos x="connsiteX0" y="connsiteY0"/>
                </a:cxn>
                <a:cxn ang="0">
                  <a:pos x="connsiteX1" y="connsiteY1"/>
                </a:cxn>
                <a:cxn ang="0">
                  <a:pos x="connsiteX2" y="connsiteY2"/>
                </a:cxn>
                <a:cxn ang="0">
                  <a:pos x="connsiteX3" y="connsiteY3"/>
                </a:cxn>
              </a:cxnLst>
              <a:rect l="l" t="t" r="r" b="b"/>
              <a:pathLst>
                <a:path w="968538" h="58291">
                  <a:moveTo>
                    <a:pt x="7006" y="7006"/>
                  </a:moveTo>
                  <a:lnTo>
                    <a:pt x="963327" y="7006"/>
                  </a:lnTo>
                  <a:lnTo>
                    <a:pt x="963327"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7" name="Freeform: Shape 13496">
              <a:extLst>
                <a:ext uri="{FF2B5EF4-FFF2-40B4-BE49-F238E27FC236}">
                  <a16:creationId xmlns:a16="http://schemas.microsoft.com/office/drawing/2014/main" id="{3F132652-5F5E-403D-A8F2-737B3F6C95D7}"/>
                </a:ext>
              </a:extLst>
            </p:cNvPr>
            <p:cNvSpPr/>
            <p:nvPr/>
          </p:nvSpPr>
          <p:spPr bwMode="ltGray">
            <a:xfrm>
              <a:off x="9384437" y="4000313"/>
              <a:ext cx="360960" cy="47082"/>
            </a:xfrm>
            <a:custGeom>
              <a:avLst/>
              <a:gdLst>
                <a:gd name="connsiteX0" fmla="*/ 354141 w 360959"/>
                <a:gd name="connsiteY0" fmla="*/ 41430 h 47081"/>
                <a:gd name="connsiteX1" fmla="*/ 7006 w 360959"/>
                <a:gd name="connsiteY1" fmla="*/ 41430 h 47081"/>
                <a:gd name="connsiteX2" fmla="*/ 7006 w 360959"/>
                <a:gd name="connsiteY2" fmla="*/ 24223 h 47081"/>
                <a:gd name="connsiteX3" fmla="*/ 7006 w 360959"/>
                <a:gd name="connsiteY3" fmla="*/ 7006 h 47081"/>
                <a:gd name="connsiteX4" fmla="*/ 354141 w 360959"/>
                <a:gd name="connsiteY4" fmla="*/ 7006 h 47081"/>
                <a:gd name="connsiteX5" fmla="*/ 354141 w 360959"/>
                <a:gd name="connsiteY5"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959" h="47081">
                  <a:moveTo>
                    <a:pt x="354141" y="41430"/>
                  </a:moveTo>
                  <a:lnTo>
                    <a:pt x="7006" y="41430"/>
                  </a:lnTo>
                  <a:lnTo>
                    <a:pt x="7006" y="24223"/>
                  </a:lnTo>
                  <a:lnTo>
                    <a:pt x="7006" y="7006"/>
                  </a:lnTo>
                  <a:lnTo>
                    <a:pt x="354141" y="7006"/>
                  </a:lnTo>
                  <a:lnTo>
                    <a:pt x="354141"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8" name="Freeform: Shape 13497">
              <a:extLst>
                <a:ext uri="{FF2B5EF4-FFF2-40B4-BE49-F238E27FC236}">
                  <a16:creationId xmlns:a16="http://schemas.microsoft.com/office/drawing/2014/main" id="{179C047B-12F3-4120-A009-7D1BBE145FE8}"/>
                </a:ext>
              </a:extLst>
            </p:cNvPr>
            <p:cNvSpPr/>
            <p:nvPr/>
          </p:nvSpPr>
          <p:spPr bwMode="ltGray">
            <a:xfrm>
              <a:off x="5673153" y="2590981"/>
              <a:ext cx="3661164" cy="354234"/>
            </a:xfrm>
            <a:custGeom>
              <a:avLst/>
              <a:gdLst>
                <a:gd name="connsiteX0" fmla="*/ 3656290 w 3661163"/>
                <a:gd name="connsiteY0" fmla="*/ 349386 h 354233"/>
                <a:gd name="connsiteX1" fmla="*/ 1322203 w 3661163"/>
                <a:gd name="connsiteY1" fmla="*/ 349386 h 354233"/>
                <a:gd name="connsiteX2" fmla="*/ 1165956 w 3661163"/>
                <a:gd name="connsiteY2" fmla="*/ 193147 h 354233"/>
                <a:gd name="connsiteX3" fmla="*/ 1214644 w 3661163"/>
                <a:gd name="connsiteY3" fmla="*/ 193147 h 354233"/>
                <a:gd name="connsiteX4" fmla="*/ 1336459 w 3661163"/>
                <a:gd name="connsiteY4" fmla="*/ 314953 h 354233"/>
                <a:gd name="connsiteX5" fmla="*/ 3656290 w 3661163"/>
                <a:gd name="connsiteY5" fmla="*/ 314953 h 354233"/>
                <a:gd name="connsiteX6" fmla="*/ 3656290 w 3661163"/>
                <a:gd name="connsiteY6" fmla="*/ 349386 h 354233"/>
                <a:gd name="connsiteX7" fmla="*/ 1191701 w 3661163"/>
                <a:gd name="connsiteY7" fmla="*/ 170195 h 354233"/>
                <a:gd name="connsiteX8" fmla="*/ 1143012 w 3661163"/>
                <a:gd name="connsiteY8" fmla="*/ 170195 h 354233"/>
                <a:gd name="connsiteX9" fmla="*/ 1014238 w 3661163"/>
                <a:gd name="connsiteY9" fmla="*/ 41439 h 354233"/>
                <a:gd name="connsiteX10" fmla="*/ 917104 w 3661163"/>
                <a:gd name="connsiteY10" fmla="*/ 41439 h 354233"/>
                <a:gd name="connsiteX11" fmla="*/ 882680 w 3661163"/>
                <a:gd name="connsiteY11" fmla="*/ 7006 h 354233"/>
                <a:gd name="connsiteX12" fmla="*/ 1028512 w 3661163"/>
                <a:gd name="connsiteY12" fmla="*/ 7006 h 354233"/>
                <a:gd name="connsiteX13" fmla="*/ 1191701 w 3661163"/>
                <a:gd name="connsiteY13" fmla="*/ 170195 h 354233"/>
                <a:gd name="connsiteX14" fmla="*/ 884651 w 3661163"/>
                <a:gd name="connsiteY14" fmla="*/ 41439 h 354233"/>
                <a:gd name="connsiteX15" fmla="*/ 810489 w 3661163"/>
                <a:gd name="connsiteY15" fmla="*/ 41439 h 354233"/>
                <a:gd name="connsiteX16" fmla="*/ 844921 w 3661163"/>
                <a:gd name="connsiteY16" fmla="*/ 7006 h 354233"/>
                <a:gd name="connsiteX17" fmla="*/ 850227 w 3661163"/>
                <a:gd name="connsiteY17" fmla="*/ 7006 h 354233"/>
                <a:gd name="connsiteX18" fmla="*/ 884651 w 3661163"/>
                <a:gd name="connsiteY18" fmla="*/ 41439 h 354233"/>
                <a:gd name="connsiteX19" fmla="*/ 794252 w 3661163"/>
                <a:gd name="connsiteY19" fmla="*/ 41439 h 354233"/>
                <a:gd name="connsiteX20" fmla="*/ 7006 w 3661163"/>
                <a:gd name="connsiteY20" fmla="*/ 41439 h 354233"/>
                <a:gd name="connsiteX21" fmla="*/ 7006 w 3661163"/>
                <a:gd name="connsiteY21" fmla="*/ 7006 h 354233"/>
                <a:gd name="connsiteX22" fmla="*/ 828686 w 3661163"/>
                <a:gd name="connsiteY22" fmla="*/ 7006 h 354233"/>
                <a:gd name="connsiteX23" fmla="*/ 794252 w 3661163"/>
                <a:gd name="connsiteY23" fmla="*/ 41439 h 35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61163" h="354233">
                  <a:moveTo>
                    <a:pt x="3656290" y="349386"/>
                  </a:moveTo>
                  <a:lnTo>
                    <a:pt x="1322203" y="349386"/>
                  </a:lnTo>
                  <a:lnTo>
                    <a:pt x="1165956" y="193147"/>
                  </a:lnTo>
                  <a:lnTo>
                    <a:pt x="1214644" y="193147"/>
                  </a:lnTo>
                  <a:lnTo>
                    <a:pt x="1336459" y="314953"/>
                  </a:lnTo>
                  <a:lnTo>
                    <a:pt x="3656290" y="314953"/>
                  </a:lnTo>
                  <a:lnTo>
                    <a:pt x="3656290" y="349386"/>
                  </a:lnTo>
                  <a:close/>
                  <a:moveTo>
                    <a:pt x="1191701" y="170195"/>
                  </a:moveTo>
                  <a:lnTo>
                    <a:pt x="1143012" y="170195"/>
                  </a:lnTo>
                  <a:lnTo>
                    <a:pt x="1014238" y="41439"/>
                  </a:lnTo>
                  <a:lnTo>
                    <a:pt x="917104" y="41439"/>
                  </a:lnTo>
                  <a:lnTo>
                    <a:pt x="882680" y="7006"/>
                  </a:lnTo>
                  <a:lnTo>
                    <a:pt x="1028512" y="7006"/>
                  </a:lnTo>
                  <a:lnTo>
                    <a:pt x="1191701" y="170195"/>
                  </a:lnTo>
                  <a:close/>
                  <a:moveTo>
                    <a:pt x="884651" y="41439"/>
                  </a:moveTo>
                  <a:lnTo>
                    <a:pt x="810489" y="41439"/>
                  </a:lnTo>
                  <a:lnTo>
                    <a:pt x="844921" y="7006"/>
                  </a:lnTo>
                  <a:lnTo>
                    <a:pt x="850227" y="7006"/>
                  </a:lnTo>
                  <a:lnTo>
                    <a:pt x="884651" y="41439"/>
                  </a:lnTo>
                  <a:close/>
                  <a:moveTo>
                    <a:pt x="794252" y="41439"/>
                  </a:moveTo>
                  <a:lnTo>
                    <a:pt x="7006" y="41439"/>
                  </a:lnTo>
                  <a:lnTo>
                    <a:pt x="7006" y="7006"/>
                  </a:lnTo>
                  <a:lnTo>
                    <a:pt x="828686" y="7006"/>
                  </a:lnTo>
                  <a:lnTo>
                    <a:pt x="794252"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9" name="Freeform: Shape 13498">
              <a:extLst>
                <a:ext uri="{FF2B5EF4-FFF2-40B4-BE49-F238E27FC236}">
                  <a16:creationId xmlns:a16="http://schemas.microsoft.com/office/drawing/2014/main" id="{6A11BF2A-6EB5-4A18-9CA6-73299EA71496}"/>
                </a:ext>
              </a:extLst>
            </p:cNvPr>
            <p:cNvSpPr/>
            <p:nvPr/>
          </p:nvSpPr>
          <p:spPr bwMode="ltGray">
            <a:xfrm>
              <a:off x="5436605" y="2270115"/>
              <a:ext cx="2246470" cy="511173"/>
            </a:xfrm>
            <a:custGeom>
              <a:avLst/>
              <a:gdLst>
                <a:gd name="connsiteX0" fmla="*/ 904539 w 2246470"/>
                <a:gd name="connsiteY0" fmla="*/ 504802 h 511172"/>
                <a:gd name="connsiteX1" fmla="*/ 7006 w 2246470"/>
                <a:gd name="connsiteY1" fmla="*/ 504802 h 511172"/>
                <a:gd name="connsiteX2" fmla="*/ 7006 w 2246470"/>
                <a:gd name="connsiteY2" fmla="*/ 493322 h 511172"/>
                <a:gd name="connsiteX3" fmla="*/ 899785 w 2246470"/>
                <a:gd name="connsiteY3" fmla="*/ 493322 h 511172"/>
                <a:gd name="connsiteX4" fmla="*/ 1030800 w 2246470"/>
                <a:gd name="connsiteY4" fmla="*/ 362305 h 511172"/>
                <a:gd name="connsiteX5" fmla="*/ 1065234 w 2246470"/>
                <a:gd name="connsiteY5" fmla="*/ 327872 h 511172"/>
                <a:gd name="connsiteX6" fmla="*/ 1076005 w 2246470"/>
                <a:gd name="connsiteY6" fmla="*/ 317101 h 511172"/>
                <a:gd name="connsiteX7" fmla="*/ 1084123 w 2246470"/>
                <a:gd name="connsiteY7" fmla="*/ 325219 h 511172"/>
                <a:gd name="connsiteX8" fmla="*/ 1081470 w 2246470"/>
                <a:gd name="connsiteY8" fmla="*/ 327872 h 511172"/>
                <a:gd name="connsiteX9" fmla="*/ 1047037 w 2246470"/>
                <a:gd name="connsiteY9" fmla="*/ 362305 h 511172"/>
                <a:gd name="connsiteX10" fmla="*/ 904539 w 2246470"/>
                <a:gd name="connsiteY10" fmla="*/ 504802 h 511172"/>
                <a:gd name="connsiteX11" fmla="*/ 1100349 w 2246470"/>
                <a:gd name="connsiteY11" fmla="*/ 308993 h 511172"/>
                <a:gd name="connsiteX12" fmla="*/ 1092231 w 2246470"/>
                <a:gd name="connsiteY12" fmla="*/ 300875 h 511172"/>
                <a:gd name="connsiteX13" fmla="*/ 1386100 w 2246470"/>
                <a:gd name="connsiteY13" fmla="*/ 7006 h 511172"/>
                <a:gd name="connsiteX14" fmla="*/ 2240325 w 2246470"/>
                <a:gd name="connsiteY14" fmla="*/ 7006 h 511172"/>
                <a:gd name="connsiteX15" fmla="*/ 2240325 w 2246470"/>
                <a:gd name="connsiteY15" fmla="*/ 18487 h 511172"/>
                <a:gd name="connsiteX16" fmla="*/ 1390845 w 2246470"/>
                <a:gd name="connsiteY16" fmla="*/ 18487 h 511172"/>
                <a:gd name="connsiteX17" fmla="*/ 1100349 w 2246470"/>
                <a:gd name="connsiteY17" fmla="*/ 308993 h 51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6470" h="511172">
                  <a:moveTo>
                    <a:pt x="904539" y="504802"/>
                  </a:moveTo>
                  <a:lnTo>
                    <a:pt x="7006" y="504802"/>
                  </a:lnTo>
                  <a:lnTo>
                    <a:pt x="7006" y="493322"/>
                  </a:lnTo>
                  <a:lnTo>
                    <a:pt x="899785" y="493322"/>
                  </a:lnTo>
                  <a:lnTo>
                    <a:pt x="1030800" y="362305"/>
                  </a:lnTo>
                  <a:lnTo>
                    <a:pt x="1065234" y="327872"/>
                  </a:lnTo>
                  <a:lnTo>
                    <a:pt x="1076005" y="317101"/>
                  </a:lnTo>
                  <a:lnTo>
                    <a:pt x="1084123" y="325219"/>
                  </a:lnTo>
                  <a:lnTo>
                    <a:pt x="1081470" y="327872"/>
                  </a:lnTo>
                  <a:lnTo>
                    <a:pt x="1047037" y="362305"/>
                  </a:lnTo>
                  <a:lnTo>
                    <a:pt x="904539" y="504802"/>
                  </a:lnTo>
                  <a:close/>
                  <a:moveTo>
                    <a:pt x="1100349" y="308993"/>
                  </a:moveTo>
                  <a:lnTo>
                    <a:pt x="1092231" y="300875"/>
                  </a:lnTo>
                  <a:lnTo>
                    <a:pt x="1386100" y="7006"/>
                  </a:lnTo>
                  <a:lnTo>
                    <a:pt x="2240325" y="7006"/>
                  </a:lnTo>
                  <a:lnTo>
                    <a:pt x="2240325" y="18487"/>
                  </a:lnTo>
                  <a:lnTo>
                    <a:pt x="1390845" y="18487"/>
                  </a:lnTo>
                  <a:lnTo>
                    <a:pt x="1100349" y="30899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0" name="Freeform: Shape 13499">
              <a:extLst>
                <a:ext uri="{FF2B5EF4-FFF2-40B4-BE49-F238E27FC236}">
                  <a16:creationId xmlns:a16="http://schemas.microsoft.com/office/drawing/2014/main" id="{E604EEC5-A6FE-41B0-8EEF-A08AC7B7C70B}"/>
                </a:ext>
              </a:extLst>
            </p:cNvPr>
            <p:cNvSpPr/>
            <p:nvPr/>
          </p:nvSpPr>
          <p:spPr bwMode="ltGray">
            <a:xfrm>
              <a:off x="5608752" y="2344241"/>
              <a:ext cx="3181379" cy="446155"/>
            </a:xfrm>
            <a:custGeom>
              <a:avLst/>
              <a:gdLst>
                <a:gd name="connsiteX0" fmla="*/ 3174468 w 3181378"/>
                <a:gd name="connsiteY0" fmla="*/ 439887 h 446155"/>
                <a:gd name="connsiteX1" fmla="*/ 1279045 w 3181378"/>
                <a:gd name="connsiteY1" fmla="*/ 439887 h 446155"/>
                <a:gd name="connsiteX2" fmla="*/ 1230357 w 3181378"/>
                <a:gd name="connsiteY2" fmla="*/ 439887 h 446155"/>
                <a:gd name="connsiteX3" fmla="*/ 1100770 w 3181378"/>
                <a:gd name="connsiteY3" fmla="*/ 439887 h 446155"/>
                <a:gd name="connsiteX4" fmla="*/ 949052 w 3181378"/>
                <a:gd name="connsiteY4" fmla="*/ 288179 h 446155"/>
                <a:gd name="connsiteX5" fmla="*/ 914628 w 3181378"/>
                <a:gd name="connsiteY5" fmla="*/ 253746 h 446155"/>
                <a:gd name="connsiteX6" fmla="*/ 911975 w 3181378"/>
                <a:gd name="connsiteY6" fmla="*/ 251093 h 446155"/>
                <a:gd name="connsiteX7" fmla="*/ 903857 w 3181378"/>
                <a:gd name="connsiteY7" fmla="*/ 242975 h 446155"/>
                <a:gd name="connsiteX8" fmla="*/ 690841 w 3181378"/>
                <a:gd name="connsiteY8" fmla="*/ 29959 h 446155"/>
                <a:gd name="connsiteX9" fmla="*/ 7006 w 3181378"/>
                <a:gd name="connsiteY9" fmla="*/ 29959 h 446155"/>
                <a:gd name="connsiteX10" fmla="*/ 7006 w 3181378"/>
                <a:gd name="connsiteY10" fmla="*/ 7006 h 446155"/>
                <a:gd name="connsiteX11" fmla="*/ 700332 w 3181378"/>
                <a:gd name="connsiteY11" fmla="*/ 7006 h 446155"/>
                <a:gd name="connsiteX12" fmla="*/ 920084 w 3181378"/>
                <a:gd name="connsiteY12" fmla="*/ 226749 h 446155"/>
                <a:gd name="connsiteX13" fmla="*/ 928202 w 3181378"/>
                <a:gd name="connsiteY13" fmla="*/ 234867 h 446155"/>
                <a:gd name="connsiteX14" fmla="*/ 947081 w 3181378"/>
                <a:gd name="connsiteY14" fmla="*/ 253746 h 446155"/>
                <a:gd name="connsiteX15" fmla="*/ 981505 w 3181378"/>
                <a:gd name="connsiteY15" fmla="*/ 288179 h 446155"/>
                <a:gd name="connsiteX16" fmla="*/ 1110270 w 3181378"/>
                <a:gd name="connsiteY16" fmla="*/ 416935 h 446155"/>
                <a:gd name="connsiteX17" fmla="*/ 3174468 w 3181378"/>
                <a:gd name="connsiteY17" fmla="*/ 416935 h 446155"/>
                <a:gd name="connsiteX18" fmla="*/ 3174468 w 3181378"/>
                <a:gd name="connsiteY18" fmla="*/ 439887 h 44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1378" h="446155">
                  <a:moveTo>
                    <a:pt x="3174468" y="439887"/>
                  </a:moveTo>
                  <a:lnTo>
                    <a:pt x="1279045" y="439887"/>
                  </a:lnTo>
                  <a:lnTo>
                    <a:pt x="1230357" y="439887"/>
                  </a:lnTo>
                  <a:lnTo>
                    <a:pt x="1100770" y="439887"/>
                  </a:lnTo>
                  <a:lnTo>
                    <a:pt x="949052" y="288179"/>
                  </a:lnTo>
                  <a:lnTo>
                    <a:pt x="914628" y="253746"/>
                  </a:lnTo>
                  <a:lnTo>
                    <a:pt x="911975" y="251093"/>
                  </a:lnTo>
                  <a:lnTo>
                    <a:pt x="903857" y="242975"/>
                  </a:lnTo>
                  <a:lnTo>
                    <a:pt x="690841" y="29959"/>
                  </a:lnTo>
                  <a:lnTo>
                    <a:pt x="7006" y="29959"/>
                  </a:lnTo>
                  <a:lnTo>
                    <a:pt x="7006" y="7006"/>
                  </a:lnTo>
                  <a:lnTo>
                    <a:pt x="700332" y="7006"/>
                  </a:lnTo>
                  <a:lnTo>
                    <a:pt x="920084" y="226749"/>
                  </a:lnTo>
                  <a:lnTo>
                    <a:pt x="928202" y="234867"/>
                  </a:lnTo>
                  <a:lnTo>
                    <a:pt x="947081" y="253746"/>
                  </a:lnTo>
                  <a:lnTo>
                    <a:pt x="981505" y="288179"/>
                  </a:lnTo>
                  <a:lnTo>
                    <a:pt x="1110270" y="416935"/>
                  </a:lnTo>
                  <a:lnTo>
                    <a:pt x="3174468" y="416935"/>
                  </a:lnTo>
                  <a:lnTo>
                    <a:pt x="3174468" y="4398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1" name="Freeform: Shape 13500">
              <a:extLst>
                <a:ext uri="{FF2B5EF4-FFF2-40B4-BE49-F238E27FC236}">
                  <a16:creationId xmlns:a16="http://schemas.microsoft.com/office/drawing/2014/main" id="{89A74766-C73D-4AFC-AC57-5337F87BA493}"/>
                </a:ext>
              </a:extLst>
            </p:cNvPr>
            <p:cNvSpPr/>
            <p:nvPr/>
          </p:nvSpPr>
          <p:spPr bwMode="ltGray">
            <a:xfrm>
              <a:off x="7389414" y="4588788"/>
              <a:ext cx="2354086" cy="199537"/>
            </a:xfrm>
            <a:custGeom>
              <a:avLst/>
              <a:gdLst>
                <a:gd name="connsiteX0" fmla="*/ 506745 w 2354085"/>
                <a:gd name="connsiteY0" fmla="*/ 193278 h 199536"/>
                <a:gd name="connsiteX1" fmla="*/ 7006 w 2354085"/>
                <a:gd name="connsiteY1" fmla="*/ 193278 h 199536"/>
                <a:gd name="connsiteX2" fmla="*/ 7006 w 2354085"/>
                <a:gd name="connsiteY2" fmla="*/ 176024 h 199536"/>
                <a:gd name="connsiteX3" fmla="*/ 499590 w 2354085"/>
                <a:gd name="connsiteY3" fmla="*/ 176024 h 199536"/>
                <a:gd name="connsiteX4" fmla="*/ 668608 w 2354085"/>
                <a:gd name="connsiteY4" fmla="*/ 7006 h 199536"/>
                <a:gd name="connsiteX5" fmla="*/ 2349165 w 2354085"/>
                <a:gd name="connsiteY5" fmla="*/ 7006 h 199536"/>
                <a:gd name="connsiteX6" fmla="*/ 2349165 w 2354085"/>
                <a:gd name="connsiteY6" fmla="*/ 24269 h 199536"/>
                <a:gd name="connsiteX7" fmla="*/ 675763 w 2354085"/>
                <a:gd name="connsiteY7" fmla="*/ 24269 h 199536"/>
                <a:gd name="connsiteX8" fmla="*/ 506745 w 2354085"/>
                <a:gd name="connsiteY8" fmla="*/ 193278 h 19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4085" h="199536">
                  <a:moveTo>
                    <a:pt x="506745" y="193278"/>
                  </a:moveTo>
                  <a:lnTo>
                    <a:pt x="7006" y="193278"/>
                  </a:lnTo>
                  <a:lnTo>
                    <a:pt x="7006" y="176024"/>
                  </a:lnTo>
                  <a:lnTo>
                    <a:pt x="499590" y="176024"/>
                  </a:lnTo>
                  <a:lnTo>
                    <a:pt x="668608" y="7006"/>
                  </a:lnTo>
                  <a:lnTo>
                    <a:pt x="2349165" y="7006"/>
                  </a:lnTo>
                  <a:lnTo>
                    <a:pt x="2349165" y="24269"/>
                  </a:lnTo>
                  <a:lnTo>
                    <a:pt x="675763" y="24269"/>
                  </a:lnTo>
                  <a:lnTo>
                    <a:pt x="506745" y="1932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2" name="Freeform: Shape 13501">
              <a:extLst>
                <a:ext uri="{FF2B5EF4-FFF2-40B4-BE49-F238E27FC236}">
                  <a16:creationId xmlns:a16="http://schemas.microsoft.com/office/drawing/2014/main" id="{95466864-B48E-44C5-9F67-108B926D944A}"/>
                </a:ext>
              </a:extLst>
            </p:cNvPr>
            <p:cNvSpPr/>
            <p:nvPr/>
          </p:nvSpPr>
          <p:spPr bwMode="ltGray">
            <a:xfrm>
              <a:off x="8198566" y="4749221"/>
              <a:ext cx="1275690" cy="47082"/>
            </a:xfrm>
            <a:custGeom>
              <a:avLst/>
              <a:gdLst>
                <a:gd name="connsiteX0" fmla="*/ 7006 w 1275690"/>
                <a:gd name="connsiteY0" fmla="*/ 7006 h 47081"/>
                <a:gd name="connsiteX1" fmla="*/ 1269386 w 1275690"/>
                <a:gd name="connsiteY1" fmla="*/ 7006 h 47081"/>
                <a:gd name="connsiteX2" fmla="*/ 1269386 w 1275690"/>
                <a:gd name="connsiteY2" fmla="*/ 41430 h 47081"/>
                <a:gd name="connsiteX3" fmla="*/ 7006 w 1275690"/>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275690" h="47081">
                  <a:moveTo>
                    <a:pt x="7006" y="7006"/>
                  </a:moveTo>
                  <a:lnTo>
                    <a:pt x="1269386" y="7006"/>
                  </a:lnTo>
                  <a:lnTo>
                    <a:pt x="1269386"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3" name="Freeform: Shape 13502">
              <a:extLst>
                <a:ext uri="{FF2B5EF4-FFF2-40B4-BE49-F238E27FC236}">
                  <a16:creationId xmlns:a16="http://schemas.microsoft.com/office/drawing/2014/main" id="{F903462F-FBBF-43B3-989A-C8C91986098C}"/>
                </a:ext>
              </a:extLst>
            </p:cNvPr>
            <p:cNvSpPr/>
            <p:nvPr/>
          </p:nvSpPr>
          <p:spPr bwMode="ltGray">
            <a:xfrm>
              <a:off x="3562144" y="2063077"/>
              <a:ext cx="717436" cy="24662"/>
            </a:xfrm>
            <a:custGeom>
              <a:avLst/>
              <a:gdLst>
                <a:gd name="connsiteX0" fmla="*/ 710888 w 717435"/>
                <a:gd name="connsiteY0" fmla="*/ 18478 h 24661"/>
                <a:gd name="connsiteX1" fmla="*/ 390003 w 717435"/>
                <a:gd name="connsiteY1" fmla="*/ 18478 h 24661"/>
                <a:gd name="connsiteX2" fmla="*/ 401475 w 717435"/>
                <a:gd name="connsiteY2" fmla="*/ 7006 h 24661"/>
                <a:gd name="connsiteX3" fmla="*/ 710888 w 717435"/>
                <a:gd name="connsiteY3" fmla="*/ 7006 h 24661"/>
                <a:gd name="connsiteX4" fmla="*/ 710888 w 717435"/>
                <a:gd name="connsiteY4" fmla="*/ 18478 h 24661"/>
                <a:gd name="connsiteX5" fmla="*/ 373777 w 717435"/>
                <a:gd name="connsiteY5" fmla="*/ 18478 h 24661"/>
                <a:gd name="connsiteX6" fmla="*/ 7006 w 717435"/>
                <a:gd name="connsiteY6" fmla="*/ 18478 h 24661"/>
                <a:gd name="connsiteX7" fmla="*/ 7006 w 717435"/>
                <a:gd name="connsiteY7" fmla="*/ 7006 h 24661"/>
                <a:gd name="connsiteX8" fmla="*/ 385248 w 717435"/>
                <a:gd name="connsiteY8" fmla="*/ 7006 h 24661"/>
                <a:gd name="connsiteX9" fmla="*/ 373777 w 717435"/>
                <a:gd name="connsiteY9" fmla="*/ 18478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35" h="24661">
                  <a:moveTo>
                    <a:pt x="710888" y="18478"/>
                  </a:moveTo>
                  <a:lnTo>
                    <a:pt x="390003" y="18478"/>
                  </a:lnTo>
                  <a:lnTo>
                    <a:pt x="401475" y="7006"/>
                  </a:lnTo>
                  <a:lnTo>
                    <a:pt x="710888" y="7006"/>
                  </a:lnTo>
                  <a:lnTo>
                    <a:pt x="710888" y="18478"/>
                  </a:lnTo>
                  <a:close/>
                  <a:moveTo>
                    <a:pt x="373777" y="18478"/>
                  </a:moveTo>
                  <a:lnTo>
                    <a:pt x="7006" y="18478"/>
                  </a:lnTo>
                  <a:lnTo>
                    <a:pt x="7006" y="7006"/>
                  </a:lnTo>
                  <a:lnTo>
                    <a:pt x="385248" y="7006"/>
                  </a:lnTo>
                  <a:lnTo>
                    <a:pt x="37377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4" name="Freeform: Shape 13503">
              <a:extLst>
                <a:ext uri="{FF2B5EF4-FFF2-40B4-BE49-F238E27FC236}">
                  <a16:creationId xmlns:a16="http://schemas.microsoft.com/office/drawing/2014/main" id="{848C8C04-F858-478D-AEB4-14436A63F2D2}"/>
                </a:ext>
              </a:extLst>
            </p:cNvPr>
            <p:cNvSpPr/>
            <p:nvPr/>
          </p:nvSpPr>
          <p:spPr bwMode="ltGray">
            <a:xfrm>
              <a:off x="5126752" y="2958228"/>
              <a:ext cx="80712" cy="24662"/>
            </a:xfrm>
            <a:custGeom>
              <a:avLst/>
              <a:gdLst>
                <a:gd name="connsiteX0" fmla="*/ 7006 w 80711"/>
                <a:gd name="connsiteY0" fmla="*/ 7006 h 24661"/>
                <a:gd name="connsiteX1" fmla="*/ 75863 w 80711"/>
                <a:gd name="connsiteY1" fmla="*/ 7006 h 24661"/>
                <a:gd name="connsiteX2" fmla="*/ 7586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63" y="7006"/>
                  </a:lnTo>
                  <a:lnTo>
                    <a:pt x="7586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5" name="Freeform: Shape 13504">
              <a:extLst>
                <a:ext uri="{FF2B5EF4-FFF2-40B4-BE49-F238E27FC236}">
                  <a16:creationId xmlns:a16="http://schemas.microsoft.com/office/drawing/2014/main" id="{1A5C43CA-62B1-450D-81FA-1D955A35E8F0}"/>
                </a:ext>
              </a:extLst>
            </p:cNvPr>
            <p:cNvSpPr/>
            <p:nvPr/>
          </p:nvSpPr>
          <p:spPr bwMode="ltGray">
            <a:xfrm>
              <a:off x="6463566"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6" name="Freeform: Shape 13505">
              <a:extLst>
                <a:ext uri="{FF2B5EF4-FFF2-40B4-BE49-F238E27FC236}">
                  <a16:creationId xmlns:a16="http://schemas.microsoft.com/office/drawing/2014/main" id="{FA735DCF-094E-466F-A832-16E2761B6CBC}"/>
                </a:ext>
              </a:extLst>
            </p:cNvPr>
            <p:cNvSpPr/>
            <p:nvPr/>
          </p:nvSpPr>
          <p:spPr bwMode="ltGray">
            <a:xfrm>
              <a:off x="5336490"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7" name="Freeform: Shape 13506">
              <a:extLst>
                <a:ext uri="{FF2B5EF4-FFF2-40B4-BE49-F238E27FC236}">
                  <a16:creationId xmlns:a16="http://schemas.microsoft.com/office/drawing/2014/main" id="{D5666F8C-4E26-4DC0-B96B-CDC7F86DF54F}"/>
                </a:ext>
              </a:extLst>
            </p:cNvPr>
            <p:cNvSpPr/>
            <p:nvPr/>
          </p:nvSpPr>
          <p:spPr bwMode="ltGray">
            <a:xfrm>
              <a:off x="6181804" y="2958228"/>
              <a:ext cx="154697" cy="24662"/>
            </a:xfrm>
            <a:custGeom>
              <a:avLst/>
              <a:gdLst>
                <a:gd name="connsiteX0" fmla="*/ 7006 w 154697"/>
                <a:gd name="connsiteY0" fmla="*/ 7006 h 24661"/>
                <a:gd name="connsiteX1" fmla="*/ 147878 w 154697"/>
                <a:gd name="connsiteY1" fmla="*/ 7006 h 24661"/>
                <a:gd name="connsiteX2" fmla="*/ 147878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78" y="7006"/>
                  </a:lnTo>
                  <a:lnTo>
                    <a:pt x="147878"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8" name="Freeform: Shape 13507">
              <a:extLst>
                <a:ext uri="{FF2B5EF4-FFF2-40B4-BE49-F238E27FC236}">
                  <a16:creationId xmlns:a16="http://schemas.microsoft.com/office/drawing/2014/main" id="{3D7F3628-146F-416F-AEF6-3AD7409D0448}"/>
                </a:ext>
              </a:extLst>
            </p:cNvPr>
            <p:cNvSpPr/>
            <p:nvPr/>
          </p:nvSpPr>
          <p:spPr bwMode="ltGray">
            <a:xfrm>
              <a:off x="5618262"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9" name="Freeform: Shape 13508">
              <a:extLst>
                <a:ext uri="{FF2B5EF4-FFF2-40B4-BE49-F238E27FC236}">
                  <a16:creationId xmlns:a16="http://schemas.microsoft.com/office/drawing/2014/main" id="{F0578C82-D8AA-4431-B2D0-1A2A6F068B23}"/>
                </a:ext>
              </a:extLst>
            </p:cNvPr>
            <p:cNvSpPr/>
            <p:nvPr/>
          </p:nvSpPr>
          <p:spPr bwMode="ltGray">
            <a:xfrm>
              <a:off x="5900024"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0" name="Freeform: Shape 13509">
              <a:extLst>
                <a:ext uri="{FF2B5EF4-FFF2-40B4-BE49-F238E27FC236}">
                  <a16:creationId xmlns:a16="http://schemas.microsoft.com/office/drawing/2014/main" id="{3A3C34C8-28DD-4A9B-930C-D497D0069E39}"/>
                </a:ext>
              </a:extLst>
            </p:cNvPr>
            <p:cNvSpPr/>
            <p:nvPr/>
          </p:nvSpPr>
          <p:spPr bwMode="ltGray">
            <a:xfrm>
              <a:off x="6745337" y="2958228"/>
              <a:ext cx="132277" cy="85195"/>
            </a:xfrm>
            <a:custGeom>
              <a:avLst/>
              <a:gdLst>
                <a:gd name="connsiteX0" fmla="*/ 118125 w 132277"/>
                <a:gd name="connsiteY0" fmla="*/ 78843 h 85195"/>
                <a:gd name="connsiteX1" fmla="*/ 57750 w 132277"/>
                <a:gd name="connsiteY1" fmla="*/ 18478 h 85195"/>
                <a:gd name="connsiteX2" fmla="*/ 7006 w 132277"/>
                <a:gd name="connsiteY2" fmla="*/ 18478 h 85195"/>
                <a:gd name="connsiteX3" fmla="*/ 7006 w 132277"/>
                <a:gd name="connsiteY3" fmla="*/ 7006 h 85195"/>
                <a:gd name="connsiteX4" fmla="*/ 62505 w 132277"/>
                <a:gd name="connsiteY4" fmla="*/ 7006 h 85195"/>
                <a:gd name="connsiteX5" fmla="*/ 126233 w 132277"/>
                <a:gd name="connsiteY5" fmla="*/ 70735 h 85195"/>
                <a:gd name="connsiteX6" fmla="*/ 118125 w 132277"/>
                <a:gd name="connsiteY6" fmla="*/ 78843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277" h="85195">
                  <a:moveTo>
                    <a:pt x="118125" y="78843"/>
                  </a:moveTo>
                  <a:lnTo>
                    <a:pt x="57750" y="18478"/>
                  </a:lnTo>
                  <a:lnTo>
                    <a:pt x="7006" y="18478"/>
                  </a:lnTo>
                  <a:lnTo>
                    <a:pt x="7006" y="7006"/>
                  </a:lnTo>
                  <a:lnTo>
                    <a:pt x="62505" y="7006"/>
                  </a:lnTo>
                  <a:lnTo>
                    <a:pt x="126233" y="70735"/>
                  </a:lnTo>
                  <a:lnTo>
                    <a:pt x="118125" y="7884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1" name="Freeform: Shape 13510">
              <a:extLst>
                <a:ext uri="{FF2B5EF4-FFF2-40B4-BE49-F238E27FC236}">
                  <a16:creationId xmlns:a16="http://schemas.microsoft.com/office/drawing/2014/main" id="{66FEF91C-32B1-478C-92E5-A983BFD25647}"/>
                </a:ext>
              </a:extLst>
            </p:cNvPr>
            <p:cNvSpPr/>
            <p:nvPr/>
          </p:nvSpPr>
          <p:spPr bwMode="ltGray">
            <a:xfrm>
              <a:off x="7279267"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2" name="Freeform: Shape 13511">
              <a:extLst>
                <a:ext uri="{FF2B5EF4-FFF2-40B4-BE49-F238E27FC236}">
                  <a16:creationId xmlns:a16="http://schemas.microsoft.com/office/drawing/2014/main" id="{F6347E13-DA3A-47BB-9E94-8C7C63826489}"/>
                </a:ext>
              </a:extLst>
            </p:cNvPr>
            <p:cNvSpPr/>
            <p:nvPr/>
          </p:nvSpPr>
          <p:spPr bwMode="ltGray">
            <a:xfrm>
              <a:off x="7561038"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3" name="Freeform: Shape 13512">
              <a:extLst>
                <a:ext uri="{FF2B5EF4-FFF2-40B4-BE49-F238E27FC236}">
                  <a16:creationId xmlns:a16="http://schemas.microsoft.com/office/drawing/2014/main" id="{9172BFCB-5ACC-4733-A6EF-E7DBB9260675}"/>
                </a:ext>
              </a:extLst>
            </p:cNvPr>
            <p:cNvSpPr/>
            <p:nvPr/>
          </p:nvSpPr>
          <p:spPr bwMode="ltGray">
            <a:xfrm>
              <a:off x="6997505"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4" name="Freeform: Shape 13513">
              <a:extLst>
                <a:ext uri="{FF2B5EF4-FFF2-40B4-BE49-F238E27FC236}">
                  <a16:creationId xmlns:a16="http://schemas.microsoft.com/office/drawing/2014/main" id="{92B9C2D9-CB6A-463B-9F07-A5642DF5BAA6}"/>
                </a:ext>
              </a:extLst>
            </p:cNvPr>
            <p:cNvSpPr/>
            <p:nvPr/>
          </p:nvSpPr>
          <p:spPr bwMode="ltGray">
            <a:xfrm>
              <a:off x="7842809" y="3029691"/>
              <a:ext cx="80712" cy="24662"/>
            </a:xfrm>
            <a:custGeom>
              <a:avLst/>
              <a:gdLst>
                <a:gd name="connsiteX0" fmla="*/ 7006 w 80711"/>
                <a:gd name="connsiteY0" fmla="*/ 7006 h 24661"/>
                <a:gd name="connsiteX1" fmla="*/ 75854 w 80711"/>
                <a:gd name="connsiteY1" fmla="*/ 7006 h 24661"/>
                <a:gd name="connsiteX2" fmla="*/ 75854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54" y="7006"/>
                  </a:lnTo>
                  <a:lnTo>
                    <a:pt x="75854"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5" name="Freeform: Shape 13514">
              <a:extLst>
                <a:ext uri="{FF2B5EF4-FFF2-40B4-BE49-F238E27FC236}">
                  <a16:creationId xmlns:a16="http://schemas.microsoft.com/office/drawing/2014/main" id="{02C16C29-2042-441A-BE9A-B3BC98FDC336}"/>
                </a:ext>
              </a:extLst>
            </p:cNvPr>
            <p:cNvSpPr/>
            <p:nvPr/>
          </p:nvSpPr>
          <p:spPr bwMode="ltGray">
            <a:xfrm>
              <a:off x="8566663" y="4351119"/>
              <a:ext cx="150213" cy="24662"/>
            </a:xfrm>
            <a:custGeom>
              <a:avLst/>
              <a:gdLst>
                <a:gd name="connsiteX0" fmla="*/ 7006 w 150213"/>
                <a:gd name="connsiteY0" fmla="*/ 7006 h 24661"/>
                <a:gd name="connsiteX1" fmla="*/ 144729 w 150213"/>
                <a:gd name="connsiteY1" fmla="*/ 7006 h 24661"/>
                <a:gd name="connsiteX2" fmla="*/ 144729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9" y="7006"/>
                  </a:lnTo>
                  <a:lnTo>
                    <a:pt x="144729"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6" name="Freeform: Shape 13515">
              <a:extLst>
                <a:ext uri="{FF2B5EF4-FFF2-40B4-BE49-F238E27FC236}">
                  <a16:creationId xmlns:a16="http://schemas.microsoft.com/office/drawing/2014/main" id="{55A5A081-00FC-4F4F-966E-7F91BE017D06}"/>
                </a:ext>
              </a:extLst>
            </p:cNvPr>
            <p:cNvSpPr/>
            <p:nvPr/>
          </p:nvSpPr>
          <p:spPr bwMode="ltGray">
            <a:xfrm>
              <a:off x="8842100"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7" name="Freeform: Shape 13516">
              <a:extLst>
                <a:ext uri="{FF2B5EF4-FFF2-40B4-BE49-F238E27FC236}">
                  <a16:creationId xmlns:a16="http://schemas.microsoft.com/office/drawing/2014/main" id="{AB76FC7F-BE1B-4320-A60D-AEE6CF922BCE}"/>
                </a:ext>
              </a:extLst>
            </p:cNvPr>
            <p:cNvSpPr/>
            <p:nvPr/>
          </p:nvSpPr>
          <p:spPr bwMode="ltGray">
            <a:xfrm>
              <a:off x="911752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8" name="Freeform: Shape 13517">
              <a:extLst>
                <a:ext uri="{FF2B5EF4-FFF2-40B4-BE49-F238E27FC236}">
                  <a16:creationId xmlns:a16="http://schemas.microsoft.com/office/drawing/2014/main" id="{18218F66-C7C6-465B-9A29-940388FFB204}"/>
                </a:ext>
              </a:extLst>
            </p:cNvPr>
            <p:cNvSpPr/>
            <p:nvPr/>
          </p:nvSpPr>
          <p:spPr bwMode="ltGray">
            <a:xfrm>
              <a:off x="8291235"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9" name="Freeform: Shape 13518">
              <a:extLst>
                <a:ext uri="{FF2B5EF4-FFF2-40B4-BE49-F238E27FC236}">
                  <a16:creationId xmlns:a16="http://schemas.microsoft.com/office/drawing/2014/main" id="{548590A6-F190-431B-A6DA-7880EB58E2BC}"/>
                </a:ext>
              </a:extLst>
            </p:cNvPr>
            <p:cNvSpPr/>
            <p:nvPr/>
          </p:nvSpPr>
          <p:spPr bwMode="ltGray">
            <a:xfrm>
              <a:off x="774036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0" name="Freeform: Shape 13519">
              <a:extLst>
                <a:ext uri="{FF2B5EF4-FFF2-40B4-BE49-F238E27FC236}">
                  <a16:creationId xmlns:a16="http://schemas.microsoft.com/office/drawing/2014/main" id="{441DB3DB-5F98-47AF-85F2-735FAD43BCC4}"/>
                </a:ext>
              </a:extLst>
            </p:cNvPr>
            <p:cNvSpPr/>
            <p:nvPr/>
          </p:nvSpPr>
          <p:spPr bwMode="ltGray">
            <a:xfrm>
              <a:off x="9392938"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1" name="Freeform: Shape 13520">
              <a:extLst>
                <a:ext uri="{FF2B5EF4-FFF2-40B4-BE49-F238E27FC236}">
                  <a16:creationId xmlns:a16="http://schemas.microsoft.com/office/drawing/2014/main" id="{DB158C9F-398E-42F1-B778-E903DF229CEE}"/>
                </a:ext>
              </a:extLst>
            </p:cNvPr>
            <p:cNvSpPr/>
            <p:nvPr/>
          </p:nvSpPr>
          <p:spPr bwMode="ltGray">
            <a:xfrm>
              <a:off x="8015797" y="4351119"/>
              <a:ext cx="150213" cy="24662"/>
            </a:xfrm>
            <a:custGeom>
              <a:avLst/>
              <a:gdLst>
                <a:gd name="connsiteX0" fmla="*/ 7006 w 150213"/>
                <a:gd name="connsiteY0" fmla="*/ 7006 h 24661"/>
                <a:gd name="connsiteX1" fmla="*/ 144730 w 150213"/>
                <a:gd name="connsiteY1" fmla="*/ 7006 h 24661"/>
                <a:gd name="connsiteX2" fmla="*/ 14473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30" y="7006"/>
                  </a:lnTo>
                  <a:lnTo>
                    <a:pt x="14473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2" name="Freeform: Shape 13521">
              <a:extLst>
                <a:ext uri="{FF2B5EF4-FFF2-40B4-BE49-F238E27FC236}">
                  <a16:creationId xmlns:a16="http://schemas.microsoft.com/office/drawing/2014/main" id="{DABBF2C7-4500-42A2-B7D5-38D2573B845B}"/>
                </a:ext>
              </a:extLst>
            </p:cNvPr>
            <p:cNvSpPr/>
            <p:nvPr/>
          </p:nvSpPr>
          <p:spPr bwMode="ltGray">
            <a:xfrm>
              <a:off x="11045564"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3" name="Freeform: Shape 13522">
              <a:extLst>
                <a:ext uri="{FF2B5EF4-FFF2-40B4-BE49-F238E27FC236}">
                  <a16:creationId xmlns:a16="http://schemas.microsoft.com/office/drawing/2014/main" id="{CE71B7F2-4D27-4119-95F2-17D60B04CAA1}"/>
                </a:ext>
              </a:extLst>
            </p:cNvPr>
            <p:cNvSpPr/>
            <p:nvPr/>
          </p:nvSpPr>
          <p:spPr bwMode="ltGray">
            <a:xfrm>
              <a:off x="10770079"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4" name="Freeform: Shape 13523">
              <a:extLst>
                <a:ext uri="{FF2B5EF4-FFF2-40B4-BE49-F238E27FC236}">
                  <a16:creationId xmlns:a16="http://schemas.microsoft.com/office/drawing/2014/main" id="{C033B59E-6130-4B9E-AB90-E23EAD63BDF9}"/>
                </a:ext>
              </a:extLst>
            </p:cNvPr>
            <p:cNvSpPr/>
            <p:nvPr/>
          </p:nvSpPr>
          <p:spPr bwMode="ltGray">
            <a:xfrm>
              <a:off x="10494689"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5" name="Freeform: Shape 13524">
              <a:extLst>
                <a:ext uri="{FF2B5EF4-FFF2-40B4-BE49-F238E27FC236}">
                  <a16:creationId xmlns:a16="http://schemas.microsoft.com/office/drawing/2014/main" id="{3B001A8F-3226-4CB7-A6C4-77A6E19C8B37}"/>
                </a:ext>
              </a:extLst>
            </p:cNvPr>
            <p:cNvSpPr/>
            <p:nvPr/>
          </p:nvSpPr>
          <p:spPr bwMode="ltGray">
            <a:xfrm>
              <a:off x="9668422" y="4351119"/>
              <a:ext cx="150213" cy="24662"/>
            </a:xfrm>
            <a:custGeom>
              <a:avLst/>
              <a:gdLst>
                <a:gd name="connsiteX0" fmla="*/ 7007 w 150213"/>
                <a:gd name="connsiteY0" fmla="*/ 7006 h 24661"/>
                <a:gd name="connsiteX1" fmla="*/ 144702 w 150213"/>
                <a:gd name="connsiteY1" fmla="*/ 7006 h 24661"/>
                <a:gd name="connsiteX2" fmla="*/ 144702 w 150213"/>
                <a:gd name="connsiteY2" fmla="*/ 18478 h 24661"/>
                <a:gd name="connsiteX3" fmla="*/ 7007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7" y="7006"/>
                  </a:moveTo>
                  <a:lnTo>
                    <a:pt x="144702" y="7006"/>
                  </a:lnTo>
                  <a:lnTo>
                    <a:pt x="144702" y="18478"/>
                  </a:lnTo>
                  <a:lnTo>
                    <a:pt x="700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6" name="Freeform: Shape 13525">
              <a:extLst>
                <a:ext uri="{FF2B5EF4-FFF2-40B4-BE49-F238E27FC236}">
                  <a16:creationId xmlns:a16="http://schemas.microsoft.com/office/drawing/2014/main" id="{FF8A519A-2245-4D19-90E4-02FD0A452630}"/>
                </a:ext>
              </a:extLst>
            </p:cNvPr>
            <p:cNvSpPr/>
            <p:nvPr/>
          </p:nvSpPr>
          <p:spPr bwMode="ltGray">
            <a:xfrm>
              <a:off x="11320955" y="4351119"/>
              <a:ext cx="80712" cy="24662"/>
            </a:xfrm>
            <a:custGeom>
              <a:avLst/>
              <a:gdLst>
                <a:gd name="connsiteX0" fmla="*/ 7006 w 80711"/>
                <a:gd name="connsiteY0" fmla="*/ 7006 h 24661"/>
                <a:gd name="connsiteX1" fmla="*/ 75013 w 80711"/>
                <a:gd name="connsiteY1" fmla="*/ 7006 h 24661"/>
                <a:gd name="connsiteX2" fmla="*/ 7501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013" y="7006"/>
                  </a:lnTo>
                  <a:lnTo>
                    <a:pt x="7501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7" name="Freeform: Shape 13526">
              <a:extLst>
                <a:ext uri="{FF2B5EF4-FFF2-40B4-BE49-F238E27FC236}">
                  <a16:creationId xmlns:a16="http://schemas.microsoft.com/office/drawing/2014/main" id="{A32C4949-39AC-469E-96A3-67B551E2E569}"/>
                </a:ext>
              </a:extLst>
            </p:cNvPr>
            <p:cNvSpPr/>
            <p:nvPr/>
          </p:nvSpPr>
          <p:spPr bwMode="ltGray">
            <a:xfrm>
              <a:off x="10219204"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8" name="Freeform: Shape 13527">
              <a:extLst>
                <a:ext uri="{FF2B5EF4-FFF2-40B4-BE49-F238E27FC236}">
                  <a16:creationId xmlns:a16="http://schemas.microsoft.com/office/drawing/2014/main" id="{0B3DE764-A536-4B3E-95DF-4360CA60CA71}"/>
                </a:ext>
              </a:extLst>
            </p:cNvPr>
            <p:cNvSpPr/>
            <p:nvPr/>
          </p:nvSpPr>
          <p:spPr bwMode="ltGray">
            <a:xfrm>
              <a:off x="9943813" y="4351119"/>
              <a:ext cx="150213" cy="24662"/>
            </a:xfrm>
            <a:custGeom>
              <a:avLst/>
              <a:gdLst>
                <a:gd name="connsiteX0" fmla="*/ 7006 w 150213"/>
                <a:gd name="connsiteY0" fmla="*/ 7006 h 24661"/>
                <a:gd name="connsiteX1" fmla="*/ 144702 w 150213"/>
                <a:gd name="connsiteY1" fmla="*/ 7006 h 24661"/>
                <a:gd name="connsiteX2" fmla="*/ 144702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2" y="7006"/>
                  </a:lnTo>
                  <a:lnTo>
                    <a:pt x="144702"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9" name="Freeform: Shape 13528">
              <a:extLst>
                <a:ext uri="{FF2B5EF4-FFF2-40B4-BE49-F238E27FC236}">
                  <a16:creationId xmlns:a16="http://schemas.microsoft.com/office/drawing/2014/main" id="{93FF005D-5989-4C2F-AE67-024B3F508A33}"/>
                </a:ext>
              </a:extLst>
            </p:cNvPr>
            <p:cNvSpPr/>
            <p:nvPr/>
          </p:nvSpPr>
          <p:spPr bwMode="ltGray">
            <a:xfrm>
              <a:off x="6871141" y="5468563"/>
              <a:ext cx="793663" cy="24662"/>
            </a:xfrm>
            <a:custGeom>
              <a:avLst/>
              <a:gdLst>
                <a:gd name="connsiteX0" fmla="*/ 7006 w 793663"/>
                <a:gd name="connsiteY0" fmla="*/ 7006 h 24661"/>
                <a:gd name="connsiteX1" fmla="*/ 787395 w 793663"/>
                <a:gd name="connsiteY1" fmla="*/ 7006 h 24661"/>
                <a:gd name="connsiteX2" fmla="*/ 787395 w 793663"/>
                <a:gd name="connsiteY2" fmla="*/ 18478 h 24661"/>
                <a:gd name="connsiteX3" fmla="*/ 7006 w 79366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793663" h="24661">
                  <a:moveTo>
                    <a:pt x="7006" y="7006"/>
                  </a:moveTo>
                  <a:lnTo>
                    <a:pt x="787395" y="7006"/>
                  </a:lnTo>
                  <a:lnTo>
                    <a:pt x="7873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0" name="Freeform: Shape 13529">
              <a:extLst>
                <a:ext uri="{FF2B5EF4-FFF2-40B4-BE49-F238E27FC236}">
                  <a16:creationId xmlns:a16="http://schemas.microsoft.com/office/drawing/2014/main" id="{CF93AF04-BD7B-42E7-922F-ECA309D7A98E}"/>
                </a:ext>
              </a:extLst>
            </p:cNvPr>
            <p:cNvSpPr/>
            <p:nvPr/>
          </p:nvSpPr>
          <p:spPr bwMode="ltGray">
            <a:xfrm>
              <a:off x="7949920" y="5451347"/>
              <a:ext cx="262312" cy="58292"/>
            </a:xfrm>
            <a:custGeom>
              <a:avLst/>
              <a:gdLst>
                <a:gd name="connsiteX0" fmla="*/ 7006 w 262312"/>
                <a:gd name="connsiteY0" fmla="*/ 7006 h 58291"/>
                <a:gd name="connsiteX1" fmla="*/ 255652 w 262312"/>
                <a:gd name="connsiteY1" fmla="*/ 7006 h 58291"/>
                <a:gd name="connsiteX2" fmla="*/ 255652 w 262312"/>
                <a:gd name="connsiteY2" fmla="*/ 52911 h 58291"/>
                <a:gd name="connsiteX3" fmla="*/ 7006 w 262312"/>
                <a:gd name="connsiteY3" fmla="*/ 52911 h 58291"/>
              </a:gdLst>
              <a:ahLst/>
              <a:cxnLst>
                <a:cxn ang="0">
                  <a:pos x="connsiteX0" y="connsiteY0"/>
                </a:cxn>
                <a:cxn ang="0">
                  <a:pos x="connsiteX1" y="connsiteY1"/>
                </a:cxn>
                <a:cxn ang="0">
                  <a:pos x="connsiteX2" y="connsiteY2"/>
                </a:cxn>
                <a:cxn ang="0">
                  <a:pos x="connsiteX3" y="connsiteY3"/>
                </a:cxn>
              </a:cxnLst>
              <a:rect l="l" t="t" r="r" b="b"/>
              <a:pathLst>
                <a:path w="262312" h="58291">
                  <a:moveTo>
                    <a:pt x="7006" y="7006"/>
                  </a:moveTo>
                  <a:lnTo>
                    <a:pt x="255652" y="7006"/>
                  </a:lnTo>
                  <a:lnTo>
                    <a:pt x="255652"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1" name="Freeform: Shape 13530">
              <a:extLst>
                <a:ext uri="{FF2B5EF4-FFF2-40B4-BE49-F238E27FC236}">
                  <a16:creationId xmlns:a16="http://schemas.microsoft.com/office/drawing/2014/main" id="{500063FD-13BB-44FC-9960-CDB6393536B1}"/>
                </a:ext>
              </a:extLst>
            </p:cNvPr>
            <p:cNvSpPr/>
            <p:nvPr/>
          </p:nvSpPr>
          <p:spPr bwMode="ltGray">
            <a:xfrm>
              <a:off x="437093" y="2313684"/>
              <a:ext cx="3282268" cy="506689"/>
            </a:xfrm>
            <a:custGeom>
              <a:avLst/>
              <a:gdLst>
                <a:gd name="connsiteX0" fmla="*/ 2747099 w 3282267"/>
                <a:gd name="connsiteY0" fmla="*/ 500430 h 506688"/>
                <a:gd name="connsiteX1" fmla="*/ 2476575 w 3282267"/>
                <a:gd name="connsiteY1" fmla="*/ 500430 h 506688"/>
                <a:gd name="connsiteX2" fmla="*/ 2444113 w 3282267"/>
                <a:gd name="connsiteY2" fmla="*/ 500430 h 506688"/>
                <a:gd name="connsiteX3" fmla="*/ 2186023 w 3282267"/>
                <a:gd name="connsiteY3" fmla="*/ 500430 h 506688"/>
                <a:gd name="connsiteX4" fmla="*/ 2179390 w 3282267"/>
                <a:gd name="connsiteY4" fmla="*/ 488949 h 506688"/>
                <a:gd name="connsiteX5" fmla="*/ 2758580 w 3282267"/>
                <a:gd name="connsiteY5" fmla="*/ 488949 h 506688"/>
                <a:gd name="connsiteX6" fmla="*/ 2747099 w 3282267"/>
                <a:gd name="connsiteY6" fmla="*/ 500430 h 506688"/>
                <a:gd name="connsiteX7" fmla="*/ 2166751 w 3282267"/>
                <a:gd name="connsiteY7" fmla="*/ 500430 h 506688"/>
                <a:gd name="connsiteX8" fmla="*/ 1512856 w 3282267"/>
                <a:gd name="connsiteY8" fmla="*/ 500430 h 506688"/>
                <a:gd name="connsiteX9" fmla="*/ 1519489 w 3282267"/>
                <a:gd name="connsiteY9" fmla="*/ 488949 h 506688"/>
                <a:gd name="connsiteX10" fmla="*/ 2160128 w 3282267"/>
                <a:gd name="connsiteY10" fmla="*/ 488949 h 506688"/>
                <a:gd name="connsiteX11" fmla="*/ 2166751 w 3282267"/>
                <a:gd name="connsiteY11" fmla="*/ 500430 h 506688"/>
                <a:gd name="connsiteX12" fmla="*/ 1493594 w 3282267"/>
                <a:gd name="connsiteY12" fmla="*/ 500430 h 506688"/>
                <a:gd name="connsiteX13" fmla="*/ 848368 w 3282267"/>
                <a:gd name="connsiteY13" fmla="*/ 500430 h 506688"/>
                <a:gd name="connsiteX14" fmla="*/ 852572 w 3282267"/>
                <a:gd name="connsiteY14" fmla="*/ 488949 h 506688"/>
                <a:gd name="connsiteX15" fmla="*/ 1500217 w 3282267"/>
                <a:gd name="connsiteY15" fmla="*/ 488949 h 506688"/>
                <a:gd name="connsiteX16" fmla="*/ 1493594 w 3282267"/>
                <a:gd name="connsiteY16" fmla="*/ 500430 h 506688"/>
                <a:gd name="connsiteX17" fmla="*/ 817279 w 3282267"/>
                <a:gd name="connsiteY17" fmla="*/ 500430 h 506688"/>
                <a:gd name="connsiteX18" fmla="*/ 604459 w 3282267"/>
                <a:gd name="connsiteY18" fmla="*/ 500430 h 506688"/>
                <a:gd name="connsiteX19" fmla="*/ 599069 w 3282267"/>
                <a:gd name="connsiteY19" fmla="*/ 488949 h 506688"/>
                <a:gd name="connsiteX20" fmla="*/ 822660 w 3282267"/>
                <a:gd name="connsiteY20" fmla="*/ 488949 h 506688"/>
                <a:gd name="connsiteX21" fmla="*/ 817279 w 3282267"/>
                <a:gd name="connsiteY21" fmla="*/ 500430 h 506688"/>
                <a:gd name="connsiteX22" fmla="*/ 573360 w 3282267"/>
                <a:gd name="connsiteY22" fmla="*/ 500430 h 506688"/>
                <a:gd name="connsiteX23" fmla="*/ 146140 w 3282267"/>
                <a:gd name="connsiteY23" fmla="*/ 500430 h 506688"/>
                <a:gd name="connsiteX24" fmla="*/ 157621 w 3282267"/>
                <a:gd name="connsiteY24" fmla="*/ 488949 h 506688"/>
                <a:gd name="connsiteX25" fmla="*/ 569157 w 3282267"/>
                <a:gd name="connsiteY25" fmla="*/ 488949 h 506688"/>
                <a:gd name="connsiteX26" fmla="*/ 573360 w 3282267"/>
                <a:gd name="connsiteY26" fmla="*/ 500430 h 506688"/>
                <a:gd name="connsiteX27" fmla="*/ 66550 w 3282267"/>
                <a:gd name="connsiteY27" fmla="*/ 500430 h 506688"/>
                <a:gd name="connsiteX28" fmla="*/ 7006 w 3282267"/>
                <a:gd name="connsiteY28" fmla="*/ 500430 h 506688"/>
                <a:gd name="connsiteX29" fmla="*/ 18487 w 3282267"/>
                <a:gd name="connsiteY29" fmla="*/ 488949 h 506688"/>
                <a:gd name="connsiteX30" fmla="*/ 78031 w 3282267"/>
                <a:gd name="connsiteY30" fmla="*/ 488949 h 506688"/>
                <a:gd name="connsiteX31" fmla="*/ 66550 w 3282267"/>
                <a:gd name="connsiteY31" fmla="*/ 500430 h 506688"/>
                <a:gd name="connsiteX32" fmla="*/ 2959910 w 3282267"/>
                <a:gd name="connsiteY32" fmla="*/ 323014 h 506688"/>
                <a:gd name="connsiteX33" fmla="*/ 2943684 w 3282267"/>
                <a:gd name="connsiteY33" fmla="*/ 323014 h 506688"/>
                <a:gd name="connsiteX34" fmla="*/ 3004862 w 3282267"/>
                <a:gd name="connsiteY34" fmla="*/ 261836 h 506688"/>
                <a:gd name="connsiteX35" fmla="*/ 3021088 w 3282267"/>
                <a:gd name="connsiteY35" fmla="*/ 261836 h 506688"/>
                <a:gd name="connsiteX36" fmla="*/ 2959910 w 3282267"/>
                <a:gd name="connsiteY36" fmla="*/ 323014 h 506688"/>
                <a:gd name="connsiteX37" fmla="*/ 3037978 w 3282267"/>
                <a:gd name="connsiteY37" fmla="*/ 244946 h 506688"/>
                <a:gd name="connsiteX38" fmla="*/ 3021752 w 3282267"/>
                <a:gd name="connsiteY38" fmla="*/ 244946 h 506688"/>
                <a:gd name="connsiteX39" fmla="*/ 3100212 w 3282267"/>
                <a:gd name="connsiteY39" fmla="*/ 166486 h 506688"/>
                <a:gd name="connsiteX40" fmla="*/ 3123164 w 3282267"/>
                <a:gd name="connsiteY40" fmla="*/ 143534 h 506688"/>
                <a:gd name="connsiteX41" fmla="*/ 3200447 w 3282267"/>
                <a:gd name="connsiteY41" fmla="*/ 66251 h 506688"/>
                <a:gd name="connsiteX42" fmla="*/ 3234871 w 3282267"/>
                <a:gd name="connsiteY42" fmla="*/ 31827 h 506688"/>
                <a:gd name="connsiteX43" fmla="*/ 3259692 w 3282267"/>
                <a:gd name="connsiteY43" fmla="*/ 7006 h 506688"/>
                <a:gd name="connsiteX44" fmla="*/ 3275918 w 3282267"/>
                <a:gd name="connsiteY44" fmla="*/ 7006 h 506688"/>
                <a:gd name="connsiteX45" fmla="*/ 3251098 w 3282267"/>
                <a:gd name="connsiteY45" fmla="*/ 31827 h 506688"/>
                <a:gd name="connsiteX46" fmla="*/ 3216665 w 3282267"/>
                <a:gd name="connsiteY46" fmla="*/ 66251 h 506688"/>
                <a:gd name="connsiteX47" fmla="*/ 3139391 w 3282267"/>
                <a:gd name="connsiteY47" fmla="*/ 143534 h 506688"/>
                <a:gd name="connsiteX48" fmla="*/ 3116438 w 3282267"/>
                <a:gd name="connsiteY48" fmla="*/ 166486 h 506688"/>
                <a:gd name="connsiteX49" fmla="*/ 3037978 w 3282267"/>
                <a:gd name="connsiteY49" fmla="*/ 24494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82267" h="506688">
                  <a:moveTo>
                    <a:pt x="2747099" y="500430"/>
                  </a:moveTo>
                  <a:lnTo>
                    <a:pt x="2476575" y="500430"/>
                  </a:lnTo>
                  <a:lnTo>
                    <a:pt x="2444113" y="500430"/>
                  </a:lnTo>
                  <a:lnTo>
                    <a:pt x="2186023" y="500430"/>
                  </a:lnTo>
                  <a:lnTo>
                    <a:pt x="2179390" y="488949"/>
                  </a:lnTo>
                  <a:lnTo>
                    <a:pt x="2758580" y="488949"/>
                  </a:lnTo>
                  <a:lnTo>
                    <a:pt x="2747099" y="500430"/>
                  </a:lnTo>
                  <a:close/>
                  <a:moveTo>
                    <a:pt x="2166751" y="500430"/>
                  </a:moveTo>
                  <a:lnTo>
                    <a:pt x="1512856" y="500430"/>
                  </a:lnTo>
                  <a:lnTo>
                    <a:pt x="1519489" y="488949"/>
                  </a:lnTo>
                  <a:lnTo>
                    <a:pt x="2160128" y="488949"/>
                  </a:lnTo>
                  <a:lnTo>
                    <a:pt x="2166751" y="500430"/>
                  </a:lnTo>
                  <a:close/>
                  <a:moveTo>
                    <a:pt x="1493594" y="500430"/>
                  </a:moveTo>
                  <a:lnTo>
                    <a:pt x="848368" y="500430"/>
                  </a:lnTo>
                  <a:cubicBezTo>
                    <a:pt x="849919" y="496675"/>
                    <a:pt x="851330" y="492845"/>
                    <a:pt x="852572" y="488949"/>
                  </a:cubicBezTo>
                  <a:lnTo>
                    <a:pt x="1500217" y="488949"/>
                  </a:lnTo>
                  <a:lnTo>
                    <a:pt x="1493594" y="500430"/>
                  </a:lnTo>
                  <a:close/>
                  <a:moveTo>
                    <a:pt x="817279" y="500430"/>
                  </a:moveTo>
                  <a:lnTo>
                    <a:pt x="604459" y="500430"/>
                  </a:lnTo>
                  <a:cubicBezTo>
                    <a:pt x="602469" y="496712"/>
                    <a:pt x="600666" y="492883"/>
                    <a:pt x="599069" y="488949"/>
                  </a:cubicBezTo>
                  <a:lnTo>
                    <a:pt x="822660" y="488949"/>
                  </a:lnTo>
                  <a:cubicBezTo>
                    <a:pt x="821063" y="492883"/>
                    <a:pt x="819260" y="496712"/>
                    <a:pt x="817279" y="500430"/>
                  </a:cubicBezTo>
                  <a:close/>
                  <a:moveTo>
                    <a:pt x="573360" y="500430"/>
                  </a:moveTo>
                  <a:lnTo>
                    <a:pt x="146140" y="500430"/>
                  </a:lnTo>
                  <a:lnTo>
                    <a:pt x="157621" y="488949"/>
                  </a:lnTo>
                  <a:lnTo>
                    <a:pt x="569157" y="488949"/>
                  </a:lnTo>
                  <a:cubicBezTo>
                    <a:pt x="570408" y="492845"/>
                    <a:pt x="571810" y="496675"/>
                    <a:pt x="573360" y="500430"/>
                  </a:cubicBezTo>
                  <a:close/>
                  <a:moveTo>
                    <a:pt x="66550" y="500430"/>
                  </a:moveTo>
                  <a:lnTo>
                    <a:pt x="7006" y="500430"/>
                  </a:lnTo>
                  <a:lnTo>
                    <a:pt x="18487" y="488949"/>
                  </a:lnTo>
                  <a:lnTo>
                    <a:pt x="78031" y="488949"/>
                  </a:lnTo>
                  <a:lnTo>
                    <a:pt x="66550" y="500430"/>
                  </a:lnTo>
                  <a:close/>
                  <a:moveTo>
                    <a:pt x="2959910" y="323014"/>
                  </a:moveTo>
                  <a:lnTo>
                    <a:pt x="2943684" y="323014"/>
                  </a:lnTo>
                  <a:lnTo>
                    <a:pt x="3004862" y="261836"/>
                  </a:lnTo>
                  <a:lnTo>
                    <a:pt x="3021088" y="261836"/>
                  </a:lnTo>
                  <a:lnTo>
                    <a:pt x="2959910" y="323014"/>
                  </a:lnTo>
                  <a:close/>
                  <a:moveTo>
                    <a:pt x="3037978" y="244946"/>
                  </a:moveTo>
                  <a:lnTo>
                    <a:pt x="3021752" y="244946"/>
                  </a:lnTo>
                  <a:lnTo>
                    <a:pt x="3100212" y="166486"/>
                  </a:lnTo>
                  <a:lnTo>
                    <a:pt x="3123164" y="143534"/>
                  </a:lnTo>
                  <a:lnTo>
                    <a:pt x="3200447" y="66251"/>
                  </a:lnTo>
                  <a:lnTo>
                    <a:pt x="3234871" y="31827"/>
                  </a:lnTo>
                  <a:lnTo>
                    <a:pt x="3259692" y="7006"/>
                  </a:lnTo>
                  <a:lnTo>
                    <a:pt x="3275918" y="7006"/>
                  </a:lnTo>
                  <a:lnTo>
                    <a:pt x="3251098" y="31827"/>
                  </a:lnTo>
                  <a:lnTo>
                    <a:pt x="3216665" y="66251"/>
                  </a:lnTo>
                  <a:lnTo>
                    <a:pt x="3139391" y="143534"/>
                  </a:lnTo>
                  <a:lnTo>
                    <a:pt x="3116438" y="166486"/>
                  </a:lnTo>
                  <a:lnTo>
                    <a:pt x="3037978" y="24494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2" name="Freeform: Shape 13531">
              <a:extLst>
                <a:ext uri="{FF2B5EF4-FFF2-40B4-BE49-F238E27FC236}">
                  <a16:creationId xmlns:a16="http://schemas.microsoft.com/office/drawing/2014/main" id="{A6BF484A-0620-4BFF-BAB7-09E750DAAE18}"/>
                </a:ext>
              </a:extLst>
            </p:cNvPr>
            <p:cNvSpPr/>
            <p:nvPr/>
          </p:nvSpPr>
          <p:spPr bwMode="ltGray">
            <a:xfrm>
              <a:off x="1923680" y="2795628"/>
              <a:ext cx="706226" cy="24662"/>
            </a:xfrm>
            <a:custGeom>
              <a:avLst/>
              <a:gdLst>
                <a:gd name="connsiteX0" fmla="*/ 699435 w 706225"/>
                <a:gd name="connsiteY0" fmla="*/ 18487 h 24661"/>
                <a:gd name="connsiteX1" fmla="*/ 680163 w 706225"/>
                <a:gd name="connsiteY1" fmla="*/ 18487 h 24661"/>
                <a:gd name="connsiteX2" fmla="*/ 673540 w 706225"/>
                <a:gd name="connsiteY2" fmla="*/ 7006 h 24661"/>
                <a:gd name="connsiteX3" fmla="*/ 692802 w 706225"/>
                <a:gd name="connsiteY3" fmla="*/ 7006 h 24661"/>
                <a:gd name="connsiteX4" fmla="*/ 699435 w 706225"/>
                <a:gd name="connsiteY4" fmla="*/ 18487 h 24661"/>
                <a:gd name="connsiteX5" fmla="*/ 26269 w 706225"/>
                <a:gd name="connsiteY5" fmla="*/ 18487 h 24661"/>
                <a:gd name="connsiteX6" fmla="*/ 7006 w 706225"/>
                <a:gd name="connsiteY6" fmla="*/ 18487 h 24661"/>
                <a:gd name="connsiteX7" fmla="*/ 13629 w 706225"/>
                <a:gd name="connsiteY7" fmla="*/ 7006 h 24661"/>
                <a:gd name="connsiteX8" fmla="*/ 32901 w 706225"/>
                <a:gd name="connsiteY8" fmla="*/ 7006 h 24661"/>
                <a:gd name="connsiteX9" fmla="*/ 26269 w 706225"/>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225" h="24661">
                  <a:moveTo>
                    <a:pt x="699435" y="18487"/>
                  </a:moveTo>
                  <a:lnTo>
                    <a:pt x="680163" y="18487"/>
                  </a:lnTo>
                  <a:lnTo>
                    <a:pt x="673540" y="7006"/>
                  </a:lnTo>
                  <a:lnTo>
                    <a:pt x="692802" y="7006"/>
                  </a:lnTo>
                  <a:lnTo>
                    <a:pt x="699435" y="18487"/>
                  </a:lnTo>
                  <a:close/>
                  <a:moveTo>
                    <a:pt x="26269" y="18487"/>
                  </a:moveTo>
                  <a:lnTo>
                    <a:pt x="7006" y="18487"/>
                  </a:lnTo>
                  <a:lnTo>
                    <a:pt x="13629" y="7006"/>
                  </a:lnTo>
                  <a:lnTo>
                    <a:pt x="32901" y="7006"/>
                  </a:lnTo>
                  <a:lnTo>
                    <a:pt x="26269"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3" name="Freeform: Shape 13532">
              <a:extLst>
                <a:ext uri="{FF2B5EF4-FFF2-40B4-BE49-F238E27FC236}">
                  <a16:creationId xmlns:a16="http://schemas.microsoft.com/office/drawing/2014/main" id="{A5EF672F-0896-442F-868B-D4091C4D75BC}"/>
                </a:ext>
              </a:extLst>
            </p:cNvPr>
            <p:cNvSpPr/>
            <p:nvPr/>
          </p:nvSpPr>
          <p:spPr bwMode="ltGray">
            <a:xfrm>
              <a:off x="3177185" y="2629692"/>
              <a:ext cx="226441" cy="190569"/>
            </a:xfrm>
            <a:custGeom>
              <a:avLst/>
              <a:gdLst>
                <a:gd name="connsiteX0" fmla="*/ 42402 w 226440"/>
                <a:gd name="connsiteY0" fmla="*/ 184422 h 190568"/>
                <a:gd name="connsiteX1" fmla="*/ 7006 w 226440"/>
                <a:gd name="connsiteY1" fmla="*/ 184422 h 190568"/>
                <a:gd name="connsiteX2" fmla="*/ 18487 w 226440"/>
                <a:gd name="connsiteY2" fmla="*/ 172941 h 190568"/>
                <a:gd name="connsiteX3" fmla="*/ 37656 w 226440"/>
                <a:gd name="connsiteY3" fmla="*/ 172941 h 190568"/>
                <a:gd name="connsiteX4" fmla="*/ 203591 w 226440"/>
                <a:gd name="connsiteY4" fmla="*/ 7006 h 190568"/>
                <a:gd name="connsiteX5" fmla="*/ 219818 w 226440"/>
                <a:gd name="connsiteY5" fmla="*/ 7006 h 190568"/>
                <a:gd name="connsiteX6" fmla="*/ 42402 w 226440"/>
                <a:gd name="connsiteY6" fmla="*/ 184422 h 19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40" h="190568">
                  <a:moveTo>
                    <a:pt x="42402" y="184422"/>
                  </a:moveTo>
                  <a:lnTo>
                    <a:pt x="7006" y="184422"/>
                  </a:lnTo>
                  <a:lnTo>
                    <a:pt x="18487" y="172941"/>
                  </a:lnTo>
                  <a:lnTo>
                    <a:pt x="37656" y="172941"/>
                  </a:lnTo>
                  <a:lnTo>
                    <a:pt x="203591" y="7006"/>
                  </a:lnTo>
                  <a:lnTo>
                    <a:pt x="219818" y="7006"/>
                  </a:lnTo>
                  <a:lnTo>
                    <a:pt x="42402" y="184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4" name="Freeform: Shape 13533">
              <a:extLst>
                <a:ext uri="{FF2B5EF4-FFF2-40B4-BE49-F238E27FC236}">
                  <a16:creationId xmlns:a16="http://schemas.microsoft.com/office/drawing/2014/main" id="{59A60870-A50F-4D63-B214-08F2EAA9D8BF}"/>
                </a:ext>
              </a:extLst>
            </p:cNvPr>
            <p:cNvSpPr/>
            <p:nvPr/>
          </p:nvSpPr>
          <p:spPr bwMode="ltGray">
            <a:xfrm>
              <a:off x="999243" y="2795628"/>
              <a:ext cx="295942" cy="24662"/>
            </a:xfrm>
            <a:custGeom>
              <a:avLst/>
              <a:gdLst>
                <a:gd name="connsiteX0" fmla="*/ 286218 w 295942"/>
                <a:gd name="connsiteY0" fmla="*/ 18487 h 24661"/>
                <a:gd name="connsiteX1" fmla="*/ 255129 w 295942"/>
                <a:gd name="connsiteY1" fmla="*/ 18487 h 24661"/>
                <a:gd name="connsiteX2" fmla="*/ 260510 w 295942"/>
                <a:gd name="connsiteY2" fmla="*/ 7006 h 24661"/>
                <a:gd name="connsiteX3" fmla="*/ 290422 w 295942"/>
                <a:gd name="connsiteY3" fmla="*/ 7006 h 24661"/>
                <a:gd name="connsiteX4" fmla="*/ 286218 w 295942"/>
                <a:gd name="connsiteY4" fmla="*/ 18487 h 24661"/>
                <a:gd name="connsiteX5" fmla="*/ 42308 w 295942"/>
                <a:gd name="connsiteY5" fmla="*/ 18487 h 24661"/>
                <a:gd name="connsiteX6" fmla="*/ 11210 w 295942"/>
                <a:gd name="connsiteY6" fmla="*/ 18487 h 24661"/>
                <a:gd name="connsiteX7" fmla="*/ 7006 w 295942"/>
                <a:gd name="connsiteY7" fmla="*/ 7006 h 24661"/>
                <a:gd name="connsiteX8" fmla="*/ 36918 w 295942"/>
                <a:gd name="connsiteY8" fmla="*/ 7006 h 24661"/>
                <a:gd name="connsiteX9" fmla="*/ 42308 w 295942"/>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942" h="24661">
                  <a:moveTo>
                    <a:pt x="286218" y="18487"/>
                  </a:moveTo>
                  <a:lnTo>
                    <a:pt x="255129" y="18487"/>
                  </a:lnTo>
                  <a:cubicBezTo>
                    <a:pt x="257109" y="14769"/>
                    <a:pt x="258912" y="10939"/>
                    <a:pt x="260510" y="7006"/>
                  </a:cubicBezTo>
                  <a:lnTo>
                    <a:pt x="290422" y="7006"/>
                  </a:lnTo>
                  <a:cubicBezTo>
                    <a:pt x="289179" y="10902"/>
                    <a:pt x="287769" y="14732"/>
                    <a:pt x="286218" y="18487"/>
                  </a:cubicBezTo>
                  <a:close/>
                  <a:moveTo>
                    <a:pt x="42308" y="18487"/>
                  </a:moveTo>
                  <a:lnTo>
                    <a:pt x="11210" y="18487"/>
                  </a:lnTo>
                  <a:cubicBezTo>
                    <a:pt x="9659" y="14732"/>
                    <a:pt x="8258" y="10902"/>
                    <a:pt x="7006" y="7006"/>
                  </a:cubicBezTo>
                  <a:lnTo>
                    <a:pt x="36918" y="7006"/>
                  </a:lnTo>
                  <a:cubicBezTo>
                    <a:pt x="38515" y="10939"/>
                    <a:pt x="40318" y="14769"/>
                    <a:pt x="42308" y="184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5" name="Freeform: Shape 13534">
              <a:extLst>
                <a:ext uri="{FF2B5EF4-FFF2-40B4-BE49-F238E27FC236}">
                  <a16:creationId xmlns:a16="http://schemas.microsoft.com/office/drawing/2014/main" id="{8BECC371-482C-43A8-9C08-368B5204A33E}"/>
                </a:ext>
              </a:extLst>
            </p:cNvPr>
            <p:cNvSpPr/>
            <p:nvPr/>
          </p:nvSpPr>
          <p:spPr bwMode="ltGray">
            <a:xfrm>
              <a:off x="496636" y="2795628"/>
              <a:ext cx="103131" cy="24662"/>
            </a:xfrm>
            <a:custGeom>
              <a:avLst/>
              <a:gdLst>
                <a:gd name="connsiteX0" fmla="*/ 86597 w 103131"/>
                <a:gd name="connsiteY0" fmla="*/ 18487 h 24661"/>
                <a:gd name="connsiteX1" fmla="*/ 7006 w 103131"/>
                <a:gd name="connsiteY1" fmla="*/ 18487 h 24661"/>
                <a:gd name="connsiteX2" fmla="*/ 18487 w 103131"/>
                <a:gd name="connsiteY2" fmla="*/ 7006 h 24661"/>
                <a:gd name="connsiteX3" fmla="*/ 98078 w 103131"/>
                <a:gd name="connsiteY3" fmla="*/ 7006 h 24661"/>
                <a:gd name="connsiteX4" fmla="*/ 86597 w 103131"/>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1" h="24661">
                  <a:moveTo>
                    <a:pt x="86597" y="18487"/>
                  </a:moveTo>
                  <a:lnTo>
                    <a:pt x="7006" y="18487"/>
                  </a:lnTo>
                  <a:lnTo>
                    <a:pt x="18487" y="7006"/>
                  </a:lnTo>
                  <a:lnTo>
                    <a:pt x="98078" y="7006"/>
                  </a:lnTo>
                  <a:lnTo>
                    <a:pt x="86597"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6" name="Freeform: Shape 13535">
              <a:extLst>
                <a:ext uri="{FF2B5EF4-FFF2-40B4-BE49-F238E27FC236}">
                  <a16:creationId xmlns:a16="http://schemas.microsoft.com/office/drawing/2014/main" id="{B86E2BF8-56AA-4102-B7CA-BF399ADCBBD3}"/>
                </a:ext>
              </a:extLst>
            </p:cNvPr>
            <p:cNvSpPr/>
            <p:nvPr/>
          </p:nvSpPr>
          <p:spPr bwMode="ltGray">
            <a:xfrm>
              <a:off x="3434948" y="2551625"/>
              <a:ext cx="47082" cy="29146"/>
            </a:xfrm>
            <a:custGeom>
              <a:avLst/>
              <a:gdLst>
                <a:gd name="connsiteX0" fmla="*/ 23233 w 47081"/>
                <a:gd name="connsiteY0" fmla="*/ 23896 h 29145"/>
                <a:gd name="connsiteX1" fmla="*/ 7006 w 47081"/>
                <a:gd name="connsiteY1" fmla="*/ 23896 h 29145"/>
                <a:gd name="connsiteX2" fmla="*/ 23896 w 47081"/>
                <a:gd name="connsiteY2" fmla="*/ 7006 h 29145"/>
                <a:gd name="connsiteX3" fmla="*/ 40122 w 47081"/>
                <a:gd name="connsiteY3" fmla="*/ 7006 h 29145"/>
                <a:gd name="connsiteX4" fmla="*/ 23233 w 47081"/>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23233" y="23896"/>
                  </a:moveTo>
                  <a:lnTo>
                    <a:pt x="7006" y="23896"/>
                  </a:lnTo>
                  <a:lnTo>
                    <a:pt x="23896" y="7006"/>
                  </a:lnTo>
                  <a:lnTo>
                    <a:pt x="40122" y="7006"/>
                  </a:lnTo>
                  <a:lnTo>
                    <a:pt x="23233"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7" name="Freeform: Shape 13536">
              <a:extLst>
                <a:ext uri="{FF2B5EF4-FFF2-40B4-BE49-F238E27FC236}">
                  <a16:creationId xmlns:a16="http://schemas.microsoft.com/office/drawing/2014/main" id="{0B8643C1-1B8A-4973-BEBE-ADF347123535}"/>
                </a:ext>
              </a:extLst>
            </p:cNvPr>
            <p:cNvSpPr/>
            <p:nvPr/>
          </p:nvSpPr>
          <p:spPr bwMode="ltGray">
            <a:xfrm>
              <a:off x="3698242" y="1294159"/>
              <a:ext cx="3546822" cy="1024588"/>
            </a:xfrm>
            <a:custGeom>
              <a:avLst/>
              <a:gdLst>
                <a:gd name="connsiteX0" fmla="*/ 23233 w 3546822"/>
                <a:gd name="connsiteY0" fmla="*/ 1018068 h 1024587"/>
                <a:gd name="connsiteX1" fmla="*/ 7006 w 3546822"/>
                <a:gd name="connsiteY1" fmla="*/ 1018068 h 1024587"/>
                <a:gd name="connsiteX2" fmla="*/ 83626 w 3546822"/>
                <a:gd name="connsiteY2" fmla="*/ 941448 h 1024587"/>
                <a:gd name="connsiteX3" fmla="*/ 198388 w 3546822"/>
                <a:gd name="connsiteY3" fmla="*/ 826686 h 1024587"/>
                <a:gd name="connsiteX4" fmla="*/ 237679 w 3546822"/>
                <a:gd name="connsiteY4" fmla="*/ 787396 h 1024587"/>
                <a:gd name="connsiteX5" fmla="*/ 249150 w 3546822"/>
                <a:gd name="connsiteY5" fmla="*/ 775924 h 1024587"/>
                <a:gd name="connsiteX6" fmla="*/ 355318 w 3546822"/>
                <a:gd name="connsiteY6" fmla="*/ 669757 h 1024587"/>
                <a:gd name="connsiteX7" fmla="*/ 571735 w 3546822"/>
                <a:gd name="connsiteY7" fmla="*/ 669757 h 1024587"/>
                <a:gd name="connsiteX8" fmla="*/ 847163 w 3546822"/>
                <a:gd name="connsiteY8" fmla="*/ 259482 h 1024587"/>
                <a:gd name="connsiteX9" fmla="*/ 2901992 w 3546822"/>
                <a:gd name="connsiteY9" fmla="*/ 259482 h 1024587"/>
                <a:gd name="connsiteX10" fmla="*/ 3139176 w 3546822"/>
                <a:gd name="connsiteY10" fmla="*/ 7006 h 1024587"/>
                <a:gd name="connsiteX11" fmla="*/ 3541417 w 3546822"/>
                <a:gd name="connsiteY11" fmla="*/ 7006 h 1024587"/>
                <a:gd name="connsiteX12" fmla="*/ 3541417 w 3546822"/>
                <a:gd name="connsiteY12" fmla="*/ 18478 h 1024587"/>
                <a:gd name="connsiteX13" fmla="*/ 3144136 w 3546822"/>
                <a:gd name="connsiteY13" fmla="*/ 18478 h 1024587"/>
                <a:gd name="connsiteX14" fmla="*/ 2906962 w 3546822"/>
                <a:gd name="connsiteY14" fmla="*/ 270963 h 1024587"/>
                <a:gd name="connsiteX15" fmla="*/ 853282 w 3546822"/>
                <a:gd name="connsiteY15" fmla="*/ 270963 h 1024587"/>
                <a:gd name="connsiteX16" fmla="*/ 577854 w 3546822"/>
                <a:gd name="connsiteY16" fmla="*/ 681237 h 1024587"/>
                <a:gd name="connsiteX17" fmla="*/ 360063 w 3546822"/>
                <a:gd name="connsiteY17" fmla="*/ 681237 h 1024587"/>
                <a:gd name="connsiteX18" fmla="*/ 265377 w 3546822"/>
                <a:gd name="connsiteY18" fmla="*/ 775924 h 1024587"/>
                <a:gd name="connsiteX19" fmla="*/ 253905 w 3546822"/>
                <a:gd name="connsiteY19" fmla="*/ 787396 h 1024587"/>
                <a:gd name="connsiteX20" fmla="*/ 214614 w 3546822"/>
                <a:gd name="connsiteY20" fmla="*/ 826686 h 1024587"/>
                <a:gd name="connsiteX21" fmla="*/ 99843 w 3546822"/>
                <a:gd name="connsiteY21" fmla="*/ 941448 h 1024587"/>
                <a:gd name="connsiteX22" fmla="*/ 23233 w 3546822"/>
                <a:gd name="connsiteY22" fmla="*/ 1018068 h 102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6822" h="1024587">
                  <a:moveTo>
                    <a:pt x="23233" y="1018068"/>
                  </a:moveTo>
                  <a:lnTo>
                    <a:pt x="7006" y="1018068"/>
                  </a:lnTo>
                  <a:lnTo>
                    <a:pt x="83626" y="941448"/>
                  </a:lnTo>
                  <a:lnTo>
                    <a:pt x="198388" y="826686"/>
                  </a:lnTo>
                  <a:lnTo>
                    <a:pt x="237679" y="787396"/>
                  </a:lnTo>
                  <a:lnTo>
                    <a:pt x="249150" y="775924"/>
                  </a:lnTo>
                  <a:lnTo>
                    <a:pt x="355318" y="669757"/>
                  </a:lnTo>
                  <a:lnTo>
                    <a:pt x="571735" y="669757"/>
                  </a:lnTo>
                  <a:lnTo>
                    <a:pt x="847163" y="259482"/>
                  </a:lnTo>
                  <a:lnTo>
                    <a:pt x="2901992" y="259482"/>
                  </a:lnTo>
                  <a:lnTo>
                    <a:pt x="3139176" y="7006"/>
                  </a:lnTo>
                  <a:lnTo>
                    <a:pt x="3541417" y="7006"/>
                  </a:lnTo>
                  <a:lnTo>
                    <a:pt x="3541417" y="18478"/>
                  </a:lnTo>
                  <a:lnTo>
                    <a:pt x="3144136" y="18478"/>
                  </a:lnTo>
                  <a:lnTo>
                    <a:pt x="2906962" y="270963"/>
                  </a:lnTo>
                  <a:lnTo>
                    <a:pt x="853282" y="270963"/>
                  </a:lnTo>
                  <a:lnTo>
                    <a:pt x="577854" y="681237"/>
                  </a:lnTo>
                  <a:lnTo>
                    <a:pt x="360063" y="681237"/>
                  </a:lnTo>
                  <a:lnTo>
                    <a:pt x="265377" y="775924"/>
                  </a:lnTo>
                  <a:lnTo>
                    <a:pt x="253905" y="787396"/>
                  </a:lnTo>
                  <a:lnTo>
                    <a:pt x="214614" y="826686"/>
                  </a:lnTo>
                  <a:lnTo>
                    <a:pt x="99843" y="941448"/>
                  </a:lnTo>
                  <a:lnTo>
                    <a:pt x="23233" y="10180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8" name="Freeform: Shape 13537">
              <a:extLst>
                <a:ext uri="{FF2B5EF4-FFF2-40B4-BE49-F238E27FC236}">
                  <a16:creationId xmlns:a16="http://schemas.microsoft.com/office/drawing/2014/main" id="{A41678D2-6F70-43E4-ADB5-3854CC8F468A}"/>
                </a:ext>
              </a:extLst>
            </p:cNvPr>
            <p:cNvSpPr/>
            <p:nvPr/>
          </p:nvSpPr>
          <p:spPr bwMode="ltGray">
            <a:xfrm>
              <a:off x="3689778" y="2305221"/>
              <a:ext cx="38114" cy="22420"/>
            </a:xfrm>
            <a:custGeom>
              <a:avLst/>
              <a:gdLst>
                <a:gd name="connsiteX0" fmla="*/ 23233 w 38113"/>
                <a:gd name="connsiteY0" fmla="*/ 15470 h 22419"/>
                <a:gd name="connsiteX1" fmla="*/ 7006 w 38113"/>
                <a:gd name="connsiteY1" fmla="*/ 15470 h 22419"/>
                <a:gd name="connsiteX2" fmla="*/ 15470 w 38113"/>
                <a:gd name="connsiteY2" fmla="*/ 7006 h 22419"/>
                <a:gd name="connsiteX3" fmla="*/ 31696 w 38113"/>
                <a:gd name="connsiteY3" fmla="*/ 7006 h 22419"/>
                <a:gd name="connsiteX4" fmla="*/ 23233 w 38113"/>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 h="22419">
                  <a:moveTo>
                    <a:pt x="23233" y="15470"/>
                  </a:moveTo>
                  <a:lnTo>
                    <a:pt x="7006" y="15470"/>
                  </a:lnTo>
                  <a:lnTo>
                    <a:pt x="15470" y="7006"/>
                  </a:lnTo>
                  <a:lnTo>
                    <a:pt x="31696" y="7006"/>
                  </a:lnTo>
                  <a:lnTo>
                    <a:pt x="23233"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9" name="Freeform: Shape 13538">
              <a:extLst>
                <a:ext uri="{FF2B5EF4-FFF2-40B4-BE49-F238E27FC236}">
                  <a16:creationId xmlns:a16="http://schemas.microsoft.com/office/drawing/2014/main" id="{C7A2ED97-8677-46FB-A4DD-3B9E73AA4B80}"/>
                </a:ext>
              </a:extLst>
            </p:cNvPr>
            <p:cNvSpPr/>
            <p:nvPr/>
          </p:nvSpPr>
          <p:spPr bwMode="ltGray">
            <a:xfrm>
              <a:off x="-2860" y="2795628"/>
              <a:ext cx="457365" cy="24662"/>
            </a:xfrm>
            <a:custGeom>
              <a:avLst/>
              <a:gdLst>
                <a:gd name="connsiteX0" fmla="*/ 439009 w 457365"/>
                <a:gd name="connsiteY0" fmla="*/ 18487 h 24661"/>
                <a:gd name="connsiteX1" fmla="*/ 7006 w 457365"/>
                <a:gd name="connsiteY1" fmla="*/ 18487 h 24661"/>
                <a:gd name="connsiteX2" fmla="*/ 7006 w 457365"/>
                <a:gd name="connsiteY2" fmla="*/ 7006 h 24661"/>
                <a:gd name="connsiteX3" fmla="*/ 450481 w 457365"/>
                <a:gd name="connsiteY3" fmla="*/ 7006 h 24661"/>
                <a:gd name="connsiteX4" fmla="*/ 439009 w 457365"/>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365" h="24661">
                  <a:moveTo>
                    <a:pt x="439009" y="18487"/>
                  </a:moveTo>
                  <a:lnTo>
                    <a:pt x="7006" y="18487"/>
                  </a:lnTo>
                  <a:lnTo>
                    <a:pt x="7006" y="7006"/>
                  </a:lnTo>
                  <a:lnTo>
                    <a:pt x="450481" y="7006"/>
                  </a:lnTo>
                  <a:lnTo>
                    <a:pt x="439009" y="184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0" name="Freeform: Shape 13539">
              <a:extLst>
                <a:ext uri="{FF2B5EF4-FFF2-40B4-BE49-F238E27FC236}">
                  <a16:creationId xmlns:a16="http://schemas.microsoft.com/office/drawing/2014/main" id="{48DB0751-2F2A-4602-B600-8045B0F1E4F9}"/>
                </a:ext>
              </a:extLst>
            </p:cNvPr>
            <p:cNvSpPr/>
            <p:nvPr/>
          </p:nvSpPr>
          <p:spPr bwMode="ltGray">
            <a:xfrm>
              <a:off x="429143" y="2795628"/>
              <a:ext cx="31388" cy="24662"/>
            </a:xfrm>
            <a:custGeom>
              <a:avLst/>
              <a:gdLst>
                <a:gd name="connsiteX0" fmla="*/ 14956 w 31387"/>
                <a:gd name="connsiteY0" fmla="*/ 18487 h 24661"/>
                <a:gd name="connsiteX1" fmla="*/ 7006 w 31387"/>
                <a:gd name="connsiteY1" fmla="*/ 18487 h 24661"/>
                <a:gd name="connsiteX2" fmla="*/ 18478 w 31387"/>
                <a:gd name="connsiteY2" fmla="*/ 7006 h 24661"/>
                <a:gd name="connsiteX3" fmla="*/ 26437 w 31387"/>
                <a:gd name="connsiteY3" fmla="*/ 7006 h 24661"/>
                <a:gd name="connsiteX4" fmla="*/ 14956 w 31387"/>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7" h="24661">
                  <a:moveTo>
                    <a:pt x="14956" y="18487"/>
                  </a:moveTo>
                  <a:lnTo>
                    <a:pt x="7006" y="18487"/>
                  </a:lnTo>
                  <a:lnTo>
                    <a:pt x="18478" y="7006"/>
                  </a:lnTo>
                  <a:lnTo>
                    <a:pt x="26437" y="7006"/>
                  </a:lnTo>
                  <a:lnTo>
                    <a:pt x="14956"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1" name="Freeform: Shape 13540">
              <a:extLst>
                <a:ext uri="{FF2B5EF4-FFF2-40B4-BE49-F238E27FC236}">
                  <a16:creationId xmlns:a16="http://schemas.microsoft.com/office/drawing/2014/main" id="{25B6ED6C-7D3D-45A0-8A4E-34EF767693EB}"/>
                </a:ext>
              </a:extLst>
            </p:cNvPr>
            <p:cNvSpPr/>
            <p:nvPr/>
          </p:nvSpPr>
          <p:spPr bwMode="ltGray">
            <a:xfrm>
              <a:off x="4379937" y="2655148"/>
              <a:ext cx="89679" cy="89679"/>
            </a:xfrm>
            <a:custGeom>
              <a:avLst/>
              <a:gdLst>
                <a:gd name="connsiteX0" fmla="*/ 45793 w 89679"/>
                <a:gd name="connsiteY0" fmla="*/ 84579 h 89679"/>
                <a:gd name="connsiteX1" fmla="*/ 7006 w 89679"/>
                <a:gd name="connsiteY1" fmla="*/ 45793 h 89679"/>
                <a:gd name="connsiteX2" fmla="*/ 45793 w 89679"/>
                <a:gd name="connsiteY2" fmla="*/ 7006 h 89679"/>
                <a:gd name="connsiteX3" fmla="*/ 84579 w 89679"/>
                <a:gd name="connsiteY3" fmla="*/ 45793 h 89679"/>
                <a:gd name="connsiteX4" fmla="*/ 4579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3" y="84579"/>
                  </a:moveTo>
                  <a:cubicBezTo>
                    <a:pt x="24372" y="84579"/>
                    <a:pt x="7006" y="67213"/>
                    <a:pt x="7006" y="45793"/>
                  </a:cubicBezTo>
                  <a:cubicBezTo>
                    <a:pt x="7006" y="24372"/>
                    <a:pt x="24372" y="7006"/>
                    <a:pt x="45793" y="7006"/>
                  </a:cubicBezTo>
                  <a:cubicBezTo>
                    <a:pt x="67213" y="7006"/>
                    <a:pt x="84579" y="24372"/>
                    <a:pt x="84579" y="45793"/>
                  </a:cubicBezTo>
                  <a:cubicBezTo>
                    <a:pt x="84579" y="67213"/>
                    <a:pt x="67213" y="84579"/>
                    <a:pt x="4579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2" name="Freeform: Shape 13541">
              <a:extLst>
                <a:ext uri="{FF2B5EF4-FFF2-40B4-BE49-F238E27FC236}">
                  <a16:creationId xmlns:a16="http://schemas.microsoft.com/office/drawing/2014/main" id="{FD543DDA-201A-4B6F-ADB9-9F965845FD34}"/>
                </a:ext>
              </a:extLst>
            </p:cNvPr>
            <p:cNvSpPr/>
            <p:nvPr/>
          </p:nvSpPr>
          <p:spPr bwMode="ltGray">
            <a:xfrm>
              <a:off x="7441138" y="1139256"/>
              <a:ext cx="842987" cy="186085"/>
            </a:xfrm>
            <a:custGeom>
              <a:avLst/>
              <a:gdLst>
                <a:gd name="connsiteX0" fmla="*/ 379054 w 842986"/>
                <a:gd name="connsiteY0" fmla="*/ 179125 h 186084"/>
                <a:gd name="connsiteX1" fmla="*/ 7006 w 842986"/>
                <a:gd name="connsiteY1" fmla="*/ 179125 h 186084"/>
                <a:gd name="connsiteX2" fmla="*/ 7006 w 842986"/>
                <a:gd name="connsiteY2" fmla="*/ 156173 h 186084"/>
                <a:gd name="connsiteX3" fmla="*/ 369545 w 842986"/>
                <a:gd name="connsiteY3" fmla="*/ 156173 h 186084"/>
                <a:gd name="connsiteX4" fmla="*/ 518712 w 842986"/>
                <a:gd name="connsiteY4" fmla="*/ 7006 h 186084"/>
                <a:gd name="connsiteX5" fmla="*/ 837121 w 842986"/>
                <a:gd name="connsiteY5" fmla="*/ 7006 h 186084"/>
                <a:gd name="connsiteX6" fmla="*/ 837121 w 842986"/>
                <a:gd name="connsiteY6" fmla="*/ 29959 h 186084"/>
                <a:gd name="connsiteX7" fmla="*/ 528212 w 842986"/>
                <a:gd name="connsiteY7" fmla="*/ 29959 h 186084"/>
                <a:gd name="connsiteX8" fmla="*/ 379054 w 842986"/>
                <a:gd name="connsiteY8" fmla="*/ 179125 h 18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986" h="186084">
                  <a:moveTo>
                    <a:pt x="379054" y="179125"/>
                  </a:moveTo>
                  <a:lnTo>
                    <a:pt x="7006" y="179125"/>
                  </a:lnTo>
                  <a:lnTo>
                    <a:pt x="7006" y="156173"/>
                  </a:lnTo>
                  <a:lnTo>
                    <a:pt x="369545" y="156173"/>
                  </a:lnTo>
                  <a:lnTo>
                    <a:pt x="518712" y="7006"/>
                  </a:lnTo>
                  <a:lnTo>
                    <a:pt x="837121" y="7006"/>
                  </a:lnTo>
                  <a:lnTo>
                    <a:pt x="837121" y="29959"/>
                  </a:lnTo>
                  <a:lnTo>
                    <a:pt x="528212" y="29959"/>
                  </a:lnTo>
                  <a:lnTo>
                    <a:pt x="379054" y="17912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grpSp>
      <p:sp>
        <p:nvSpPr>
          <p:cNvPr id="9" name="Document type" hidden="1"/>
          <p:cNvSpPr txBox="1">
            <a:spLocks noChangeArrowheads="1"/>
          </p:cNvSpPr>
          <p:nvPr/>
        </p:nvSpPr>
        <p:spPr bwMode="gray">
          <a:xfrm>
            <a:off x="323828" y="6015935"/>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Type de document</a:t>
            </a:r>
          </a:p>
        </p:txBody>
      </p:sp>
      <p:sp>
        <p:nvSpPr>
          <p:cNvPr id="10" name="Date" hidden="1"/>
          <p:cNvSpPr txBox="1">
            <a:spLocks noChangeArrowheads="1"/>
          </p:cNvSpPr>
          <p:nvPr/>
        </p:nvSpPr>
        <p:spPr bwMode="gray">
          <a:xfrm>
            <a:off x="323828" y="6293590"/>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Date</a:t>
            </a:r>
          </a:p>
        </p:txBody>
      </p:sp>
      <p:sp>
        <p:nvSpPr>
          <p:cNvPr id="13314" name="Rectangle 1026"/>
          <p:cNvSpPr>
            <a:spLocks noGrp="1" noChangeArrowheads="1"/>
          </p:cNvSpPr>
          <p:nvPr>
            <p:ph type="ctrTitle"/>
          </p:nvPr>
        </p:nvSpPr>
        <p:spPr bwMode="ltGray">
          <a:xfrm>
            <a:off x="323829" y="344125"/>
            <a:ext cx="5829441" cy="502445"/>
          </a:xfrm>
          <a:prstGeom prst="rect">
            <a:avLst/>
          </a:prstGeom>
        </p:spPr>
        <p:txBody>
          <a:bodyPr wrap="square">
            <a:spAutoFit/>
          </a:bodyPr>
          <a:lstStyle>
            <a:lvl1pPr>
              <a:defRPr sz="3265" b="1" baseline="0">
                <a:solidFill>
                  <a:schemeClr val="bg1"/>
                </a:solidFill>
                <a:latin typeface="+mj-lt"/>
                <a:ea typeface="+mj-ea"/>
                <a:cs typeface="+mj-cs"/>
                <a:sym typeface="+mj-lt"/>
              </a:defRPr>
            </a:lvl1pPr>
          </a:lstStyle>
          <a:p>
            <a:pPr lvl="0"/>
            <a:r>
              <a:rPr lang="en-US" noProof="0"/>
              <a:t>Click to edit Master title style</a:t>
            </a:r>
            <a:endParaRPr lang="fr-FR" noProof="0" dirty="0"/>
          </a:p>
        </p:txBody>
      </p:sp>
      <p:sp>
        <p:nvSpPr>
          <p:cNvPr id="13315" name="Rectangle 1027"/>
          <p:cNvSpPr>
            <a:spLocks noGrp="1" noChangeArrowheads="1"/>
          </p:cNvSpPr>
          <p:nvPr>
            <p:ph type="subTitle" idx="1"/>
          </p:nvPr>
        </p:nvSpPr>
        <p:spPr bwMode="ltGray">
          <a:xfrm>
            <a:off x="323829" y="2112885"/>
            <a:ext cx="5829441" cy="219820"/>
          </a:xfrm>
        </p:spPr>
        <p:txBody>
          <a:bodyPr wrap="square">
            <a:spAutoFit/>
          </a:bodyPr>
          <a:lstStyle>
            <a:lvl1pPr>
              <a:defRPr sz="1428" b="1" baseline="0">
                <a:solidFill>
                  <a:schemeClr val="bg1"/>
                </a:solidFill>
                <a:latin typeface="+mn-lt"/>
                <a:ea typeface="+mn-ea"/>
                <a:cs typeface="+mn-cs"/>
                <a:sym typeface="+mn-lt"/>
              </a:defRPr>
            </a:lvl1pPr>
          </a:lstStyle>
          <a:p>
            <a:pPr lvl="0"/>
            <a:r>
              <a:rPr lang="en-US" noProof="0"/>
              <a:t>Click to edit Master subtitle style</a:t>
            </a:r>
            <a:endParaRPr lang="fr-FR" noProof="0" dirty="0"/>
          </a:p>
        </p:txBody>
      </p:sp>
      <p:grpSp>
        <p:nvGrpSpPr>
          <p:cNvPr id="13545" name="Group 13544">
            <a:extLst>
              <a:ext uri="{FF2B5EF4-FFF2-40B4-BE49-F238E27FC236}">
                <a16:creationId xmlns:a16="http://schemas.microsoft.com/office/drawing/2014/main" id="{4C658A8A-D42D-46D4-B080-AD7BFE1FB15A}"/>
              </a:ext>
            </a:extLst>
          </p:cNvPr>
          <p:cNvGrpSpPr/>
          <p:nvPr userDrawn="1"/>
        </p:nvGrpSpPr>
        <p:grpSpPr bwMode="ltGray">
          <a:xfrm>
            <a:off x="8427681" y="344125"/>
            <a:ext cx="3418301" cy="1288578"/>
            <a:chOff x="8259786" y="337274"/>
            <a:chExt cx="3350202" cy="1262926"/>
          </a:xfrm>
        </p:grpSpPr>
        <p:sp>
          <p:nvSpPr>
            <p:cNvPr id="315" name="TextBox 314">
              <a:extLst>
                <a:ext uri="{FF2B5EF4-FFF2-40B4-BE49-F238E27FC236}">
                  <a16:creationId xmlns:a16="http://schemas.microsoft.com/office/drawing/2014/main" id="{DB6AE924-4E09-4FC5-A02E-66A1A22871A1}"/>
                </a:ext>
              </a:extLst>
            </p:cNvPr>
            <p:cNvSpPr txBox="1">
              <a:spLocks noChangeArrowheads="1"/>
            </p:cNvSpPr>
            <p:nvPr userDrawn="1"/>
          </p:nvSpPr>
          <p:spPr bwMode="ltGray">
            <a:xfrm>
              <a:off x="9308583" y="1408789"/>
              <a:ext cx="1688680" cy="191411"/>
            </a:xfrm>
            <a:custGeom>
              <a:avLst/>
              <a:gdLst/>
              <a:ahLst/>
              <a:cxnLst/>
              <a:rect l="l" t="t" r="r" b="b"/>
              <a:pathLst>
                <a:path w="1775138" h="201211">
                  <a:moveTo>
                    <a:pt x="1612059" y="57443"/>
                  </a:moveTo>
                  <a:cubicBezTo>
                    <a:pt x="1603502" y="57443"/>
                    <a:pt x="1596352" y="60938"/>
                    <a:pt x="1590612" y="67926"/>
                  </a:cubicBezTo>
                  <a:cubicBezTo>
                    <a:pt x="1584871" y="74915"/>
                    <a:pt x="1582001" y="85933"/>
                    <a:pt x="1582001" y="100980"/>
                  </a:cubicBezTo>
                  <a:cubicBezTo>
                    <a:pt x="1582001" y="115528"/>
                    <a:pt x="1585067" y="126403"/>
                    <a:pt x="1591200" y="133606"/>
                  </a:cubicBezTo>
                  <a:cubicBezTo>
                    <a:pt x="1597333" y="140809"/>
                    <a:pt x="1604571" y="144410"/>
                    <a:pt x="1612915" y="144410"/>
                  </a:cubicBezTo>
                  <a:cubicBezTo>
                    <a:pt x="1621330" y="144410"/>
                    <a:pt x="1628479" y="140969"/>
                    <a:pt x="1634363" y="134087"/>
                  </a:cubicBezTo>
                  <a:cubicBezTo>
                    <a:pt x="1640246" y="127206"/>
                    <a:pt x="1643188" y="116705"/>
                    <a:pt x="1643188" y="102585"/>
                  </a:cubicBezTo>
                  <a:cubicBezTo>
                    <a:pt x="1643188" y="87038"/>
                    <a:pt x="1640192" y="75628"/>
                    <a:pt x="1634202" y="68354"/>
                  </a:cubicBezTo>
                  <a:cubicBezTo>
                    <a:pt x="1628212" y="61080"/>
                    <a:pt x="1620831" y="57443"/>
                    <a:pt x="1612059" y="57443"/>
                  </a:cubicBezTo>
                  <a:close/>
                  <a:moveTo>
                    <a:pt x="596093" y="57443"/>
                  </a:moveTo>
                  <a:cubicBezTo>
                    <a:pt x="586466" y="57443"/>
                    <a:pt x="578479" y="61044"/>
                    <a:pt x="572132" y="68247"/>
                  </a:cubicBezTo>
                  <a:cubicBezTo>
                    <a:pt x="565785" y="75450"/>
                    <a:pt x="562612" y="86325"/>
                    <a:pt x="562612" y="100873"/>
                  </a:cubicBezTo>
                  <a:cubicBezTo>
                    <a:pt x="562612" y="115421"/>
                    <a:pt x="565785" y="126314"/>
                    <a:pt x="572132" y="133552"/>
                  </a:cubicBezTo>
                  <a:cubicBezTo>
                    <a:pt x="578479" y="140791"/>
                    <a:pt x="586466" y="144410"/>
                    <a:pt x="596093" y="144410"/>
                  </a:cubicBezTo>
                  <a:cubicBezTo>
                    <a:pt x="605649" y="144410"/>
                    <a:pt x="613601" y="140773"/>
                    <a:pt x="619948" y="133499"/>
                  </a:cubicBezTo>
                  <a:cubicBezTo>
                    <a:pt x="626295" y="126225"/>
                    <a:pt x="629468" y="115136"/>
                    <a:pt x="629468" y="100231"/>
                  </a:cubicBezTo>
                  <a:cubicBezTo>
                    <a:pt x="629468" y="86182"/>
                    <a:pt x="626277" y="75539"/>
                    <a:pt x="619894" y="68301"/>
                  </a:cubicBezTo>
                  <a:cubicBezTo>
                    <a:pt x="613512" y="61062"/>
                    <a:pt x="605578" y="57443"/>
                    <a:pt x="596093" y="57443"/>
                  </a:cubicBezTo>
                  <a:close/>
                  <a:moveTo>
                    <a:pt x="1244542" y="57336"/>
                  </a:moveTo>
                  <a:cubicBezTo>
                    <a:pt x="1235699" y="57336"/>
                    <a:pt x="1228265" y="60296"/>
                    <a:pt x="1222239" y="66215"/>
                  </a:cubicBezTo>
                  <a:cubicBezTo>
                    <a:pt x="1216213" y="72134"/>
                    <a:pt x="1212879" y="80050"/>
                    <a:pt x="1212237" y="89962"/>
                  </a:cubicBezTo>
                  <a:lnTo>
                    <a:pt x="1275670" y="89962"/>
                  </a:lnTo>
                  <a:cubicBezTo>
                    <a:pt x="1274815" y="80406"/>
                    <a:pt x="1272390" y="73239"/>
                    <a:pt x="1268396" y="68461"/>
                  </a:cubicBezTo>
                  <a:cubicBezTo>
                    <a:pt x="1262263" y="61044"/>
                    <a:pt x="1254312" y="57336"/>
                    <a:pt x="1244542" y="57336"/>
                  </a:cubicBezTo>
                  <a:close/>
                  <a:moveTo>
                    <a:pt x="949267" y="57336"/>
                  </a:moveTo>
                  <a:cubicBezTo>
                    <a:pt x="940424" y="57336"/>
                    <a:pt x="932990" y="60296"/>
                    <a:pt x="926964" y="66215"/>
                  </a:cubicBezTo>
                  <a:cubicBezTo>
                    <a:pt x="920938" y="72134"/>
                    <a:pt x="917604" y="80050"/>
                    <a:pt x="916962" y="89962"/>
                  </a:cubicBezTo>
                  <a:lnTo>
                    <a:pt x="980395" y="89962"/>
                  </a:lnTo>
                  <a:cubicBezTo>
                    <a:pt x="979540" y="80406"/>
                    <a:pt x="977115" y="73239"/>
                    <a:pt x="973122" y="68461"/>
                  </a:cubicBezTo>
                  <a:cubicBezTo>
                    <a:pt x="966988" y="61044"/>
                    <a:pt x="959037" y="57336"/>
                    <a:pt x="949267" y="57336"/>
                  </a:cubicBezTo>
                  <a:close/>
                  <a:moveTo>
                    <a:pt x="434917" y="57336"/>
                  </a:moveTo>
                  <a:cubicBezTo>
                    <a:pt x="426074" y="57336"/>
                    <a:pt x="418640" y="60296"/>
                    <a:pt x="412614" y="66215"/>
                  </a:cubicBezTo>
                  <a:cubicBezTo>
                    <a:pt x="406588" y="72134"/>
                    <a:pt x="403254" y="80050"/>
                    <a:pt x="402612" y="89962"/>
                  </a:cubicBezTo>
                  <a:lnTo>
                    <a:pt x="466045" y="89962"/>
                  </a:lnTo>
                  <a:cubicBezTo>
                    <a:pt x="465190" y="80406"/>
                    <a:pt x="462765" y="73239"/>
                    <a:pt x="458771" y="68461"/>
                  </a:cubicBezTo>
                  <a:cubicBezTo>
                    <a:pt x="452638" y="61044"/>
                    <a:pt x="444687" y="57336"/>
                    <a:pt x="434917" y="57336"/>
                  </a:cubicBezTo>
                  <a:close/>
                  <a:moveTo>
                    <a:pt x="206317" y="57336"/>
                  </a:moveTo>
                  <a:cubicBezTo>
                    <a:pt x="197474" y="57336"/>
                    <a:pt x="190040" y="60296"/>
                    <a:pt x="184014" y="66215"/>
                  </a:cubicBezTo>
                  <a:cubicBezTo>
                    <a:pt x="177988" y="72134"/>
                    <a:pt x="174654" y="80050"/>
                    <a:pt x="174012" y="89962"/>
                  </a:cubicBezTo>
                  <a:lnTo>
                    <a:pt x="237445" y="89962"/>
                  </a:lnTo>
                  <a:cubicBezTo>
                    <a:pt x="236590" y="80406"/>
                    <a:pt x="234165" y="73239"/>
                    <a:pt x="230171" y="68461"/>
                  </a:cubicBezTo>
                  <a:cubicBezTo>
                    <a:pt x="224039" y="61044"/>
                    <a:pt x="216087" y="57336"/>
                    <a:pt x="206317" y="57336"/>
                  </a:cubicBezTo>
                  <a:close/>
                  <a:moveTo>
                    <a:pt x="836786" y="56587"/>
                  </a:moveTo>
                  <a:cubicBezTo>
                    <a:pt x="828584" y="56587"/>
                    <a:pt x="821328" y="60420"/>
                    <a:pt x="815017" y="68087"/>
                  </a:cubicBezTo>
                  <a:cubicBezTo>
                    <a:pt x="808706" y="75753"/>
                    <a:pt x="805550" y="86896"/>
                    <a:pt x="805550" y="101515"/>
                  </a:cubicBezTo>
                  <a:cubicBezTo>
                    <a:pt x="805550" y="116134"/>
                    <a:pt x="808510" y="126938"/>
                    <a:pt x="814429" y="133927"/>
                  </a:cubicBezTo>
                  <a:cubicBezTo>
                    <a:pt x="820348" y="140916"/>
                    <a:pt x="827515" y="144410"/>
                    <a:pt x="835930" y="144410"/>
                  </a:cubicBezTo>
                  <a:cubicBezTo>
                    <a:pt x="844487" y="144410"/>
                    <a:pt x="851815" y="140791"/>
                    <a:pt x="857912" y="133552"/>
                  </a:cubicBezTo>
                  <a:cubicBezTo>
                    <a:pt x="864010" y="126314"/>
                    <a:pt x="867058" y="115100"/>
                    <a:pt x="867058" y="99910"/>
                  </a:cubicBezTo>
                  <a:cubicBezTo>
                    <a:pt x="867058" y="85434"/>
                    <a:pt x="864081" y="74594"/>
                    <a:pt x="858126" y="67391"/>
                  </a:cubicBezTo>
                  <a:cubicBezTo>
                    <a:pt x="852171" y="60189"/>
                    <a:pt x="845058" y="56587"/>
                    <a:pt x="836786" y="56587"/>
                  </a:cubicBezTo>
                  <a:close/>
                  <a:moveTo>
                    <a:pt x="722486" y="56587"/>
                  </a:moveTo>
                  <a:cubicBezTo>
                    <a:pt x="714285" y="56587"/>
                    <a:pt x="707028" y="60420"/>
                    <a:pt x="700717" y="68087"/>
                  </a:cubicBezTo>
                  <a:cubicBezTo>
                    <a:pt x="694406" y="75753"/>
                    <a:pt x="691250" y="86896"/>
                    <a:pt x="691250" y="101515"/>
                  </a:cubicBezTo>
                  <a:cubicBezTo>
                    <a:pt x="691250" y="116134"/>
                    <a:pt x="694210" y="126938"/>
                    <a:pt x="700129" y="133927"/>
                  </a:cubicBezTo>
                  <a:cubicBezTo>
                    <a:pt x="706048" y="140916"/>
                    <a:pt x="713215" y="144410"/>
                    <a:pt x="721630" y="144410"/>
                  </a:cubicBezTo>
                  <a:cubicBezTo>
                    <a:pt x="730187" y="144410"/>
                    <a:pt x="737515" y="140791"/>
                    <a:pt x="743612" y="133552"/>
                  </a:cubicBezTo>
                  <a:cubicBezTo>
                    <a:pt x="749710" y="126314"/>
                    <a:pt x="752758" y="115100"/>
                    <a:pt x="752758" y="99910"/>
                  </a:cubicBezTo>
                  <a:cubicBezTo>
                    <a:pt x="752758" y="85434"/>
                    <a:pt x="749781" y="74594"/>
                    <a:pt x="743826" y="67391"/>
                  </a:cubicBezTo>
                  <a:cubicBezTo>
                    <a:pt x="737871" y="60189"/>
                    <a:pt x="730758" y="56587"/>
                    <a:pt x="722486" y="56587"/>
                  </a:cubicBezTo>
                  <a:close/>
                  <a:moveTo>
                    <a:pt x="1683036" y="44072"/>
                  </a:moveTo>
                  <a:lnTo>
                    <a:pt x="1702291" y="44072"/>
                  </a:lnTo>
                  <a:lnTo>
                    <a:pt x="1702291" y="107077"/>
                  </a:lnTo>
                  <a:cubicBezTo>
                    <a:pt x="1702291" y="117133"/>
                    <a:pt x="1702683" y="123907"/>
                    <a:pt x="1703468" y="127402"/>
                  </a:cubicBezTo>
                  <a:cubicBezTo>
                    <a:pt x="1704680" y="132465"/>
                    <a:pt x="1707247" y="136441"/>
                    <a:pt x="1711169" y="139329"/>
                  </a:cubicBezTo>
                  <a:cubicBezTo>
                    <a:pt x="1715092" y="142217"/>
                    <a:pt x="1719941" y="143661"/>
                    <a:pt x="1725717" y="143661"/>
                  </a:cubicBezTo>
                  <a:cubicBezTo>
                    <a:pt x="1731494" y="143661"/>
                    <a:pt x="1736914" y="142181"/>
                    <a:pt x="1741977" y="139222"/>
                  </a:cubicBezTo>
                  <a:cubicBezTo>
                    <a:pt x="1747040" y="136262"/>
                    <a:pt x="1750624" y="132233"/>
                    <a:pt x="1752727" y="127134"/>
                  </a:cubicBezTo>
                  <a:cubicBezTo>
                    <a:pt x="1754831" y="122035"/>
                    <a:pt x="1755883" y="114637"/>
                    <a:pt x="1755883" y="104938"/>
                  </a:cubicBezTo>
                  <a:lnTo>
                    <a:pt x="1755883" y="44072"/>
                  </a:lnTo>
                  <a:lnTo>
                    <a:pt x="1775138" y="44072"/>
                  </a:lnTo>
                  <a:lnTo>
                    <a:pt x="1775138" y="157674"/>
                  </a:lnTo>
                  <a:lnTo>
                    <a:pt x="1757915" y="157674"/>
                  </a:lnTo>
                  <a:lnTo>
                    <a:pt x="1757915" y="140987"/>
                  </a:lnTo>
                  <a:cubicBezTo>
                    <a:pt x="1749073" y="153823"/>
                    <a:pt x="1737056" y="160242"/>
                    <a:pt x="1721866" y="160242"/>
                  </a:cubicBezTo>
                  <a:cubicBezTo>
                    <a:pt x="1715163" y="160242"/>
                    <a:pt x="1708905" y="158958"/>
                    <a:pt x="1703093" y="156391"/>
                  </a:cubicBezTo>
                  <a:cubicBezTo>
                    <a:pt x="1697281" y="153823"/>
                    <a:pt x="1692967" y="150596"/>
                    <a:pt x="1690150" y="146710"/>
                  </a:cubicBezTo>
                  <a:cubicBezTo>
                    <a:pt x="1687333" y="142823"/>
                    <a:pt x="1685354" y="138063"/>
                    <a:pt x="1684213" y="132429"/>
                  </a:cubicBezTo>
                  <a:cubicBezTo>
                    <a:pt x="1683429" y="128650"/>
                    <a:pt x="1683036" y="122659"/>
                    <a:pt x="1683036" y="114458"/>
                  </a:cubicBezTo>
                  <a:close/>
                  <a:moveTo>
                    <a:pt x="271629" y="44072"/>
                  </a:moveTo>
                  <a:lnTo>
                    <a:pt x="291954" y="44072"/>
                  </a:lnTo>
                  <a:lnTo>
                    <a:pt x="316343" y="112105"/>
                  </a:lnTo>
                  <a:cubicBezTo>
                    <a:pt x="318981" y="119450"/>
                    <a:pt x="321406" y="127081"/>
                    <a:pt x="323617" y="134997"/>
                  </a:cubicBezTo>
                  <a:cubicBezTo>
                    <a:pt x="325328" y="129006"/>
                    <a:pt x="327717" y="121804"/>
                    <a:pt x="330784" y="113389"/>
                  </a:cubicBezTo>
                  <a:lnTo>
                    <a:pt x="356029" y="44072"/>
                  </a:lnTo>
                  <a:lnTo>
                    <a:pt x="375818" y="44072"/>
                  </a:lnTo>
                  <a:lnTo>
                    <a:pt x="332816" y="157674"/>
                  </a:lnTo>
                  <a:lnTo>
                    <a:pt x="314845" y="157674"/>
                  </a:lnTo>
                  <a:close/>
                  <a:moveTo>
                    <a:pt x="1374999" y="41505"/>
                  </a:moveTo>
                  <a:cubicBezTo>
                    <a:pt x="1381845" y="41505"/>
                    <a:pt x="1388139" y="42735"/>
                    <a:pt x="1393880" y="45195"/>
                  </a:cubicBezTo>
                  <a:cubicBezTo>
                    <a:pt x="1399620" y="47655"/>
                    <a:pt x="1403917" y="50882"/>
                    <a:pt x="1406769" y="54876"/>
                  </a:cubicBezTo>
                  <a:cubicBezTo>
                    <a:pt x="1409622" y="58869"/>
                    <a:pt x="1411619" y="63612"/>
                    <a:pt x="1412760" y="69103"/>
                  </a:cubicBezTo>
                  <a:cubicBezTo>
                    <a:pt x="1413473" y="72669"/>
                    <a:pt x="1413829" y="78909"/>
                    <a:pt x="1413829" y="87823"/>
                  </a:cubicBezTo>
                  <a:lnTo>
                    <a:pt x="1413829" y="157674"/>
                  </a:lnTo>
                  <a:lnTo>
                    <a:pt x="1394575" y="157674"/>
                  </a:lnTo>
                  <a:lnTo>
                    <a:pt x="1394575" y="88571"/>
                  </a:lnTo>
                  <a:cubicBezTo>
                    <a:pt x="1394575" y="80727"/>
                    <a:pt x="1393826" y="74861"/>
                    <a:pt x="1392328" y="70975"/>
                  </a:cubicBezTo>
                  <a:cubicBezTo>
                    <a:pt x="1390831" y="67088"/>
                    <a:pt x="1388174" y="63986"/>
                    <a:pt x="1384359" y="61668"/>
                  </a:cubicBezTo>
                  <a:cubicBezTo>
                    <a:pt x="1380544" y="59351"/>
                    <a:pt x="1376069" y="58192"/>
                    <a:pt x="1370934" y="58192"/>
                  </a:cubicBezTo>
                  <a:cubicBezTo>
                    <a:pt x="1362733" y="58192"/>
                    <a:pt x="1355656" y="60795"/>
                    <a:pt x="1349701" y="66001"/>
                  </a:cubicBezTo>
                  <a:cubicBezTo>
                    <a:pt x="1343746" y="71207"/>
                    <a:pt x="1340769" y="81084"/>
                    <a:pt x="1340769" y="95632"/>
                  </a:cubicBezTo>
                  <a:lnTo>
                    <a:pt x="1340769" y="157674"/>
                  </a:lnTo>
                  <a:lnTo>
                    <a:pt x="1321514" y="157674"/>
                  </a:lnTo>
                  <a:lnTo>
                    <a:pt x="1321514" y="44072"/>
                  </a:lnTo>
                  <a:lnTo>
                    <a:pt x="1338843" y="44072"/>
                  </a:lnTo>
                  <a:lnTo>
                    <a:pt x="1338843" y="60224"/>
                  </a:lnTo>
                  <a:cubicBezTo>
                    <a:pt x="1347187" y="47745"/>
                    <a:pt x="1359239" y="41505"/>
                    <a:pt x="1374999" y="41505"/>
                  </a:cubicBezTo>
                  <a:close/>
                  <a:moveTo>
                    <a:pt x="1244328" y="41505"/>
                  </a:moveTo>
                  <a:cubicBezTo>
                    <a:pt x="1259518" y="41505"/>
                    <a:pt x="1271926" y="46675"/>
                    <a:pt x="1281554" y="57015"/>
                  </a:cubicBezTo>
                  <a:cubicBezTo>
                    <a:pt x="1291181" y="67356"/>
                    <a:pt x="1295995" y="81904"/>
                    <a:pt x="1295995" y="100659"/>
                  </a:cubicBezTo>
                  <a:cubicBezTo>
                    <a:pt x="1295995" y="101800"/>
                    <a:pt x="1295959" y="103512"/>
                    <a:pt x="1295888" y="105794"/>
                  </a:cubicBezTo>
                  <a:lnTo>
                    <a:pt x="1211167" y="105794"/>
                  </a:lnTo>
                  <a:cubicBezTo>
                    <a:pt x="1211880" y="118274"/>
                    <a:pt x="1215410" y="127830"/>
                    <a:pt x="1221757" y="134462"/>
                  </a:cubicBezTo>
                  <a:cubicBezTo>
                    <a:pt x="1228104" y="141094"/>
                    <a:pt x="1236020" y="144410"/>
                    <a:pt x="1245505" y="144410"/>
                  </a:cubicBezTo>
                  <a:cubicBezTo>
                    <a:pt x="1252565" y="144410"/>
                    <a:pt x="1258591" y="142556"/>
                    <a:pt x="1263583" y="138847"/>
                  </a:cubicBezTo>
                  <a:cubicBezTo>
                    <a:pt x="1268575" y="135139"/>
                    <a:pt x="1272533" y="129220"/>
                    <a:pt x="1275457" y="121090"/>
                  </a:cubicBezTo>
                  <a:lnTo>
                    <a:pt x="1295353" y="123551"/>
                  </a:lnTo>
                  <a:cubicBezTo>
                    <a:pt x="1292215" y="135175"/>
                    <a:pt x="1286403" y="144196"/>
                    <a:pt x="1277917" y="150614"/>
                  </a:cubicBezTo>
                  <a:cubicBezTo>
                    <a:pt x="1269430" y="157032"/>
                    <a:pt x="1258591" y="160242"/>
                    <a:pt x="1245398" y="160242"/>
                  </a:cubicBezTo>
                  <a:cubicBezTo>
                    <a:pt x="1228782" y="160242"/>
                    <a:pt x="1215607" y="155125"/>
                    <a:pt x="1205872" y="144891"/>
                  </a:cubicBezTo>
                  <a:cubicBezTo>
                    <a:pt x="1196138" y="134658"/>
                    <a:pt x="1191271" y="120306"/>
                    <a:pt x="1191271" y="101836"/>
                  </a:cubicBezTo>
                  <a:cubicBezTo>
                    <a:pt x="1191271" y="82724"/>
                    <a:pt x="1196192" y="67891"/>
                    <a:pt x="1206033" y="57336"/>
                  </a:cubicBezTo>
                  <a:cubicBezTo>
                    <a:pt x="1215874" y="46782"/>
                    <a:pt x="1228639" y="41505"/>
                    <a:pt x="1244328" y="41505"/>
                  </a:cubicBezTo>
                  <a:close/>
                  <a:moveTo>
                    <a:pt x="1077906" y="41505"/>
                  </a:moveTo>
                  <a:cubicBezTo>
                    <a:pt x="1086321" y="41505"/>
                    <a:pt x="1093220" y="43252"/>
                    <a:pt x="1098605" y="46746"/>
                  </a:cubicBezTo>
                  <a:cubicBezTo>
                    <a:pt x="1103989" y="50240"/>
                    <a:pt x="1107786" y="55125"/>
                    <a:pt x="1109997" y="61401"/>
                  </a:cubicBezTo>
                  <a:cubicBezTo>
                    <a:pt x="1118982" y="48137"/>
                    <a:pt x="1130678" y="41505"/>
                    <a:pt x="1145083" y="41505"/>
                  </a:cubicBezTo>
                  <a:cubicBezTo>
                    <a:pt x="1156351" y="41505"/>
                    <a:pt x="1165015" y="44625"/>
                    <a:pt x="1171077" y="50864"/>
                  </a:cubicBezTo>
                  <a:cubicBezTo>
                    <a:pt x="1177138" y="57104"/>
                    <a:pt x="1180169" y="66714"/>
                    <a:pt x="1180169" y="79693"/>
                  </a:cubicBezTo>
                  <a:lnTo>
                    <a:pt x="1180169" y="157674"/>
                  </a:lnTo>
                  <a:lnTo>
                    <a:pt x="1161022" y="157674"/>
                  </a:lnTo>
                  <a:lnTo>
                    <a:pt x="1161022" y="86111"/>
                  </a:lnTo>
                  <a:cubicBezTo>
                    <a:pt x="1161022" y="78409"/>
                    <a:pt x="1160398" y="72865"/>
                    <a:pt x="1159150" y="69477"/>
                  </a:cubicBezTo>
                  <a:cubicBezTo>
                    <a:pt x="1157902" y="66090"/>
                    <a:pt x="1155637" y="63362"/>
                    <a:pt x="1152357" y="61294"/>
                  </a:cubicBezTo>
                  <a:cubicBezTo>
                    <a:pt x="1149077" y="59226"/>
                    <a:pt x="1145226" y="58192"/>
                    <a:pt x="1140804" y="58192"/>
                  </a:cubicBezTo>
                  <a:cubicBezTo>
                    <a:pt x="1132817" y="58192"/>
                    <a:pt x="1126185" y="60848"/>
                    <a:pt x="1120908" y="66161"/>
                  </a:cubicBezTo>
                  <a:cubicBezTo>
                    <a:pt x="1115631" y="71474"/>
                    <a:pt x="1112992" y="79978"/>
                    <a:pt x="1112992" y="91674"/>
                  </a:cubicBezTo>
                  <a:lnTo>
                    <a:pt x="1112992" y="157674"/>
                  </a:lnTo>
                  <a:lnTo>
                    <a:pt x="1093737" y="157674"/>
                  </a:lnTo>
                  <a:lnTo>
                    <a:pt x="1093737" y="83865"/>
                  </a:lnTo>
                  <a:cubicBezTo>
                    <a:pt x="1093737" y="75307"/>
                    <a:pt x="1092168" y="68889"/>
                    <a:pt x="1089031" y="64610"/>
                  </a:cubicBezTo>
                  <a:cubicBezTo>
                    <a:pt x="1085893" y="60331"/>
                    <a:pt x="1080758" y="58192"/>
                    <a:pt x="1073627" y="58192"/>
                  </a:cubicBezTo>
                  <a:cubicBezTo>
                    <a:pt x="1068207" y="58192"/>
                    <a:pt x="1063197" y="59618"/>
                    <a:pt x="1058598" y="62471"/>
                  </a:cubicBezTo>
                  <a:cubicBezTo>
                    <a:pt x="1053998" y="65323"/>
                    <a:pt x="1050664" y="69495"/>
                    <a:pt x="1048596" y="74986"/>
                  </a:cubicBezTo>
                  <a:cubicBezTo>
                    <a:pt x="1046528" y="80477"/>
                    <a:pt x="1045494" y="88393"/>
                    <a:pt x="1045494" y="98734"/>
                  </a:cubicBezTo>
                  <a:lnTo>
                    <a:pt x="1045494" y="157674"/>
                  </a:lnTo>
                  <a:lnTo>
                    <a:pt x="1026239" y="157674"/>
                  </a:lnTo>
                  <a:lnTo>
                    <a:pt x="1026239" y="44072"/>
                  </a:lnTo>
                  <a:lnTo>
                    <a:pt x="1043461" y="44072"/>
                  </a:lnTo>
                  <a:lnTo>
                    <a:pt x="1043461" y="60010"/>
                  </a:lnTo>
                  <a:cubicBezTo>
                    <a:pt x="1047027" y="54448"/>
                    <a:pt x="1051769" y="49973"/>
                    <a:pt x="1057688" y="46586"/>
                  </a:cubicBezTo>
                  <a:cubicBezTo>
                    <a:pt x="1063607" y="43198"/>
                    <a:pt x="1070347" y="41505"/>
                    <a:pt x="1077906" y="41505"/>
                  </a:cubicBezTo>
                  <a:close/>
                  <a:moveTo>
                    <a:pt x="949053" y="41505"/>
                  </a:moveTo>
                  <a:cubicBezTo>
                    <a:pt x="964243" y="41505"/>
                    <a:pt x="976652" y="46675"/>
                    <a:pt x="986279" y="57015"/>
                  </a:cubicBezTo>
                  <a:cubicBezTo>
                    <a:pt x="995906" y="67356"/>
                    <a:pt x="1000720" y="81904"/>
                    <a:pt x="1000720" y="100659"/>
                  </a:cubicBezTo>
                  <a:cubicBezTo>
                    <a:pt x="1000720" y="101800"/>
                    <a:pt x="1000684" y="103512"/>
                    <a:pt x="1000613" y="105794"/>
                  </a:cubicBezTo>
                  <a:lnTo>
                    <a:pt x="915892" y="105794"/>
                  </a:lnTo>
                  <a:cubicBezTo>
                    <a:pt x="916605" y="118274"/>
                    <a:pt x="920136" y="127830"/>
                    <a:pt x="926483" y="134462"/>
                  </a:cubicBezTo>
                  <a:cubicBezTo>
                    <a:pt x="932829" y="141094"/>
                    <a:pt x="940745" y="144410"/>
                    <a:pt x="950230" y="144410"/>
                  </a:cubicBezTo>
                  <a:cubicBezTo>
                    <a:pt x="957290" y="144410"/>
                    <a:pt x="963316" y="142556"/>
                    <a:pt x="968308" y="138847"/>
                  </a:cubicBezTo>
                  <a:cubicBezTo>
                    <a:pt x="973300" y="135139"/>
                    <a:pt x="977258" y="129220"/>
                    <a:pt x="980182" y="121090"/>
                  </a:cubicBezTo>
                  <a:lnTo>
                    <a:pt x="1000078" y="123551"/>
                  </a:lnTo>
                  <a:cubicBezTo>
                    <a:pt x="996940" y="135175"/>
                    <a:pt x="991128" y="144196"/>
                    <a:pt x="982642" y="150614"/>
                  </a:cubicBezTo>
                  <a:cubicBezTo>
                    <a:pt x="974155" y="157032"/>
                    <a:pt x="963316" y="160242"/>
                    <a:pt x="950123" y="160242"/>
                  </a:cubicBezTo>
                  <a:cubicBezTo>
                    <a:pt x="933507" y="160242"/>
                    <a:pt x="920332" y="155125"/>
                    <a:pt x="910597" y="144891"/>
                  </a:cubicBezTo>
                  <a:cubicBezTo>
                    <a:pt x="900863" y="134658"/>
                    <a:pt x="895996" y="120306"/>
                    <a:pt x="895996" y="101836"/>
                  </a:cubicBezTo>
                  <a:cubicBezTo>
                    <a:pt x="895996" y="82724"/>
                    <a:pt x="900917" y="67891"/>
                    <a:pt x="910758" y="57336"/>
                  </a:cubicBezTo>
                  <a:cubicBezTo>
                    <a:pt x="920599" y="46782"/>
                    <a:pt x="933364" y="41505"/>
                    <a:pt x="949053" y="41505"/>
                  </a:cubicBezTo>
                  <a:close/>
                  <a:moveTo>
                    <a:pt x="838604" y="41505"/>
                  </a:moveTo>
                  <a:cubicBezTo>
                    <a:pt x="848303" y="41505"/>
                    <a:pt x="856860" y="44001"/>
                    <a:pt x="864277" y="48993"/>
                  </a:cubicBezTo>
                  <a:cubicBezTo>
                    <a:pt x="871694" y="53984"/>
                    <a:pt x="877292" y="61027"/>
                    <a:pt x="881071" y="70119"/>
                  </a:cubicBezTo>
                  <a:cubicBezTo>
                    <a:pt x="884851" y="79212"/>
                    <a:pt x="886741" y="89178"/>
                    <a:pt x="886741" y="100017"/>
                  </a:cubicBezTo>
                  <a:cubicBezTo>
                    <a:pt x="886741" y="111641"/>
                    <a:pt x="884655" y="122107"/>
                    <a:pt x="880483" y="131413"/>
                  </a:cubicBezTo>
                  <a:cubicBezTo>
                    <a:pt x="876311" y="140719"/>
                    <a:pt x="870249" y="147851"/>
                    <a:pt x="862298" y="152807"/>
                  </a:cubicBezTo>
                  <a:cubicBezTo>
                    <a:pt x="854347" y="157763"/>
                    <a:pt x="845985" y="160242"/>
                    <a:pt x="837214" y="160242"/>
                  </a:cubicBezTo>
                  <a:cubicBezTo>
                    <a:pt x="830795" y="160242"/>
                    <a:pt x="825037" y="158887"/>
                    <a:pt x="819938" y="156177"/>
                  </a:cubicBezTo>
                  <a:cubicBezTo>
                    <a:pt x="814839" y="153467"/>
                    <a:pt x="810649" y="150044"/>
                    <a:pt x="807369" y="145908"/>
                  </a:cubicBezTo>
                  <a:lnTo>
                    <a:pt x="807369" y="201211"/>
                  </a:lnTo>
                  <a:lnTo>
                    <a:pt x="788114" y="201211"/>
                  </a:lnTo>
                  <a:lnTo>
                    <a:pt x="788114" y="44072"/>
                  </a:lnTo>
                  <a:lnTo>
                    <a:pt x="805657" y="44072"/>
                  </a:lnTo>
                  <a:lnTo>
                    <a:pt x="805657" y="58834"/>
                  </a:lnTo>
                  <a:cubicBezTo>
                    <a:pt x="809793" y="53057"/>
                    <a:pt x="814464" y="48725"/>
                    <a:pt x="819670" y="45837"/>
                  </a:cubicBezTo>
                  <a:cubicBezTo>
                    <a:pt x="824876" y="42949"/>
                    <a:pt x="831187" y="41505"/>
                    <a:pt x="838604" y="41505"/>
                  </a:cubicBezTo>
                  <a:close/>
                  <a:moveTo>
                    <a:pt x="724304" y="41505"/>
                  </a:moveTo>
                  <a:cubicBezTo>
                    <a:pt x="734003" y="41505"/>
                    <a:pt x="742560" y="44001"/>
                    <a:pt x="749977" y="48993"/>
                  </a:cubicBezTo>
                  <a:cubicBezTo>
                    <a:pt x="757394" y="53984"/>
                    <a:pt x="762992" y="61027"/>
                    <a:pt x="766771" y="70119"/>
                  </a:cubicBezTo>
                  <a:cubicBezTo>
                    <a:pt x="770551" y="79212"/>
                    <a:pt x="772441" y="89178"/>
                    <a:pt x="772441" y="100017"/>
                  </a:cubicBezTo>
                  <a:cubicBezTo>
                    <a:pt x="772441" y="111641"/>
                    <a:pt x="770355" y="122107"/>
                    <a:pt x="766183" y="131413"/>
                  </a:cubicBezTo>
                  <a:cubicBezTo>
                    <a:pt x="762011" y="140719"/>
                    <a:pt x="755949" y="147851"/>
                    <a:pt x="747998" y="152807"/>
                  </a:cubicBezTo>
                  <a:cubicBezTo>
                    <a:pt x="740047" y="157763"/>
                    <a:pt x="731685" y="160242"/>
                    <a:pt x="722913" y="160242"/>
                  </a:cubicBezTo>
                  <a:cubicBezTo>
                    <a:pt x="716495" y="160242"/>
                    <a:pt x="710737" y="158887"/>
                    <a:pt x="705638" y="156177"/>
                  </a:cubicBezTo>
                  <a:cubicBezTo>
                    <a:pt x="700539" y="153467"/>
                    <a:pt x="696349" y="150044"/>
                    <a:pt x="693069" y="145908"/>
                  </a:cubicBezTo>
                  <a:lnTo>
                    <a:pt x="693069" y="201211"/>
                  </a:lnTo>
                  <a:lnTo>
                    <a:pt x="673814" y="201211"/>
                  </a:lnTo>
                  <a:lnTo>
                    <a:pt x="673814" y="44072"/>
                  </a:lnTo>
                  <a:lnTo>
                    <a:pt x="691357" y="44072"/>
                  </a:lnTo>
                  <a:lnTo>
                    <a:pt x="691357" y="58834"/>
                  </a:lnTo>
                  <a:cubicBezTo>
                    <a:pt x="695493" y="53057"/>
                    <a:pt x="700164" y="48725"/>
                    <a:pt x="705370" y="45837"/>
                  </a:cubicBezTo>
                  <a:cubicBezTo>
                    <a:pt x="710576" y="42949"/>
                    <a:pt x="716888" y="41505"/>
                    <a:pt x="724304" y="41505"/>
                  </a:cubicBezTo>
                  <a:close/>
                  <a:moveTo>
                    <a:pt x="596093" y="41505"/>
                  </a:moveTo>
                  <a:cubicBezTo>
                    <a:pt x="611711" y="41505"/>
                    <a:pt x="624476" y="46621"/>
                    <a:pt x="634389" y="56855"/>
                  </a:cubicBezTo>
                  <a:cubicBezTo>
                    <a:pt x="644301" y="67088"/>
                    <a:pt x="649257" y="81226"/>
                    <a:pt x="649257" y="99269"/>
                  </a:cubicBezTo>
                  <a:cubicBezTo>
                    <a:pt x="649257" y="113888"/>
                    <a:pt x="647065" y="125387"/>
                    <a:pt x="642679" y="133766"/>
                  </a:cubicBezTo>
                  <a:cubicBezTo>
                    <a:pt x="638293" y="142146"/>
                    <a:pt x="631911" y="148653"/>
                    <a:pt x="623531" y="153288"/>
                  </a:cubicBezTo>
                  <a:cubicBezTo>
                    <a:pt x="615152" y="157924"/>
                    <a:pt x="606006" y="160242"/>
                    <a:pt x="596093" y="160242"/>
                  </a:cubicBezTo>
                  <a:cubicBezTo>
                    <a:pt x="580190" y="160242"/>
                    <a:pt x="567336" y="155143"/>
                    <a:pt x="557531" y="144945"/>
                  </a:cubicBezTo>
                  <a:cubicBezTo>
                    <a:pt x="547725" y="134747"/>
                    <a:pt x="542822" y="120056"/>
                    <a:pt x="542822" y="100873"/>
                  </a:cubicBezTo>
                  <a:cubicBezTo>
                    <a:pt x="542822" y="79836"/>
                    <a:pt x="548670" y="64254"/>
                    <a:pt x="560365" y="54127"/>
                  </a:cubicBezTo>
                  <a:cubicBezTo>
                    <a:pt x="570135" y="45712"/>
                    <a:pt x="582045" y="41505"/>
                    <a:pt x="596093" y="41505"/>
                  </a:cubicBezTo>
                  <a:close/>
                  <a:moveTo>
                    <a:pt x="434703" y="41505"/>
                  </a:moveTo>
                  <a:cubicBezTo>
                    <a:pt x="449893" y="41505"/>
                    <a:pt x="462301" y="46675"/>
                    <a:pt x="471929" y="57015"/>
                  </a:cubicBezTo>
                  <a:cubicBezTo>
                    <a:pt x="481556" y="67356"/>
                    <a:pt x="486370" y="81904"/>
                    <a:pt x="486370" y="100659"/>
                  </a:cubicBezTo>
                  <a:cubicBezTo>
                    <a:pt x="486370" y="101800"/>
                    <a:pt x="486334" y="103512"/>
                    <a:pt x="486263" y="105794"/>
                  </a:cubicBezTo>
                  <a:lnTo>
                    <a:pt x="401542" y="105794"/>
                  </a:lnTo>
                  <a:cubicBezTo>
                    <a:pt x="402255" y="118274"/>
                    <a:pt x="405785" y="127830"/>
                    <a:pt x="412132" y="134462"/>
                  </a:cubicBezTo>
                  <a:cubicBezTo>
                    <a:pt x="418479" y="141094"/>
                    <a:pt x="426395" y="144410"/>
                    <a:pt x="435880" y="144410"/>
                  </a:cubicBezTo>
                  <a:cubicBezTo>
                    <a:pt x="442940" y="144410"/>
                    <a:pt x="448966" y="142556"/>
                    <a:pt x="453958" y="138847"/>
                  </a:cubicBezTo>
                  <a:cubicBezTo>
                    <a:pt x="458950" y="135139"/>
                    <a:pt x="462908" y="129220"/>
                    <a:pt x="465832" y="121090"/>
                  </a:cubicBezTo>
                  <a:lnTo>
                    <a:pt x="485728" y="123551"/>
                  </a:lnTo>
                  <a:cubicBezTo>
                    <a:pt x="482590" y="135175"/>
                    <a:pt x="476778" y="144196"/>
                    <a:pt x="468292" y="150614"/>
                  </a:cubicBezTo>
                  <a:cubicBezTo>
                    <a:pt x="459805" y="157032"/>
                    <a:pt x="448966" y="160242"/>
                    <a:pt x="435773" y="160242"/>
                  </a:cubicBezTo>
                  <a:cubicBezTo>
                    <a:pt x="419157" y="160242"/>
                    <a:pt x="405982" y="155125"/>
                    <a:pt x="396247" y="144891"/>
                  </a:cubicBezTo>
                  <a:cubicBezTo>
                    <a:pt x="386513" y="134658"/>
                    <a:pt x="381646" y="120306"/>
                    <a:pt x="381646" y="101836"/>
                  </a:cubicBezTo>
                  <a:cubicBezTo>
                    <a:pt x="381646" y="82724"/>
                    <a:pt x="386567" y="67891"/>
                    <a:pt x="396408" y="57336"/>
                  </a:cubicBezTo>
                  <a:cubicBezTo>
                    <a:pt x="406249" y="46782"/>
                    <a:pt x="419014" y="41505"/>
                    <a:pt x="434703" y="41505"/>
                  </a:cubicBezTo>
                  <a:close/>
                  <a:moveTo>
                    <a:pt x="206103" y="41505"/>
                  </a:moveTo>
                  <a:cubicBezTo>
                    <a:pt x="221293" y="41505"/>
                    <a:pt x="233701" y="46675"/>
                    <a:pt x="243329" y="57015"/>
                  </a:cubicBezTo>
                  <a:cubicBezTo>
                    <a:pt x="252956" y="67356"/>
                    <a:pt x="257770" y="81904"/>
                    <a:pt x="257770" y="100659"/>
                  </a:cubicBezTo>
                  <a:cubicBezTo>
                    <a:pt x="257770" y="101800"/>
                    <a:pt x="257734" y="103512"/>
                    <a:pt x="257663" y="105794"/>
                  </a:cubicBezTo>
                  <a:lnTo>
                    <a:pt x="172942" y="105794"/>
                  </a:lnTo>
                  <a:cubicBezTo>
                    <a:pt x="173656" y="118274"/>
                    <a:pt x="177186" y="127830"/>
                    <a:pt x="183532" y="134462"/>
                  </a:cubicBezTo>
                  <a:cubicBezTo>
                    <a:pt x="189879" y="141094"/>
                    <a:pt x="197795" y="144410"/>
                    <a:pt x="207280" y="144410"/>
                  </a:cubicBezTo>
                  <a:cubicBezTo>
                    <a:pt x="214340" y="144410"/>
                    <a:pt x="220366" y="142556"/>
                    <a:pt x="225358" y="138847"/>
                  </a:cubicBezTo>
                  <a:cubicBezTo>
                    <a:pt x="230350" y="135139"/>
                    <a:pt x="234308" y="129220"/>
                    <a:pt x="237232" y="121090"/>
                  </a:cubicBezTo>
                  <a:lnTo>
                    <a:pt x="257128" y="123551"/>
                  </a:lnTo>
                  <a:cubicBezTo>
                    <a:pt x="253990" y="135175"/>
                    <a:pt x="248178" y="144196"/>
                    <a:pt x="239692" y="150614"/>
                  </a:cubicBezTo>
                  <a:cubicBezTo>
                    <a:pt x="231205" y="157032"/>
                    <a:pt x="220366" y="160242"/>
                    <a:pt x="207173" y="160242"/>
                  </a:cubicBezTo>
                  <a:cubicBezTo>
                    <a:pt x="190557" y="160242"/>
                    <a:pt x="177382" y="155125"/>
                    <a:pt x="167647" y="144891"/>
                  </a:cubicBezTo>
                  <a:cubicBezTo>
                    <a:pt x="157913" y="134658"/>
                    <a:pt x="153046" y="120306"/>
                    <a:pt x="153046" y="101836"/>
                  </a:cubicBezTo>
                  <a:cubicBezTo>
                    <a:pt x="153046" y="82724"/>
                    <a:pt x="157967" y="67891"/>
                    <a:pt x="167808" y="57336"/>
                  </a:cubicBezTo>
                  <a:cubicBezTo>
                    <a:pt x="177649" y="46782"/>
                    <a:pt x="190414" y="41505"/>
                    <a:pt x="206103" y="41505"/>
                  </a:cubicBezTo>
                  <a:close/>
                  <a:moveTo>
                    <a:pt x="20752" y="19362"/>
                  </a:moveTo>
                  <a:lnTo>
                    <a:pt x="20752" y="139168"/>
                  </a:lnTo>
                  <a:lnTo>
                    <a:pt x="54233" y="139168"/>
                  </a:lnTo>
                  <a:cubicBezTo>
                    <a:pt x="64574" y="139168"/>
                    <a:pt x="72686" y="138206"/>
                    <a:pt x="78569" y="136280"/>
                  </a:cubicBezTo>
                  <a:cubicBezTo>
                    <a:pt x="84452" y="134355"/>
                    <a:pt x="89141" y="131645"/>
                    <a:pt x="92636" y="128150"/>
                  </a:cubicBezTo>
                  <a:cubicBezTo>
                    <a:pt x="97556" y="123230"/>
                    <a:pt x="101389" y="116616"/>
                    <a:pt x="104135" y="108307"/>
                  </a:cubicBezTo>
                  <a:cubicBezTo>
                    <a:pt x="106881" y="99999"/>
                    <a:pt x="108253" y="89926"/>
                    <a:pt x="108253" y="78088"/>
                  </a:cubicBezTo>
                  <a:cubicBezTo>
                    <a:pt x="108253" y="61686"/>
                    <a:pt x="105561" y="49082"/>
                    <a:pt x="100177" y="40274"/>
                  </a:cubicBezTo>
                  <a:cubicBezTo>
                    <a:pt x="94793" y="31467"/>
                    <a:pt x="88250" y="25566"/>
                    <a:pt x="80548" y="22571"/>
                  </a:cubicBezTo>
                  <a:cubicBezTo>
                    <a:pt x="74986" y="20431"/>
                    <a:pt x="66036" y="19362"/>
                    <a:pt x="53698" y="19362"/>
                  </a:cubicBezTo>
                  <a:close/>
                  <a:moveTo>
                    <a:pt x="1458492" y="4386"/>
                  </a:moveTo>
                  <a:lnTo>
                    <a:pt x="1458492" y="44072"/>
                  </a:lnTo>
                  <a:lnTo>
                    <a:pt x="1477853" y="44072"/>
                  </a:lnTo>
                  <a:lnTo>
                    <a:pt x="1477853" y="59048"/>
                  </a:lnTo>
                  <a:lnTo>
                    <a:pt x="1458492" y="59048"/>
                  </a:lnTo>
                  <a:lnTo>
                    <a:pt x="1458492" y="125476"/>
                  </a:lnTo>
                  <a:cubicBezTo>
                    <a:pt x="1458492" y="130967"/>
                    <a:pt x="1458830" y="134497"/>
                    <a:pt x="1459508" y="136066"/>
                  </a:cubicBezTo>
                  <a:cubicBezTo>
                    <a:pt x="1460185" y="137635"/>
                    <a:pt x="1461291" y="138883"/>
                    <a:pt x="1462824" y="139810"/>
                  </a:cubicBezTo>
                  <a:cubicBezTo>
                    <a:pt x="1464357" y="140737"/>
                    <a:pt x="1466550" y="141201"/>
                    <a:pt x="1469403" y="141201"/>
                  </a:cubicBezTo>
                  <a:cubicBezTo>
                    <a:pt x="1471542" y="141201"/>
                    <a:pt x="1474359" y="140951"/>
                    <a:pt x="1477853" y="140452"/>
                  </a:cubicBezTo>
                  <a:lnTo>
                    <a:pt x="1480635" y="157460"/>
                  </a:lnTo>
                  <a:cubicBezTo>
                    <a:pt x="1475215" y="158601"/>
                    <a:pt x="1470366" y="159172"/>
                    <a:pt x="1466087" y="159172"/>
                  </a:cubicBezTo>
                  <a:cubicBezTo>
                    <a:pt x="1459098" y="159172"/>
                    <a:pt x="1453678" y="158066"/>
                    <a:pt x="1449827" y="155856"/>
                  </a:cubicBezTo>
                  <a:cubicBezTo>
                    <a:pt x="1445976" y="153645"/>
                    <a:pt x="1443266" y="150739"/>
                    <a:pt x="1441698" y="147138"/>
                  </a:cubicBezTo>
                  <a:cubicBezTo>
                    <a:pt x="1440129" y="143536"/>
                    <a:pt x="1439344" y="135959"/>
                    <a:pt x="1439344" y="124407"/>
                  </a:cubicBezTo>
                  <a:lnTo>
                    <a:pt x="1439344" y="59048"/>
                  </a:lnTo>
                  <a:lnTo>
                    <a:pt x="1425224" y="59048"/>
                  </a:lnTo>
                  <a:lnTo>
                    <a:pt x="1425224" y="44072"/>
                  </a:lnTo>
                  <a:lnTo>
                    <a:pt x="1439344" y="44072"/>
                  </a:lnTo>
                  <a:lnTo>
                    <a:pt x="1439344" y="15939"/>
                  </a:lnTo>
                  <a:close/>
                  <a:moveTo>
                    <a:pt x="1641583" y="856"/>
                  </a:moveTo>
                  <a:lnTo>
                    <a:pt x="1660731" y="856"/>
                  </a:lnTo>
                  <a:lnTo>
                    <a:pt x="1660731" y="157674"/>
                  </a:lnTo>
                  <a:lnTo>
                    <a:pt x="1642867" y="157674"/>
                  </a:lnTo>
                  <a:lnTo>
                    <a:pt x="1642867" y="143340"/>
                  </a:lnTo>
                  <a:cubicBezTo>
                    <a:pt x="1635664" y="154608"/>
                    <a:pt x="1625074" y="160242"/>
                    <a:pt x="1611096" y="160242"/>
                  </a:cubicBezTo>
                  <a:cubicBezTo>
                    <a:pt x="1602040" y="160242"/>
                    <a:pt x="1593714" y="157746"/>
                    <a:pt x="1586119" y="152754"/>
                  </a:cubicBezTo>
                  <a:cubicBezTo>
                    <a:pt x="1578524" y="147762"/>
                    <a:pt x="1572641" y="140791"/>
                    <a:pt x="1568469" y="131841"/>
                  </a:cubicBezTo>
                  <a:cubicBezTo>
                    <a:pt x="1564297" y="122891"/>
                    <a:pt x="1562211" y="112604"/>
                    <a:pt x="1562211" y="100980"/>
                  </a:cubicBezTo>
                  <a:cubicBezTo>
                    <a:pt x="1562211" y="89641"/>
                    <a:pt x="1564101" y="79354"/>
                    <a:pt x="1567881" y="70119"/>
                  </a:cubicBezTo>
                  <a:cubicBezTo>
                    <a:pt x="1571660" y="60884"/>
                    <a:pt x="1577330" y="53806"/>
                    <a:pt x="1584889" y="48886"/>
                  </a:cubicBezTo>
                  <a:cubicBezTo>
                    <a:pt x="1592448" y="43965"/>
                    <a:pt x="1600899" y="41505"/>
                    <a:pt x="1610241" y="41505"/>
                  </a:cubicBezTo>
                  <a:cubicBezTo>
                    <a:pt x="1617087" y="41505"/>
                    <a:pt x="1623184" y="42949"/>
                    <a:pt x="1628533" y="45837"/>
                  </a:cubicBezTo>
                  <a:cubicBezTo>
                    <a:pt x="1633881" y="48725"/>
                    <a:pt x="1638231" y="52487"/>
                    <a:pt x="1641583" y="57122"/>
                  </a:cubicBezTo>
                  <a:close/>
                  <a:moveTo>
                    <a:pt x="511461" y="856"/>
                  </a:moveTo>
                  <a:lnTo>
                    <a:pt x="530716" y="856"/>
                  </a:lnTo>
                  <a:lnTo>
                    <a:pt x="530716" y="157674"/>
                  </a:lnTo>
                  <a:lnTo>
                    <a:pt x="511461" y="157674"/>
                  </a:lnTo>
                  <a:close/>
                  <a:moveTo>
                    <a:pt x="0" y="856"/>
                  </a:moveTo>
                  <a:lnTo>
                    <a:pt x="54019" y="856"/>
                  </a:lnTo>
                  <a:cubicBezTo>
                    <a:pt x="66214" y="856"/>
                    <a:pt x="75520" y="1605"/>
                    <a:pt x="81939" y="3102"/>
                  </a:cubicBezTo>
                  <a:cubicBezTo>
                    <a:pt x="90924" y="5170"/>
                    <a:pt x="98590" y="8914"/>
                    <a:pt x="104937" y="14334"/>
                  </a:cubicBezTo>
                  <a:cubicBezTo>
                    <a:pt x="113210" y="21323"/>
                    <a:pt x="119396" y="30255"/>
                    <a:pt x="123496" y="41130"/>
                  </a:cubicBezTo>
                  <a:cubicBezTo>
                    <a:pt x="127597" y="52006"/>
                    <a:pt x="129647" y="64432"/>
                    <a:pt x="129647" y="78409"/>
                  </a:cubicBezTo>
                  <a:cubicBezTo>
                    <a:pt x="129647" y="90319"/>
                    <a:pt x="128257" y="100873"/>
                    <a:pt x="125476" y="110072"/>
                  </a:cubicBezTo>
                  <a:cubicBezTo>
                    <a:pt x="122694" y="119272"/>
                    <a:pt x="119129" y="126885"/>
                    <a:pt x="114778" y="132911"/>
                  </a:cubicBezTo>
                  <a:cubicBezTo>
                    <a:pt x="110428" y="138937"/>
                    <a:pt x="105668" y="143679"/>
                    <a:pt x="100498" y="147138"/>
                  </a:cubicBezTo>
                  <a:cubicBezTo>
                    <a:pt x="95328" y="150596"/>
                    <a:pt x="89088" y="153217"/>
                    <a:pt x="81778" y="155000"/>
                  </a:cubicBezTo>
                  <a:cubicBezTo>
                    <a:pt x="74469" y="156783"/>
                    <a:pt x="66071" y="157674"/>
                    <a:pt x="56587" y="157674"/>
                  </a:cubicBezTo>
                  <a:lnTo>
                    <a:pt x="0" y="157674"/>
                  </a:lnTo>
                  <a:close/>
                  <a:moveTo>
                    <a:pt x="208991" y="0"/>
                  </a:moveTo>
                  <a:lnTo>
                    <a:pt x="234236" y="0"/>
                  </a:lnTo>
                  <a:lnTo>
                    <a:pt x="210703" y="29952"/>
                  </a:lnTo>
                  <a:lnTo>
                    <a:pt x="194764" y="29952"/>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FF000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nvGrpSpPr>
            <p:cNvPr id="13544" name="Group 13543">
              <a:extLst>
                <a:ext uri="{FF2B5EF4-FFF2-40B4-BE49-F238E27FC236}">
                  <a16:creationId xmlns:a16="http://schemas.microsoft.com/office/drawing/2014/main" id="{23F0A374-3931-4476-BE6E-27BFF047AE78}"/>
                </a:ext>
              </a:extLst>
            </p:cNvPr>
            <p:cNvGrpSpPr/>
            <p:nvPr userDrawn="1"/>
          </p:nvGrpSpPr>
          <p:grpSpPr bwMode="ltGray">
            <a:xfrm>
              <a:off x="8270055" y="396357"/>
              <a:ext cx="711995" cy="783280"/>
              <a:chOff x="7337055" y="653091"/>
              <a:chExt cx="748448" cy="823383"/>
            </a:xfrm>
            <a:solidFill>
              <a:schemeClr val="bg1"/>
            </a:solidFill>
          </p:grpSpPr>
          <p:sp>
            <p:nvSpPr>
              <p:cNvPr id="4" name="Rectangle 3">
                <a:extLst>
                  <a:ext uri="{FF2B5EF4-FFF2-40B4-BE49-F238E27FC236}">
                    <a16:creationId xmlns:a16="http://schemas.microsoft.com/office/drawing/2014/main" id="{98CDBCD8-46CE-4273-8E0C-D70702031D21}"/>
                  </a:ext>
                </a:extLst>
              </p:cNvPr>
              <p:cNvSpPr/>
              <p:nvPr userDrawn="1"/>
            </p:nvSpPr>
            <p:spPr bwMode="ltGray">
              <a:xfrm>
                <a:off x="7386013" y="826669"/>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294" name="Rectangle 293">
                <a:extLst>
                  <a:ext uri="{FF2B5EF4-FFF2-40B4-BE49-F238E27FC236}">
                    <a16:creationId xmlns:a16="http://schemas.microsoft.com/office/drawing/2014/main" id="{F5F1CAD4-2A18-4ED1-A336-6CD395A527AA}"/>
                  </a:ext>
                </a:extLst>
              </p:cNvPr>
              <p:cNvSpPr/>
              <p:nvPr userDrawn="1"/>
            </p:nvSpPr>
            <p:spPr bwMode="ltGray">
              <a:xfrm>
                <a:off x="7337055" y="1156024"/>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5" name="Freeform: Shape 4">
                <a:extLst>
                  <a:ext uri="{FF2B5EF4-FFF2-40B4-BE49-F238E27FC236}">
                    <a16:creationId xmlns:a16="http://schemas.microsoft.com/office/drawing/2014/main" id="{69962688-C634-4B29-9C05-C0A3688B1CDD}"/>
                  </a:ext>
                </a:extLst>
              </p:cNvPr>
              <p:cNvSpPr/>
              <p:nvPr userDrawn="1"/>
            </p:nvSpPr>
            <p:spPr bwMode="ltGray">
              <a:xfrm>
                <a:off x="7391190"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297" name="Freeform: Shape 296">
                <a:extLst>
                  <a:ext uri="{FF2B5EF4-FFF2-40B4-BE49-F238E27FC236}">
                    <a16:creationId xmlns:a16="http://schemas.microsoft.com/office/drawing/2014/main" id="{013A569D-159B-4C88-B6E9-B2BDF7E5743F}"/>
                  </a:ext>
                </a:extLst>
              </p:cNvPr>
              <p:cNvSpPr/>
              <p:nvPr userDrawn="1"/>
            </p:nvSpPr>
            <p:spPr bwMode="ltGray">
              <a:xfrm>
                <a:off x="7719802"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grpSp>
        <p:grpSp>
          <p:nvGrpSpPr>
            <p:cNvPr id="13551" name="Group 13550">
              <a:extLst>
                <a:ext uri="{FF2B5EF4-FFF2-40B4-BE49-F238E27FC236}">
                  <a16:creationId xmlns:a16="http://schemas.microsoft.com/office/drawing/2014/main" id="{35F56BA5-7167-4A4B-AAFA-A22F384310E3}"/>
                </a:ext>
              </a:extLst>
            </p:cNvPr>
            <p:cNvGrpSpPr/>
            <p:nvPr userDrawn="1"/>
          </p:nvGrpSpPr>
          <p:grpSpPr bwMode="ltGray">
            <a:xfrm>
              <a:off x="9028174" y="337274"/>
              <a:ext cx="2553305" cy="892245"/>
              <a:chOff x="8133988" y="590983"/>
              <a:chExt cx="2684031" cy="937927"/>
            </a:xfrm>
          </p:grpSpPr>
          <p:cxnSp>
            <p:nvCxnSpPr>
              <p:cNvPr id="13547" name="Straight Connector 13546">
                <a:extLst>
                  <a:ext uri="{FF2B5EF4-FFF2-40B4-BE49-F238E27FC236}">
                    <a16:creationId xmlns:a16="http://schemas.microsoft.com/office/drawing/2014/main" id="{DF84850E-B181-4E25-A51E-E840853FA45C}"/>
                  </a:ext>
                </a:extLst>
              </p:cNvPr>
              <p:cNvCxnSpPr/>
              <p:nvPr userDrawn="1"/>
            </p:nvCxnSpPr>
            <p:spPr bwMode="ltGray">
              <a:xfrm flipV="1">
                <a:off x="8133988"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A906B2F8-3448-4DF3-9362-37797DAC1036}"/>
                  </a:ext>
                </a:extLst>
              </p:cNvPr>
              <p:cNvCxnSpPr>
                <a:cxnSpLocks/>
              </p:cNvCxnSpPr>
              <p:nvPr userDrawn="1"/>
            </p:nvCxnSpPr>
            <p:spPr bwMode="ltGray">
              <a:xfrm flipH="1" flipV="1">
                <a:off x="8581441"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49" name="Straight Connector 13548">
                <a:extLst>
                  <a:ext uri="{FF2B5EF4-FFF2-40B4-BE49-F238E27FC236}">
                    <a16:creationId xmlns:a16="http://schemas.microsoft.com/office/drawing/2014/main" id="{D6A67443-FCFB-480F-B9F2-60F10B25B8C8}"/>
                  </a:ext>
                </a:extLst>
              </p:cNvPr>
              <p:cNvCxnSpPr/>
              <p:nvPr userDrawn="1"/>
            </p:nvCxnSpPr>
            <p:spPr bwMode="ltGray">
              <a:xfrm>
                <a:off x="8267528" y="1241061"/>
                <a:ext cx="624060" cy="0"/>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3550" name="Freeform: Shape 13549">
                <a:extLst>
                  <a:ext uri="{FF2B5EF4-FFF2-40B4-BE49-F238E27FC236}">
                    <a16:creationId xmlns:a16="http://schemas.microsoft.com/office/drawing/2014/main" id="{7F006A05-029B-4B1A-AF1B-21580A50D558}"/>
                  </a:ext>
                </a:extLst>
              </p:cNvPr>
              <p:cNvSpPr/>
              <p:nvPr userDrawn="1"/>
            </p:nvSpPr>
            <p:spPr bwMode="ltGray">
              <a:xfrm>
                <a:off x="914400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err="1">
                  <a:solidFill>
                    <a:schemeClr val="tx1"/>
                  </a:solidFill>
                  <a:latin typeface="+mn-lt"/>
                  <a:ea typeface="+mn-ea"/>
                  <a:cs typeface="+mn-cs"/>
                  <a:sym typeface="+mn-lt"/>
                </a:endParaRPr>
              </a:p>
            </p:txBody>
          </p:sp>
          <p:sp>
            <p:nvSpPr>
              <p:cNvPr id="309" name="Freeform: Shape 308">
                <a:extLst>
                  <a:ext uri="{FF2B5EF4-FFF2-40B4-BE49-F238E27FC236}">
                    <a16:creationId xmlns:a16="http://schemas.microsoft.com/office/drawing/2014/main" id="{D9C6E2B3-26F7-4726-B9FD-C9F3D30054D9}"/>
                  </a:ext>
                </a:extLst>
              </p:cNvPr>
              <p:cNvSpPr/>
              <p:nvPr userDrawn="1"/>
            </p:nvSpPr>
            <p:spPr bwMode="ltGray">
              <a:xfrm>
                <a:off x="1003935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err="1">
                  <a:solidFill>
                    <a:schemeClr val="tx1"/>
                  </a:solidFill>
                  <a:latin typeface="+mn-lt"/>
                  <a:ea typeface="+mn-ea"/>
                  <a:cs typeface="+mn-cs"/>
                  <a:sym typeface="+mn-lt"/>
                </a:endParaRPr>
              </a:p>
            </p:txBody>
          </p:sp>
        </p:grpSp>
        <p:sp>
          <p:nvSpPr>
            <p:cNvPr id="314" name="TextBox 313">
              <a:extLst>
                <a:ext uri="{FF2B5EF4-FFF2-40B4-BE49-F238E27FC236}">
                  <a16:creationId xmlns:a16="http://schemas.microsoft.com/office/drawing/2014/main" id="{9B58554F-E899-4AE0-9A57-1DA16BB15C55}"/>
                </a:ext>
              </a:extLst>
            </p:cNvPr>
            <p:cNvSpPr txBox="1">
              <a:spLocks noChangeArrowheads="1"/>
            </p:cNvSpPr>
            <p:nvPr userDrawn="1"/>
          </p:nvSpPr>
          <p:spPr bwMode="ltGray">
            <a:xfrm>
              <a:off x="8259786" y="1407161"/>
              <a:ext cx="968364" cy="193039"/>
            </a:xfrm>
            <a:custGeom>
              <a:avLst/>
              <a:gdLst/>
              <a:ahLst/>
              <a:cxnLst/>
              <a:rect l="l" t="t" r="r" b="b"/>
              <a:pathLst>
                <a:path w="1017943" h="202922">
                  <a:moveTo>
                    <a:pt x="848232" y="56587"/>
                  </a:moveTo>
                  <a:cubicBezTo>
                    <a:pt x="839675" y="56587"/>
                    <a:pt x="832525" y="60082"/>
                    <a:pt x="826785" y="67070"/>
                  </a:cubicBezTo>
                  <a:cubicBezTo>
                    <a:pt x="821044" y="74059"/>
                    <a:pt x="818174" y="85077"/>
                    <a:pt x="818174" y="100124"/>
                  </a:cubicBezTo>
                  <a:cubicBezTo>
                    <a:pt x="818174" y="114672"/>
                    <a:pt x="821240" y="125547"/>
                    <a:pt x="827373" y="132750"/>
                  </a:cubicBezTo>
                  <a:cubicBezTo>
                    <a:pt x="833506" y="139953"/>
                    <a:pt x="840744" y="143554"/>
                    <a:pt x="849088" y="143554"/>
                  </a:cubicBezTo>
                  <a:cubicBezTo>
                    <a:pt x="857503" y="143554"/>
                    <a:pt x="864652" y="140113"/>
                    <a:pt x="870535" y="133231"/>
                  </a:cubicBezTo>
                  <a:cubicBezTo>
                    <a:pt x="876419" y="126350"/>
                    <a:pt x="879360" y="115849"/>
                    <a:pt x="879360" y="101729"/>
                  </a:cubicBezTo>
                  <a:cubicBezTo>
                    <a:pt x="879360" y="86182"/>
                    <a:pt x="876365" y="74772"/>
                    <a:pt x="870375" y="67498"/>
                  </a:cubicBezTo>
                  <a:cubicBezTo>
                    <a:pt x="864385" y="60224"/>
                    <a:pt x="857004" y="56587"/>
                    <a:pt x="848232" y="56587"/>
                  </a:cubicBezTo>
                  <a:close/>
                  <a:moveTo>
                    <a:pt x="200853" y="56587"/>
                  </a:moveTo>
                  <a:cubicBezTo>
                    <a:pt x="192295" y="56587"/>
                    <a:pt x="185021" y="60064"/>
                    <a:pt x="179031" y="67017"/>
                  </a:cubicBezTo>
                  <a:cubicBezTo>
                    <a:pt x="173041" y="73970"/>
                    <a:pt x="170046" y="84292"/>
                    <a:pt x="170046" y="97985"/>
                  </a:cubicBezTo>
                  <a:cubicBezTo>
                    <a:pt x="170046" y="112889"/>
                    <a:pt x="173005" y="123764"/>
                    <a:pt x="178924" y="130611"/>
                  </a:cubicBezTo>
                  <a:cubicBezTo>
                    <a:pt x="184843" y="137457"/>
                    <a:pt x="192260" y="140880"/>
                    <a:pt x="201174" y="140880"/>
                  </a:cubicBezTo>
                  <a:cubicBezTo>
                    <a:pt x="210017" y="140880"/>
                    <a:pt x="217433" y="137474"/>
                    <a:pt x="223424" y="130664"/>
                  </a:cubicBezTo>
                  <a:cubicBezTo>
                    <a:pt x="229414" y="123854"/>
                    <a:pt x="232409" y="113174"/>
                    <a:pt x="232409" y="98626"/>
                  </a:cubicBezTo>
                  <a:cubicBezTo>
                    <a:pt x="232409" y="84720"/>
                    <a:pt x="229325" y="74237"/>
                    <a:pt x="223156" y="67177"/>
                  </a:cubicBezTo>
                  <a:cubicBezTo>
                    <a:pt x="216988" y="60117"/>
                    <a:pt x="209553" y="56587"/>
                    <a:pt x="200853" y="56587"/>
                  </a:cubicBezTo>
                  <a:close/>
                  <a:moveTo>
                    <a:pt x="966490" y="56480"/>
                  </a:moveTo>
                  <a:cubicBezTo>
                    <a:pt x="957647" y="56480"/>
                    <a:pt x="950213" y="59440"/>
                    <a:pt x="944187" y="65359"/>
                  </a:cubicBezTo>
                  <a:cubicBezTo>
                    <a:pt x="938161" y="71278"/>
                    <a:pt x="934827" y="79194"/>
                    <a:pt x="934185" y="89106"/>
                  </a:cubicBezTo>
                  <a:lnTo>
                    <a:pt x="997618" y="89106"/>
                  </a:lnTo>
                  <a:cubicBezTo>
                    <a:pt x="996763" y="79550"/>
                    <a:pt x="994338" y="72383"/>
                    <a:pt x="990344" y="67605"/>
                  </a:cubicBezTo>
                  <a:cubicBezTo>
                    <a:pt x="984211" y="60188"/>
                    <a:pt x="976260" y="56480"/>
                    <a:pt x="966490" y="56480"/>
                  </a:cubicBezTo>
                  <a:close/>
                  <a:moveTo>
                    <a:pt x="671215" y="56480"/>
                  </a:moveTo>
                  <a:cubicBezTo>
                    <a:pt x="662372" y="56480"/>
                    <a:pt x="654938" y="59440"/>
                    <a:pt x="648912" y="65359"/>
                  </a:cubicBezTo>
                  <a:cubicBezTo>
                    <a:pt x="642886" y="71278"/>
                    <a:pt x="639552" y="79194"/>
                    <a:pt x="638910" y="89106"/>
                  </a:cubicBezTo>
                  <a:lnTo>
                    <a:pt x="702343" y="89106"/>
                  </a:lnTo>
                  <a:cubicBezTo>
                    <a:pt x="701488" y="79550"/>
                    <a:pt x="699063" y="72383"/>
                    <a:pt x="695069" y="67605"/>
                  </a:cubicBezTo>
                  <a:cubicBezTo>
                    <a:pt x="688936" y="60188"/>
                    <a:pt x="680985" y="56480"/>
                    <a:pt x="671215" y="56480"/>
                  </a:cubicBezTo>
                  <a:close/>
                  <a:moveTo>
                    <a:pt x="318790" y="56480"/>
                  </a:moveTo>
                  <a:cubicBezTo>
                    <a:pt x="309947" y="56480"/>
                    <a:pt x="302513" y="59440"/>
                    <a:pt x="296487" y="65359"/>
                  </a:cubicBezTo>
                  <a:cubicBezTo>
                    <a:pt x="290461" y="71278"/>
                    <a:pt x="287127" y="79194"/>
                    <a:pt x="286485" y="89106"/>
                  </a:cubicBezTo>
                  <a:lnTo>
                    <a:pt x="349918" y="89106"/>
                  </a:lnTo>
                  <a:cubicBezTo>
                    <a:pt x="349063" y="79550"/>
                    <a:pt x="346638" y="72383"/>
                    <a:pt x="342644" y="67605"/>
                  </a:cubicBezTo>
                  <a:cubicBezTo>
                    <a:pt x="336511" y="60188"/>
                    <a:pt x="328560" y="56480"/>
                    <a:pt x="318790" y="56480"/>
                  </a:cubicBezTo>
                  <a:close/>
                  <a:moveTo>
                    <a:pt x="966276" y="40649"/>
                  </a:moveTo>
                  <a:cubicBezTo>
                    <a:pt x="981466" y="40649"/>
                    <a:pt x="993874" y="45819"/>
                    <a:pt x="1003502" y="56159"/>
                  </a:cubicBezTo>
                  <a:cubicBezTo>
                    <a:pt x="1013129" y="66500"/>
                    <a:pt x="1017943" y="81048"/>
                    <a:pt x="1017943" y="99803"/>
                  </a:cubicBezTo>
                  <a:cubicBezTo>
                    <a:pt x="1017943" y="100944"/>
                    <a:pt x="1017907" y="102656"/>
                    <a:pt x="1017836" y="104938"/>
                  </a:cubicBezTo>
                  <a:lnTo>
                    <a:pt x="933115" y="104938"/>
                  </a:lnTo>
                  <a:cubicBezTo>
                    <a:pt x="933828" y="117418"/>
                    <a:pt x="937358" y="126974"/>
                    <a:pt x="943705" y="133606"/>
                  </a:cubicBezTo>
                  <a:cubicBezTo>
                    <a:pt x="950052" y="140238"/>
                    <a:pt x="957968" y="143554"/>
                    <a:pt x="967453" y="143554"/>
                  </a:cubicBezTo>
                  <a:cubicBezTo>
                    <a:pt x="974513" y="143554"/>
                    <a:pt x="980539" y="141700"/>
                    <a:pt x="985531" y="137991"/>
                  </a:cubicBezTo>
                  <a:cubicBezTo>
                    <a:pt x="990523" y="134283"/>
                    <a:pt x="994481" y="128364"/>
                    <a:pt x="997404" y="120234"/>
                  </a:cubicBezTo>
                  <a:lnTo>
                    <a:pt x="1017301" y="122695"/>
                  </a:lnTo>
                  <a:cubicBezTo>
                    <a:pt x="1014163" y="134319"/>
                    <a:pt x="1008351" y="143340"/>
                    <a:pt x="999865" y="149758"/>
                  </a:cubicBezTo>
                  <a:cubicBezTo>
                    <a:pt x="991378" y="156176"/>
                    <a:pt x="980539" y="159386"/>
                    <a:pt x="967346" y="159386"/>
                  </a:cubicBezTo>
                  <a:cubicBezTo>
                    <a:pt x="950730" y="159386"/>
                    <a:pt x="937555" y="154269"/>
                    <a:pt x="927820" y="144035"/>
                  </a:cubicBezTo>
                  <a:cubicBezTo>
                    <a:pt x="918086" y="133802"/>
                    <a:pt x="913219" y="119450"/>
                    <a:pt x="913219" y="100980"/>
                  </a:cubicBezTo>
                  <a:cubicBezTo>
                    <a:pt x="913219" y="81868"/>
                    <a:pt x="918140" y="67035"/>
                    <a:pt x="927981" y="56480"/>
                  </a:cubicBezTo>
                  <a:cubicBezTo>
                    <a:pt x="937822" y="45926"/>
                    <a:pt x="950587" y="40649"/>
                    <a:pt x="966276" y="40649"/>
                  </a:cubicBezTo>
                  <a:close/>
                  <a:moveTo>
                    <a:pt x="671001" y="40649"/>
                  </a:moveTo>
                  <a:cubicBezTo>
                    <a:pt x="686191" y="40649"/>
                    <a:pt x="698599" y="45819"/>
                    <a:pt x="708227" y="56159"/>
                  </a:cubicBezTo>
                  <a:cubicBezTo>
                    <a:pt x="717854" y="66500"/>
                    <a:pt x="722668" y="81048"/>
                    <a:pt x="722668" y="99803"/>
                  </a:cubicBezTo>
                  <a:cubicBezTo>
                    <a:pt x="722668" y="100944"/>
                    <a:pt x="722632" y="102656"/>
                    <a:pt x="722561" y="104938"/>
                  </a:cubicBezTo>
                  <a:lnTo>
                    <a:pt x="637840" y="104938"/>
                  </a:lnTo>
                  <a:cubicBezTo>
                    <a:pt x="638553" y="117418"/>
                    <a:pt x="642083" y="126974"/>
                    <a:pt x="648430" y="133606"/>
                  </a:cubicBezTo>
                  <a:cubicBezTo>
                    <a:pt x="654777" y="140238"/>
                    <a:pt x="662693" y="143554"/>
                    <a:pt x="672178" y="143554"/>
                  </a:cubicBezTo>
                  <a:cubicBezTo>
                    <a:pt x="679238" y="143554"/>
                    <a:pt x="685264" y="141700"/>
                    <a:pt x="690256" y="137991"/>
                  </a:cubicBezTo>
                  <a:cubicBezTo>
                    <a:pt x="695248" y="134283"/>
                    <a:pt x="699206" y="128364"/>
                    <a:pt x="702129" y="120234"/>
                  </a:cubicBezTo>
                  <a:lnTo>
                    <a:pt x="722026" y="122695"/>
                  </a:lnTo>
                  <a:cubicBezTo>
                    <a:pt x="718888" y="134319"/>
                    <a:pt x="713076" y="143340"/>
                    <a:pt x="704590" y="149758"/>
                  </a:cubicBezTo>
                  <a:cubicBezTo>
                    <a:pt x="696103" y="156176"/>
                    <a:pt x="685264" y="159386"/>
                    <a:pt x="672071" y="159386"/>
                  </a:cubicBezTo>
                  <a:cubicBezTo>
                    <a:pt x="655455" y="159386"/>
                    <a:pt x="642280" y="154269"/>
                    <a:pt x="632545" y="144035"/>
                  </a:cubicBezTo>
                  <a:cubicBezTo>
                    <a:pt x="622811" y="133802"/>
                    <a:pt x="617944" y="119450"/>
                    <a:pt x="617944" y="100980"/>
                  </a:cubicBezTo>
                  <a:cubicBezTo>
                    <a:pt x="617944" y="81868"/>
                    <a:pt x="622864" y="67035"/>
                    <a:pt x="632706" y="56480"/>
                  </a:cubicBezTo>
                  <a:cubicBezTo>
                    <a:pt x="642547" y="45926"/>
                    <a:pt x="655312" y="40649"/>
                    <a:pt x="671001" y="40649"/>
                  </a:cubicBezTo>
                  <a:close/>
                  <a:moveTo>
                    <a:pt x="555952" y="40649"/>
                  </a:moveTo>
                  <a:cubicBezTo>
                    <a:pt x="568290" y="40649"/>
                    <a:pt x="578380" y="43769"/>
                    <a:pt x="586225" y="50008"/>
                  </a:cubicBezTo>
                  <a:cubicBezTo>
                    <a:pt x="594069" y="56248"/>
                    <a:pt x="599097" y="65109"/>
                    <a:pt x="601308" y="76591"/>
                  </a:cubicBezTo>
                  <a:lnTo>
                    <a:pt x="582588" y="79479"/>
                  </a:lnTo>
                  <a:cubicBezTo>
                    <a:pt x="580805" y="71848"/>
                    <a:pt x="577649" y="66108"/>
                    <a:pt x="573121" y="62257"/>
                  </a:cubicBezTo>
                  <a:cubicBezTo>
                    <a:pt x="568593" y="58406"/>
                    <a:pt x="563119" y="56480"/>
                    <a:pt x="556701" y="56480"/>
                  </a:cubicBezTo>
                  <a:cubicBezTo>
                    <a:pt x="547002" y="56480"/>
                    <a:pt x="539122" y="59957"/>
                    <a:pt x="533061" y="66910"/>
                  </a:cubicBezTo>
                  <a:cubicBezTo>
                    <a:pt x="526999" y="73863"/>
                    <a:pt x="523968" y="84863"/>
                    <a:pt x="523968" y="99910"/>
                  </a:cubicBezTo>
                  <a:cubicBezTo>
                    <a:pt x="523968" y="115171"/>
                    <a:pt x="526892" y="126260"/>
                    <a:pt x="532740" y="133178"/>
                  </a:cubicBezTo>
                  <a:cubicBezTo>
                    <a:pt x="538588" y="140095"/>
                    <a:pt x="546218" y="143554"/>
                    <a:pt x="555631" y="143554"/>
                  </a:cubicBezTo>
                  <a:cubicBezTo>
                    <a:pt x="563191" y="143554"/>
                    <a:pt x="569502" y="141236"/>
                    <a:pt x="574565" y="136601"/>
                  </a:cubicBezTo>
                  <a:cubicBezTo>
                    <a:pt x="579628" y="131965"/>
                    <a:pt x="582838" y="124834"/>
                    <a:pt x="584192" y="115207"/>
                  </a:cubicBezTo>
                  <a:lnTo>
                    <a:pt x="603126" y="117667"/>
                  </a:lnTo>
                  <a:cubicBezTo>
                    <a:pt x="601058" y="130718"/>
                    <a:pt x="595763" y="140933"/>
                    <a:pt x="587241" y="148314"/>
                  </a:cubicBezTo>
                  <a:cubicBezTo>
                    <a:pt x="578719" y="155695"/>
                    <a:pt x="568254" y="159386"/>
                    <a:pt x="555845" y="159386"/>
                  </a:cubicBezTo>
                  <a:cubicBezTo>
                    <a:pt x="540299" y="159386"/>
                    <a:pt x="527801" y="154304"/>
                    <a:pt x="518352" y="144142"/>
                  </a:cubicBezTo>
                  <a:cubicBezTo>
                    <a:pt x="508903" y="133980"/>
                    <a:pt x="504179" y="119414"/>
                    <a:pt x="504179" y="100445"/>
                  </a:cubicBezTo>
                  <a:cubicBezTo>
                    <a:pt x="504179" y="88179"/>
                    <a:pt x="506211" y="77446"/>
                    <a:pt x="510276" y="68247"/>
                  </a:cubicBezTo>
                  <a:cubicBezTo>
                    <a:pt x="514341" y="59047"/>
                    <a:pt x="520527" y="52148"/>
                    <a:pt x="528835" y="47548"/>
                  </a:cubicBezTo>
                  <a:cubicBezTo>
                    <a:pt x="537143" y="42948"/>
                    <a:pt x="546182" y="40649"/>
                    <a:pt x="555952" y="40649"/>
                  </a:cubicBezTo>
                  <a:close/>
                  <a:moveTo>
                    <a:pt x="449247" y="40649"/>
                  </a:moveTo>
                  <a:cubicBezTo>
                    <a:pt x="456093" y="40649"/>
                    <a:pt x="462387" y="41879"/>
                    <a:pt x="468127" y="44339"/>
                  </a:cubicBezTo>
                  <a:cubicBezTo>
                    <a:pt x="473868" y="46799"/>
                    <a:pt x="478165" y="50026"/>
                    <a:pt x="481017" y="54020"/>
                  </a:cubicBezTo>
                  <a:cubicBezTo>
                    <a:pt x="483870" y="58013"/>
                    <a:pt x="485867" y="62756"/>
                    <a:pt x="487008" y="68247"/>
                  </a:cubicBezTo>
                  <a:cubicBezTo>
                    <a:pt x="487721" y="71813"/>
                    <a:pt x="488077" y="78053"/>
                    <a:pt x="488077" y="86967"/>
                  </a:cubicBezTo>
                  <a:lnTo>
                    <a:pt x="488077" y="156818"/>
                  </a:lnTo>
                  <a:lnTo>
                    <a:pt x="468823" y="156818"/>
                  </a:lnTo>
                  <a:lnTo>
                    <a:pt x="468823" y="87715"/>
                  </a:lnTo>
                  <a:cubicBezTo>
                    <a:pt x="468823" y="79871"/>
                    <a:pt x="468074" y="74005"/>
                    <a:pt x="466576" y="70119"/>
                  </a:cubicBezTo>
                  <a:cubicBezTo>
                    <a:pt x="465079" y="66232"/>
                    <a:pt x="462422" y="63130"/>
                    <a:pt x="458607" y="60812"/>
                  </a:cubicBezTo>
                  <a:cubicBezTo>
                    <a:pt x="454792" y="58495"/>
                    <a:pt x="450317" y="57336"/>
                    <a:pt x="445182" y="57336"/>
                  </a:cubicBezTo>
                  <a:cubicBezTo>
                    <a:pt x="436981" y="57336"/>
                    <a:pt x="429903" y="59939"/>
                    <a:pt x="423949" y="65145"/>
                  </a:cubicBezTo>
                  <a:cubicBezTo>
                    <a:pt x="417994" y="70351"/>
                    <a:pt x="415017" y="80228"/>
                    <a:pt x="415017" y="94776"/>
                  </a:cubicBezTo>
                  <a:lnTo>
                    <a:pt x="415017" y="156818"/>
                  </a:lnTo>
                  <a:lnTo>
                    <a:pt x="395762" y="156818"/>
                  </a:lnTo>
                  <a:lnTo>
                    <a:pt x="395762" y="43216"/>
                  </a:lnTo>
                  <a:lnTo>
                    <a:pt x="413091" y="43216"/>
                  </a:lnTo>
                  <a:lnTo>
                    <a:pt x="413091" y="59368"/>
                  </a:lnTo>
                  <a:cubicBezTo>
                    <a:pt x="421435" y="46889"/>
                    <a:pt x="433487" y="40649"/>
                    <a:pt x="449247" y="40649"/>
                  </a:cubicBezTo>
                  <a:close/>
                  <a:moveTo>
                    <a:pt x="318576" y="40649"/>
                  </a:moveTo>
                  <a:cubicBezTo>
                    <a:pt x="333766" y="40649"/>
                    <a:pt x="346174" y="45819"/>
                    <a:pt x="355802" y="56159"/>
                  </a:cubicBezTo>
                  <a:cubicBezTo>
                    <a:pt x="365429" y="66500"/>
                    <a:pt x="370243" y="81048"/>
                    <a:pt x="370243" y="99803"/>
                  </a:cubicBezTo>
                  <a:cubicBezTo>
                    <a:pt x="370243" y="100944"/>
                    <a:pt x="370207" y="102656"/>
                    <a:pt x="370136" y="104938"/>
                  </a:cubicBezTo>
                  <a:lnTo>
                    <a:pt x="285415" y="104938"/>
                  </a:lnTo>
                  <a:cubicBezTo>
                    <a:pt x="286128" y="117418"/>
                    <a:pt x="289658" y="126974"/>
                    <a:pt x="296005" y="133606"/>
                  </a:cubicBezTo>
                  <a:cubicBezTo>
                    <a:pt x="302352" y="140238"/>
                    <a:pt x="310268" y="143554"/>
                    <a:pt x="319753" y="143554"/>
                  </a:cubicBezTo>
                  <a:cubicBezTo>
                    <a:pt x="326813" y="143554"/>
                    <a:pt x="332839" y="141700"/>
                    <a:pt x="337831" y="137991"/>
                  </a:cubicBezTo>
                  <a:cubicBezTo>
                    <a:pt x="342823" y="134283"/>
                    <a:pt x="346781" y="128364"/>
                    <a:pt x="349704" y="120234"/>
                  </a:cubicBezTo>
                  <a:lnTo>
                    <a:pt x="369601" y="122695"/>
                  </a:lnTo>
                  <a:cubicBezTo>
                    <a:pt x="366463" y="134319"/>
                    <a:pt x="360651" y="143340"/>
                    <a:pt x="352165" y="149758"/>
                  </a:cubicBezTo>
                  <a:cubicBezTo>
                    <a:pt x="343678" y="156176"/>
                    <a:pt x="332839" y="159386"/>
                    <a:pt x="319646" y="159386"/>
                  </a:cubicBezTo>
                  <a:cubicBezTo>
                    <a:pt x="303030" y="159386"/>
                    <a:pt x="289855" y="154269"/>
                    <a:pt x="280120" y="144035"/>
                  </a:cubicBezTo>
                  <a:cubicBezTo>
                    <a:pt x="270386" y="133802"/>
                    <a:pt x="265519" y="119450"/>
                    <a:pt x="265519" y="100980"/>
                  </a:cubicBezTo>
                  <a:cubicBezTo>
                    <a:pt x="265519" y="81868"/>
                    <a:pt x="270439" y="67035"/>
                    <a:pt x="280281" y="56480"/>
                  </a:cubicBezTo>
                  <a:cubicBezTo>
                    <a:pt x="290122" y="45926"/>
                    <a:pt x="302887" y="40649"/>
                    <a:pt x="318576" y="40649"/>
                  </a:cubicBezTo>
                  <a:close/>
                  <a:moveTo>
                    <a:pt x="199462" y="40649"/>
                  </a:moveTo>
                  <a:cubicBezTo>
                    <a:pt x="212869" y="40649"/>
                    <a:pt x="223923" y="46068"/>
                    <a:pt x="232623" y="56908"/>
                  </a:cubicBezTo>
                  <a:lnTo>
                    <a:pt x="232623" y="43216"/>
                  </a:lnTo>
                  <a:lnTo>
                    <a:pt x="250380" y="43216"/>
                  </a:lnTo>
                  <a:lnTo>
                    <a:pt x="250380" y="141415"/>
                  </a:lnTo>
                  <a:cubicBezTo>
                    <a:pt x="250380" y="159100"/>
                    <a:pt x="248580" y="171634"/>
                    <a:pt x="244978" y="179015"/>
                  </a:cubicBezTo>
                  <a:cubicBezTo>
                    <a:pt x="241377" y="186396"/>
                    <a:pt x="235672" y="192225"/>
                    <a:pt x="227863" y="196504"/>
                  </a:cubicBezTo>
                  <a:cubicBezTo>
                    <a:pt x="220054" y="200783"/>
                    <a:pt x="210445" y="202922"/>
                    <a:pt x="199035" y="202922"/>
                  </a:cubicBezTo>
                  <a:cubicBezTo>
                    <a:pt x="185485" y="202922"/>
                    <a:pt x="174538" y="199874"/>
                    <a:pt x="166195" y="193776"/>
                  </a:cubicBezTo>
                  <a:cubicBezTo>
                    <a:pt x="157851" y="187679"/>
                    <a:pt x="153822" y="178498"/>
                    <a:pt x="154107" y="166232"/>
                  </a:cubicBezTo>
                  <a:lnTo>
                    <a:pt x="172827" y="169013"/>
                  </a:lnTo>
                  <a:cubicBezTo>
                    <a:pt x="173611" y="174789"/>
                    <a:pt x="175786" y="178997"/>
                    <a:pt x="179352" y="181635"/>
                  </a:cubicBezTo>
                  <a:cubicBezTo>
                    <a:pt x="184130" y="185201"/>
                    <a:pt x="190655" y="186984"/>
                    <a:pt x="198928" y="186984"/>
                  </a:cubicBezTo>
                  <a:cubicBezTo>
                    <a:pt x="207842" y="186984"/>
                    <a:pt x="214724" y="185201"/>
                    <a:pt x="219573" y="181635"/>
                  </a:cubicBezTo>
                  <a:cubicBezTo>
                    <a:pt x="224422" y="178070"/>
                    <a:pt x="227703" y="173078"/>
                    <a:pt x="229414" y="166660"/>
                  </a:cubicBezTo>
                  <a:cubicBezTo>
                    <a:pt x="230412" y="162737"/>
                    <a:pt x="230876" y="154501"/>
                    <a:pt x="230805" y="141949"/>
                  </a:cubicBezTo>
                  <a:cubicBezTo>
                    <a:pt x="222390" y="151862"/>
                    <a:pt x="211907" y="156818"/>
                    <a:pt x="199355" y="156818"/>
                  </a:cubicBezTo>
                  <a:cubicBezTo>
                    <a:pt x="183738" y="156818"/>
                    <a:pt x="171650" y="151184"/>
                    <a:pt x="163093" y="139917"/>
                  </a:cubicBezTo>
                  <a:cubicBezTo>
                    <a:pt x="154535" y="128649"/>
                    <a:pt x="150256" y="115136"/>
                    <a:pt x="150256" y="99375"/>
                  </a:cubicBezTo>
                  <a:cubicBezTo>
                    <a:pt x="150256" y="88536"/>
                    <a:pt x="152217" y="78534"/>
                    <a:pt x="156140" y="69370"/>
                  </a:cubicBezTo>
                  <a:cubicBezTo>
                    <a:pt x="160062" y="60206"/>
                    <a:pt x="165749" y="53128"/>
                    <a:pt x="173201" y="48137"/>
                  </a:cubicBezTo>
                  <a:cubicBezTo>
                    <a:pt x="180654" y="43145"/>
                    <a:pt x="189407" y="40649"/>
                    <a:pt x="199462" y="40649"/>
                  </a:cubicBezTo>
                  <a:close/>
                  <a:moveTo>
                    <a:pt x="70921" y="16473"/>
                  </a:moveTo>
                  <a:cubicBezTo>
                    <a:pt x="68925" y="26529"/>
                    <a:pt x="66108" y="36512"/>
                    <a:pt x="62471" y="46425"/>
                  </a:cubicBezTo>
                  <a:lnTo>
                    <a:pt x="45249" y="92422"/>
                  </a:lnTo>
                  <a:lnTo>
                    <a:pt x="98413" y="92422"/>
                  </a:lnTo>
                  <a:lnTo>
                    <a:pt x="82046" y="48992"/>
                  </a:lnTo>
                  <a:cubicBezTo>
                    <a:pt x="77054" y="35799"/>
                    <a:pt x="73346" y="24960"/>
                    <a:pt x="70921" y="16473"/>
                  </a:cubicBezTo>
                  <a:close/>
                  <a:moveTo>
                    <a:pt x="877756" y="0"/>
                  </a:moveTo>
                  <a:lnTo>
                    <a:pt x="896904" y="0"/>
                  </a:lnTo>
                  <a:lnTo>
                    <a:pt x="896904" y="156818"/>
                  </a:lnTo>
                  <a:lnTo>
                    <a:pt x="879040" y="156818"/>
                  </a:lnTo>
                  <a:lnTo>
                    <a:pt x="879040" y="142484"/>
                  </a:lnTo>
                  <a:cubicBezTo>
                    <a:pt x="871837" y="153752"/>
                    <a:pt x="861247" y="159386"/>
                    <a:pt x="847269" y="159386"/>
                  </a:cubicBezTo>
                  <a:cubicBezTo>
                    <a:pt x="838213" y="159386"/>
                    <a:pt x="829887" y="156890"/>
                    <a:pt x="822292" y="151898"/>
                  </a:cubicBezTo>
                  <a:cubicBezTo>
                    <a:pt x="814697" y="146906"/>
                    <a:pt x="808814" y="139935"/>
                    <a:pt x="804642" y="130985"/>
                  </a:cubicBezTo>
                  <a:cubicBezTo>
                    <a:pt x="800470" y="122035"/>
                    <a:pt x="798384" y="111748"/>
                    <a:pt x="798384" y="100124"/>
                  </a:cubicBezTo>
                  <a:cubicBezTo>
                    <a:pt x="798384" y="88785"/>
                    <a:pt x="800274" y="78498"/>
                    <a:pt x="804053" y="69263"/>
                  </a:cubicBezTo>
                  <a:cubicBezTo>
                    <a:pt x="807833" y="60028"/>
                    <a:pt x="813502" y="52950"/>
                    <a:pt x="821062" y="48030"/>
                  </a:cubicBezTo>
                  <a:cubicBezTo>
                    <a:pt x="828621" y="43109"/>
                    <a:pt x="837072" y="40649"/>
                    <a:pt x="846414" y="40649"/>
                  </a:cubicBezTo>
                  <a:cubicBezTo>
                    <a:pt x="853260" y="40649"/>
                    <a:pt x="859357" y="42093"/>
                    <a:pt x="864706" y="44981"/>
                  </a:cubicBezTo>
                  <a:cubicBezTo>
                    <a:pt x="870054" y="47869"/>
                    <a:pt x="874404" y="51631"/>
                    <a:pt x="877756" y="56266"/>
                  </a:cubicBezTo>
                  <a:close/>
                  <a:moveTo>
                    <a:pt x="60224" y="0"/>
                  </a:moveTo>
                  <a:lnTo>
                    <a:pt x="82581" y="0"/>
                  </a:lnTo>
                  <a:lnTo>
                    <a:pt x="146763" y="156818"/>
                  </a:lnTo>
                  <a:lnTo>
                    <a:pt x="123123" y="156818"/>
                  </a:lnTo>
                  <a:lnTo>
                    <a:pt x="104831" y="109323"/>
                  </a:lnTo>
                  <a:lnTo>
                    <a:pt x="39258" y="109323"/>
                  </a:lnTo>
                  <a:lnTo>
                    <a:pt x="22036" y="156818"/>
                  </a:ln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84A6B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sp>
          <p:nvSpPr>
            <p:cNvPr id="316" name="TextBox 315">
              <a:extLst>
                <a:ext uri="{FF2B5EF4-FFF2-40B4-BE49-F238E27FC236}">
                  <a16:creationId xmlns:a16="http://schemas.microsoft.com/office/drawing/2014/main" id="{C9CCD87B-92BD-43A3-9632-157D1C815793}"/>
                </a:ext>
              </a:extLst>
            </p:cNvPr>
            <p:cNvSpPr txBox="1">
              <a:spLocks noChangeArrowheads="1"/>
            </p:cNvSpPr>
            <p:nvPr userDrawn="1"/>
          </p:nvSpPr>
          <p:spPr bwMode="ltGray">
            <a:xfrm>
              <a:off x="11068875" y="1407161"/>
              <a:ext cx="541113" cy="193039"/>
            </a:xfrm>
            <a:custGeom>
              <a:avLst/>
              <a:gdLst/>
              <a:ahLst/>
              <a:cxnLst/>
              <a:rect l="l" t="t" r="r" b="b"/>
              <a:pathLst>
                <a:path w="568817" h="202922">
                  <a:moveTo>
                    <a:pt x="498691" y="99803"/>
                  </a:moveTo>
                  <a:cubicBezTo>
                    <a:pt x="491702" y="102656"/>
                    <a:pt x="481219" y="105080"/>
                    <a:pt x="467242" y="107077"/>
                  </a:cubicBezTo>
                  <a:cubicBezTo>
                    <a:pt x="459326" y="108218"/>
                    <a:pt x="453728" y="109502"/>
                    <a:pt x="450447" y="110928"/>
                  </a:cubicBezTo>
                  <a:cubicBezTo>
                    <a:pt x="447167" y="112354"/>
                    <a:pt x="444635" y="114440"/>
                    <a:pt x="442852" y="117186"/>
                  </a:cubicBezTo>
                  <a:cubicBezTo>
                    <a:pt x="441070" y="119931"/>
                    <a:pt x="440178" y="122980"/>
                    <a:pt x="440178" y="126332"/>
                  </a:cubicBezTo>
                  <a:cubicBezTo>
                    <a:pt x="440178" y="131466"/>
                    <a:pt x="442121" y="135745"/>
                    <a:pt x="446008" y="139168"/>
                  </a:cubicBezTo>
                  <a:cubicBezTo>
                    <a:pt x="449895" y="142591"/>
                    <a:pt x="455582" y="144303"/>
                    <a:pt x="463070" y="144303"/>
                  </a:cubicBezTo>
                  <a:cubicBezTo>
                    <a:pt x="470486" y="144303"/>
                    <a:pt x="477083" y="142680"/>
                    <a:pt x="482859" y="139436"/>
                  </a:cubicBezTo>
                  <a:cubicBezTo>
                    <a:pt x="488636" y="136191"/>
                    <a:pt x="492879" y="131752"/>
                    <a:pt x="495589" y="126118"/>
                  </a:cubicBezTo>
                  <a:cubicBezTo>
                    <a:pt x="497657" y="121768"/>
                    <a:pt x="498691" y="115349"/>
                    <a:pt x="498691" y="106863"/>
                  </a:cubicBezTo>
                  <a:close/>
                  <a:moveTo>
                    <a:pt x="250306" y="56587"/>
                  </a:moveTo>
                  <a:cubicBezTo>
                    <a:pt x="241748" y="56587"/>
                    <a:pt x="234474" y="60064"/>
                    <a:pt x="228484" y="67017"/>
                  </a:cubicBezTo>
                  <a:cubicBezTo>
                    <a:pt x="222494" y="73970"/>
                    <a:pt x="219499" y="84292"/>
                    <a:pt x="219499" y="97985"/>
                  </a:cubicBezTo>
                  <a:cubicBezTo>
                    <a:pt x="219499" y="112889"/>
                    <a:pt x="222458" y="123764"/>
                    <a:pt x="228377" y="130611"/>
                  </a:cubicBezTo>
                  <a:cubicBezTo>
                    <a:pt x="234296" y="137457"/>
                    <a:pt x="241713" y="140880"/>
                    <a:pt x="250627" y="140880"/>
                  </a:cubicBezTo>
                  <a:cubicBezTo>
                    <a:pt x="259470" y="140880"/>
                    <a:pt x="266886" y="137474"/>
                    <a:pt x="272877" y="130664"/>
                  </a:cubicBezTo>
                  <a:cubicBezTo>
                    <a:pt x="278867" y="123854"/>
                    <a:pt x="281862" y="113174"/>
                    <a:pt x="281862" y="98626"/>
                  </a:cubicBezTo>
                  <a:cubicBezTo>
                    <a:pt x="281862" y="84720"/>
                    <a:pt x="278778" y="74237"/>
                    <a:pt x="272609" y="67177"/>
                  </a:cubicBezTo>
                  <a:cubicBezTo>
                    <a:pt x="266441" y="60117"/>
                    <a:pt x="259006" y="56587"/>
                    <a:pt x="250306" y="56587"/>
                  </a:cubicBezTo>
                  <a:close/>
                  <a:moveTo>
                    <a:pt x="321497" y="43216"/>
                  </a:moveTo>
                  <a:lnTo>
                    <a:pt x="340752" y="43216"/>
                  </a:lnTo>
                  <a:lnTo>
                    <a:pt x="340752" y="156818"/>
                  </a:lnTo>
                  <a:lnTo>
                    <a:pt x="321497" y="156818"/>
                  </a:lnTo>
                  <a:close/>
                  <a:moveTo>
                    <a:pt x="159572" y="43216"/>
                  </a:moveTo>
                  <a:lnTo>
                    <a:pt x="178827" y="43216"/>
                  </a:lnTo>
                  <a:lnTo>
                    <a:pt x="178827" y="156818"/>
                  </a:lnTo>
                  <a:lnTo>
                    <a:pt x="159572" y="156818"/>
                  </a:lnTo>
                  <a:close/>
                  <a:moveTo>
                    <a:pt x="474195" y="40649"/>
                  </a:moveTo>
                  <a:cubicBezTo>
                    <a:pt x="483893" y="40649"/>
                    <a:pt x="491774" y="41790"/>
                    <a:pt x="497835" y="44072"/>
                  </a:cubicBezTo>
                  <a:cubicBezTo>
                    <a:pt x="503897" y="46354"/>
                    <a:pt x="508354" y="49224"/>
                    <a:pt x="511206" y="52683"/>
                  </a:cubicBezTo>
                  <a:cubicBezTo>
                    <a:pt x="514059" y="56141"/>
                    <a:pt x="516056" y="60509"/>
                    <a:pt x="517197" y="65787"/>
                  </a:cubicBezTo>
                  <a:cubicBezTo>
                    <a:pt x="517839" y="69067"/>
                    <a:pt x="518160" y="74986"/>
                    <a:pt x="518160" y="83544"/>
                  </a:cubicBezTo>
                  <a:lnTo>
                    <a:pt x="518160" y="109216"/>
                  </a:lnTo>
                  <a:cubicBezTo>
                    <a:pt x="518160" y="127116"/>
                    <a:pt x="518570" y="138437"/>
                    <a:pt x="519390" y="143180"/>
                  </a:cubicBezTo>
                  <a:cubicBezTo>
                    <a:pt x="520210" y="147922"/>
                    <a:pt x="521832" y="152468"/>
                    <a:pt x="524257" y="156818"/>
                  </a:cubicBezTo>
                  <a:lnTo>
                    <a:pt x="504146" y="156818"/>
                  </a:lnTo>
                  <a:cubicBezTo>
                    <a:pt x="502150" y="152825"/>
                    <a:pt x="500866" y="148154"/>
                    <a:pt x="500295" y="142805"/>
                  </a:cubicBezTo>
                  <a:cubicBezTo>
                    <a:pt x="493164" y="148867"/>
                    <a:pt x="486300" y="153146"/>
                    <a:pt x="479704" y="155642"/>
                  </a:cubicBezTo>
                  <a:cubicBezTo>
                    <a:pt x="473107" y="158138"/>
                    <a:pt x="466029" y="159386"/>
                    <a:pt x="458470" y="159386"/>
                  </a:cubicBezTo>
                  <a:cubicBezTo>
                    <a:pt x="445990" y="159386"/>
                    <a:pt x="436399" y="156337"/>
                    <a:pt x="429695" y="150240"/>
                  </a:cubicBezTo>
                  <a:cubicBezTo>
                    <a:pt x="422992" y="144142"/>
                    <a:pt x="419640" y="136351"/>
                    <a:pt x="419640" y="126867"/>
                  </a:cubicBezTo>
                  <a:cubicBezTo>
                    <a:pt x="419640" y="121304"/>
                    <a:pt x="420906" y="116223"/>
                    <a:pt x="423437" y="111623"/>
                  </a:cubicBezTo>
                  <a:cubicBezTo>
                    <a:pt x="425969" y="107024"/>
                    <a:pt x="429285" y="103333"/>
                    <a:pt x="433386" y="100552"/>
                  </a:cubicBezTo>
                  <a:cubicBezTo>
                    <a:pt x="437486" y="97771"/>
                    <a:pt x="442104" y="95667"/>
                    <a:pt x="447238" y="94241"/>
                  </a:cubicBezTo>
                  <a:cubicBezTo>
                    <a:pt x="451018" y="93242"/>
                    <a:pt x="456723" y="92280"/>
                    <a:pt x="464353" y="91352"/>
                  </a:cubicBezTo>
                  <a:cubicBezTo>
                    <a:pt x="479900" y="89498"/>
                    <a:pt x="491346" y="87288"/>
                    <a:pt x="498691" y="84720"/>
                  </a:cubicBezTo>
                  <a:cubicBezTo>
                    <a:pt x="498762" y="82082"/>
                    <a:pt x="498798" y="80406"/>
                    <a:pt x="498798" y="79693"/>
                  </a:cubicBezTo>
                  <a:cubicBezTo>
                    <a:pt x="498798" y="71848"/>
                    <a:pt x="496979" y="66321"/>
                    <a:pt x="493342" y="63112"/>
                  </a:cubicBezTo>
                  <a:cubicBezTo>
                    <a:pt x="488422" y="58762"/>
                    <a:pt x="481112" y="56587"/>
                    <a:pt x="471414" y="56587"/>
                  </a:cubicBezTo>
                  <a:cubicBezTo>
                    <a:pt x="462357" y="56587"/>
                    <a:pt x="455671" y="58174"/>
                    <a:pt x="451357" y="61347"/>
                  </a:cubicBezTo>
                  <a:cubicBezTo>
                    <a:pt x="447042" y="64521"/>
                    <a:pt x="443851" y="70137"/>
                    <a:pt x="441783" y="78195"/>
                  </a:cubicBezTo>
                  <a:lnTo>
                    <a:pt x="422956" y="75628"/>
                  </a:lnTo>
                  <a:cubicBezTo>
                    <a:pt x="424668" y="67569"/>
                    <a:pt x="427484" y="61062"/>
                    <a:pt x="431407" y="56106"/>
                  </a:cubicBezTo>
                  <a:cubicBezTo>
                    <a:pt x="435329" y="51150"/>
                    <a:pt x="440998" y="47334"/>
                    <a:pt x="448415" y="44660"/>
                  </a:cubicBezTo>
                  <a:cubicBezTo>
                    <a:pt x="455832" y="41986"/>
                    <a:pt x="464425" y="40649"/>
                    <a:pt x="474195" y="40649"/>
                  </a:cubicBezTo>
                  <a:close/>
                  <a:moveTo>
                    <a:pt x="248915" y="40649"/>
                  </a:moveTo>
                  <a:cubicBezTo>
                    <a:pt x="262322" y="40649"/>
                    <a:pt x="273376" y="46068"/>
                    <a:pt x="282076" y="56908"/>
                  </a:cubicBezTo>
                  <a:lnTo>
                    <a:pt x="282076" y="43216"/>
                  </a:lnTo>
                  <a:lnTo>
                    <a:pt x="299833" y="43216"/>
                  </a:lnTo>
                  <a:lnTo>
                    <a:pt x="299833" y="141415"/>
                  </a:lnTo>
                  <a:cubicBezTo>
                    <a:pt x="299833" y="159100"/>
                    <a:pt x="298033" y="171634"/>
                    <a:pt x="294431" y="179015"/>
                  </a:cubicBezTo>
                  <a:cubicBezTo>
                    <a:pt x="290830" y="186396"/>
                    <a:pt x="285125" y="192225"/>
                    <a:pt x="277316" y="196504"/>
                  </a:cubicBezTo>
                  <a:cubicBezTo>
                    <a:pt x="269507" y="200783"/>
                    <a:pt x="259898" y="202922"/>
                    <a:pt x="248488" y="202922"/>
                  </a:cubicBezTo>
                  <a:cubicBezTo>
                    <a:pt x="234938" y="202922"/>
                    <a:pt x="223991" y="199874"/>
                    <a:pt x="215648" y="193776"/>
                  </a:cubicBezTo>
                  <a:cubicBezTo>
                    <a:pt x="207304" y="187679"/>
                    <a:pt x="203275" y="178498"/>
                    <a:pt x="203560" y="166232"/>
                  </a:cubicBezTo>
                  <a:lnTo>
                    <a:pt x="222280" y="169013"/>
                  </a:lnTo>
                  <a:cubicBezTo>
                    <a:pt x="223064" y="174789"/>
                    <a:pt x="225239" y="178997"/>
                    <a:pt x="228805" y="181635"/>
                  </a:cubicBezTo>
                  <a:cubicBezTo>
                    <a:pt x="233583" y="185201"/>
                    <a:pt x="240108" y="186984"/>
                    <a:pt x="248381" y="186984"/>
                  </a:cubicBezTo>
                  <a:cubicBezTo>
                    <a:pt x="257295" y="186984"/>
                    <a:pt x="264177" y="185201"/>
                    <a:pt x="269026" y="181635"/>
                  </a:cubicBezTo>
                  <a:cubicBezTo>
                    <a:pt x="273875" y="178070"/>
                    <a:pt x="277156" y="173078"/>
                    <a:pt x="278867" y="166660"/>
                  </a:cubicBezTo>
                  <a:cubicBezTo>
                    <a:pt x="279866" y="162737"/>
                    <a:pt x="280329" y="154501"/>
                    <a:pt x="280258" y="141949"/>
                  </a:cubicBezTo>
                  <a:cubicBezTo>
                    <a:pt x="271843" y="151862"/>
                    <a:pt x="261360" y="156818"/>
                    <a:pt x="248809" y="156818"/>
                  </a:cubicBezTo>
                  <a:cubicBezTo>
                    <a:pt x="233191" y="156818"/>
                    <a:pt x="221103" y="151184"/>
                    <a:pt x="212546" y="139917"/>
                  </a:cubicBezTo>
                  <a:cubicBezTo>
                    <a:pt x="203988" y="128649"/>
                    <a:pt x="199709" y="115136"/>
                    <a:pt x="199709" y="99375"/>
                  </a:cubicBezTo>
                  <a:cubicBezTo>
                    <a:pt x="199709" y="88536"/>
                    <a:pt x="201670" y="78534"/>
                    <a:pt x="205593" y="69370"/>
                  </a:cubicBezTo>
                  <a:cubicBezTo>
                    <a:pt x="209515" y="60206"/>
                    <a:pt x="215202" y="53128"/>
                    <a:pt x="222654" y="48137"/>
                  </a:cubicBezTo>
                  <a:cubicBezTo>
                    <a:pt x="230107" y="43145"/>
                    <a:pt x="238860" y="40649"/>
                    <a:pt x="248915" y="40649"/>
                  </a:cubicBezTo>
                  <a:close/>
                  <a:moveTo>
                    <a:pt x="20753" y="18506"/>
                  </a:moveTo>
                  <a:lnTo>
                    <a:pt x="20753" y="138312"/>
                  </a:lnTo>
                  <a:lnTo>
                    <a:pt x="54234" y="138312"/>
                  </a:lnTo>
                  <a:cubicBezTo>
                    <a:pt x="64575" y="138312"/>
                    <a:pt x="72687" y="137350"/>
                    <a:pt x="78570" y="135424"/>
                  </a:cubicBezTo>
                  <a:cubicBezTo>
                    <a:pt x="84453" y="133499"/>
                    <a:pt x="89142" y="130789"/>
                    <a:pt x="92637" y="127294"/>
                  </a:cubicBezTo>
                  <a:cubicBezTo>
                    <a:pt x="97557" y="122374"/>
                    <a:pt x="101390" y="115760"/>
                    <a:pt x="104136" y="107451"/>
                  </a:cubicBezTo>
                  <a:cubicBezTo>
                    <a:pt x="106881" y="99143"/>
                    <a:pt x="108254" y="89070"/>
                    <a:pt x="108254" y="77232"/>
                  </a:cubicBezTo>
                  <a:cubicBezTo>
                    <a:pt x="108254" y="60830"/>
                    <a:pt x="105562" y="48226"/>
                    <a:pt x="100178" y="39418"/>
                  </a:cubicBezTo>
                  <a:cubicBezTo>
                    <a:pt x="94794" y="30611"/>
                    <a:pt x="88251" y="24710"/>
                    <a:pt x="80549" y="21715"/>
                  </a:cubicBezTo>
                  <a:cubicBezTo>
                    <a:pt x="74987" y="19575"/>
                    <a:pt x="66037" y="18506"/>
                    <a:pt x="53699" y="18506"/>
                  </a:cubicBezTo>
                  <a:close/>
                  <a:moveTo>
                    <a:pt x="391693" y="3530"/>
                  </a:moveTo>
                  <a:lnTo>
                    <a:pt x="391693" y="43216"/>
                  </a:lnTo>
                  <a:lnTo>
                    <a:pt x="411054" y="43216"/>
                  </a:lnTo>
                  <a:lnTo>
                    <a:pt x="411054" y="58192"/>
                  </a:lnTo>
                  <a:lnTo>
                    <a:pt x="391693" y="58192"/>
                  </a:lnTo>
                  <a:lnTo>
                    <a:pt x="391693" y="124620"/>
                  </a:lnTo>
                  <a:cubicBezTo>
                    <a:pt x="391693" y="130111"/>
                    <a:pt x="392032" y="133641"/>
                    <a:pt x="392709" y="135210"/>
                  </a:cubicBezTo>
                  <a:cubicBezTo>
                    <a:pt x="393387" y="136779"/>
                    <a:pt x="394492" y="138027"/>
                    <a:pt x="396025" y="138954"/>
                  </a:cubicBezTo>
                  <a:cubicBezTo>
                    <a:pt x="397558" y="139881"/>
                    <a:pt x="399751" y="140345"/>
                    <a:pt x="402604" y="140345"/>
                  </a:cubicBezTo>
                  <a:cubicBezTo>
                    <a:pt x="404743" y="140345"/>
                    <a:pt x="407560" y="140095"/>
                    <a:pt x="411054" y="139596"/>
                  </a:cubicBezTo>
                  <a:lnTo>
                    <a:pt x="413836" y="156604"/>
                  </a:lnTo>
                  <a:cubicBezTo>
                    <a:pt x="408416" y="157745"/>
                    <a:pt x="403566" y="158316"/>
                    <a:pt x="399288" y="158316"/>
                  </a:cubicBezTo>
                  <a:cubicBezTo>
                    <a:pt x="392299" y="158316"/>
                    <a:pt x="386879" y="157210"/>
                    <a:pt x="383028" y="155000"/>
                  </a:cubicBezTo>
                  <a:cubicBezTo>
                    <a:pt x="379177" y="152789"/>
                    <a:pt x="376467" y="149883"/>
                    <a:pt x="374898" y="146282"/>
                  </a:cubicBezTo>
                  <a:cubicBezTo>
                    <a:pt x="373330" y="142680"/>
                    <a:pt x="372545" y="135103"/>
                    <a:pt x="372545" y="123551"/>
                  </a:cubicBezTo>
                  <a:lnTo>
                    <a:pt x="372545" y="58192"/>
                  </a:lnTo>
                  <a:lnTo>
                    <a:pt x="358425" y="58192"/>
                  </a:lnTo>
                  <a:lnTo>
                    <a:pt x="358425" y="43216"/>
                  </a:lnTo>
                  <a:lnTo>
                    <a:pt x="372545" y="43216"/>
                  </a:lnTo>
                  <a:lnTo>
                    <a:pt x="372545" y="15083"/>
                  </a:lnTo>
                  <a:close/>
                  <a:moveTo>
                    <a:pt x="549562" y="0"/>
                  </a:moveTo>
                  <a:lnTo>
                    <a:pt x="568817" y="0"/>
                  </a:lnTo>
                  <a:lnTo>
                    <a:pt x="568817" y="156818"/>
                  </a:lnTo>
                  <a:lnTo>
                    <a:pt x="549562" y="156818"/>
                  </a:lnTo>
                  <a:close/>
                  <a:moveTo>
                    <a:pt x="321497" y="0"/>
                  </a:moveTo>
                  <a:lnTo>
                    <a:pt x="340752" y="0"/>
                  </a:lnTo>
                  <a:lnTo>
                    <a:pt x="340752" y="22143"/>
                  </a:lnTo>
                  <a:lnTo>
                    <a:pt x="321497" y="22143"/>
                  </a:lnTo>
                  <a:close/>
                  <a:moveTo>
                    <a:pt x="159572" y="0"/>
                  </a:moveTo>
                  <a:lnTo>
                    <a:pt x="178827" y="0"/>
                  </a:lnTo>
                  <a:lnTo>
                    <a:pt x="178827" y="22143"/>
                  </a:lnTo>
                  <a:lnTo>
                    <a:pt x="159572" y="22143"/>
                  </a:lnTo>
                  <a:close/>
                  <a:moveTo>
                    <a:pt x="0" y="0"/>
                  </a:moveTo>
                  <a:lnTo>
                    <a:pt x="54020" y="0"/>
                  </a:lnTo>
                  <a:cubicBezTo>
                    <a:pt x="66215" y="0"/>
                    <a:pt x="75521" y="749"/>
                    <a:pt x="81940" y="2246"/>
                  </a:cubicBezTo>
                  <a:cubicBezTo>
                    <a:pt x="90925" y="4314"/>
                    <a:pt x="98591" y="8058"/>
                    <a:pt x="104938" y="13478"/>
                  </a:cubicBezTo>
                  <a:cubicBezTo>
                    <a:pt x="113211" y="20467"/>
                    <a:pt x="119397" y="29399"/>
                    <a:pt x="123498" y="40274"/>
                  </a:cubicBezTo>
                  <a:cubicBezTo>
                    <a:pt x="127598" y="51150"/>
                    <a:pt x="129648" y="63576"/>
                    <a:pt x="129648" y="77553"/>
                  </a:cubicBezTo>
                  <a:cubicBezTo>
                    <a:pt x="129648" y="89463"/>
                    <a:pt x="128258" y="100017"/>
                    <a:pt x="125476" y="109216"/>
                  </a:cubicBezTo>
                  <a:cubicBezTo>
                    <a:pt x="122695" y="118416"/>
                    <a:pt x="119130" y="126029"/>
                    <a:pt x="114779" y="132055"/>
                  </a:cubicBezTo>
                  <a:cubicBezTo>
                    <a:pt x="110429" y="138081"/>
                    <a:pt x="105669" y="142823"/>
                    <a:pt x="100499" y="146282"/>
                  </a:cubicBezTo>
                  <a:cubicBezTo>
                    <a:pt x="95329" y="149740"/>
                    <a:pt x="89089" y="152361"/>
                    <a:pt x="81779" y="154144"/>
                  </a:cubicBezTo>
                  <a:cubicBezTo>
                    <a:pt x="74470" y="155927"/>
                    <a:pt x="66072" y="156818"/>
                    <a:pt x="56588" y="156818"/>
                  </a:cubicBez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chemeClr val="tx1"/>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spTree>
    <p:extLst>
      <p:ext uri="{BB962C8B-B14F-4D97-AF65-F5344CB8AC3E}">
        <p14:creationId xmlns:p14="http://schemas.microsoft.com/office/powerpoint/2010/main" val="1378150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7531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p:cSld name="3_Title Only">
    <p:spTree>
      <p:nvGrpSpPr>
        <p:cNvPr id="1" name="Shape 345"/>
        <p:cNvGrpSpPr/>
        <p:nvPr/>
      </p:nvGrpSpPr>
      <p:grpSpPr>
        <a:xfrm>
          <a:off x="0" y="0"/>
          <a:ext cx="0" cy="0"/>
          <a:chOff x="0" y="0"/>
          <a:chExt cx="0" cy="0"/>
        </a:xfrm>
      </p:grpSpPr>
      <p:pic>
        <p:nvPicPr>
          <p:cNvPr id="346" name="Google Shape;346;p36"/>
          <p:cNvPicPr preferRelativeResize="0"/>
          <p:nvPr/>
        </p:nvPicPr>
        <p:blipFill rotWithShape="1">
          <a:blip r:embed="rId2">
            <a:alphaModFix/>
          </a:blip>
          <a:srcRect/>
          <a:stretch/>
        </p:blipFill>
        <p:spPr>
          <a:xfrm>
            <a:off x="1621" y="1621"/>
            <a:ext cx="1620" cy="1620"/>
          </a:xfrm>
          <a:prstGeom prst="rect">
            <a:avLst/>
          </a:prstGeom>
          <a:noFill/>
          <a:ln>
            <a:noFill/>
          </a:ln>
        </p:spPr>
      </p:pic>
      <p:sp>
        <p:nvSpPr>
          <p:cNvPr id="347" name="Google Shape;347;p36"/>
          <p:cNvSpPr txBox="1">
            <a:spLocks noGrp="1"/>
          </p:cNvSpPr>
          <p:nvPr>
            <p:ph type="title"/>
          </p:nvPr>
        </p:nvSpPr>
        <p:spPr>
          <a:xfrm>
            <a:off x="233259" y="283037"/>
            <a:ext cx="10514400" cy="3768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100"/>
              <a:buNone/>
              <a:defRPr>
                <a:latin typeface="Arial Narrow"/>
                <a:ea typeface="Arial Narrow"/>
                <a:cs typeface="Arial Narrow"/>
                <a:sym typeface="Arial Narrow"/>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1901785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277872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76B00E-A5B5-456C-B833-FFCE0DD1077B}"/>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265"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3543" name="Group 13542">
            <a:extLst>
              <a:ext uri="{FF2B5EF4-FFF2-40B4-BE49-F238E27FC236}">
                <a16:creationId xmlns:a16="http://schemas.microsoft.com/office/drawing/2014/main" id="{324CB67F-E6AF-4E4F-86E2-6244AF8AA2FF}"/>
              </a:ext>
            </a:extLst>
          </p:cNvPr>
          <p:cNvGrpSpPr/>
          <p:nvPr userDrawn="1"/>
        </p:nvGrpSpPr>
        <p:grpSpPr bwMode="ltGray">
          <a:xfrm flipH="1">
            <a:off x="555656" y="1677475"/>
            <a:ext cx="11636344" cy="4531276"/>
            <a:chOff x="-2860" y="1139256"/>
            <a:chExt cx="11404527" cy="4441070"/>
          </a:xfrm>
        </p:grpSpPr>
        <p:sp>
          <p:nvSpPr>
            <p:cNvPr id="7" name="Freeform: Shape 6">
              <a:extLst>
                <a:ext uri="{FF2B5EF4-FFF2-40B4-BE49-F238E27FC236}">
                  <a16:creationId xmlns:a16="http://schemas.microsoft.com/office/drawing/2014/main" id="{9FEDFC15-24CB-4F34-BF37-37868078D361}"/>
                </a:ext>
              </a:extLst>
            </p:cNvPr>
            <p:cNvSpPr/>
            <p:nvPr/>
          </p:nvSpPr>
          <p:spPr bwMode="ltGray">
            <a:xfrm>
              <a:off x="1824360" y="2593288"/>
              <a:ext cx="903520" cy="784695"/>
            </a:xfrm>
            <a:custGeom>
              <a:avLst/>
              <a:gdLst>
                <a:gd name="connsiteX0" fmla="*/ 665665 w 903520"/>
                <a:gd name="connsiteY0" fmla="*/ 762005 h 784695"/>
                <a:gd name="connsiteX1" fmla="*/ 239407 w 903520"/>
                <a:gd name="connsiteY1" fmla="*/ 762005 h 784695"/>
                <a:gd name="connsiteX2" fmla="*/ 26269 w 903520"/>
                <a:gd name="connsiteY2" fmla="*/ 392843 h 784695"/>
                <a:gd name="connsiteX3" fmla="*/ 239407 w 903520"/>
                <a:gd name="connsiteY3" fmla="*/ 23690 h 784695"/>
                <a:gd name="connsiteX4" fmla="*/ 665665 w 903520"/>
                <a:gd name="connsiteY4" fmla="*/ 23690 h 784695"/>
                <a:gd name="connsiteX5" fmla="*/ 878812 w 903520"/>
                <a:gd name="connsiteY5" fmla="*/ 392843 h 784695"/>
                <a:gd name="connsiteX6" fmla="*/ 665665 w 903520"/>
                <a:gd name="connsiteY6" fmla="*/ 762005 h 784695"/>
                <a:gd name="connsiteX7" fmla="*/ 229776 w 903520"/>
                <a:gd name="connsiteY7" fmla="*/ 7006 h 784695"/>
                <a:gd name="connsiteX8" fmla="*/ 7006 w 903520"/>
                <a:gd name="connsiteY8" fmla="*/ 392843 h 784695"/>
                <a:gd name="connsiteX9" fmla="*/ 229776 w 903520"/>
                <a:gd name="connsiteY9" fmla="*/ 778689 h 784695"/>
                <a:gd name="connsiteX10" fmla="*/ 675306 w 903520"/>
                <a:gd name="connsiteY10" fmla="*/ 778689 h 784695"/>
                <a:gd name="connsiteX11" fmla="*/ 898066 w 903520"/>
                <a:gd name="connsiteY11" fmla="*/ 392843 h 784695"/>
                <a:gd name="connsiteX12" fmla="*/ 675306 w 903520"/>
                <a:gd name="connsiteY12" fmla="*/ 7006 h 784695"/>
                <a:gd name="connsiteX13" fmla="*/ 229776 w 903520"/>
                <a:gd name="connsiteY13" fmla="*/ 7006 h 78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3520" h="784695">
                  <a:moveTo>
                    <a:pt x="665665" y="762005"/>
                  </a:moveTo>
                  <a:lnTo>
                    <a:pt x="239407" y="762005"/>
                  </a:lnTo>
                  <a:lnTo>
                    <a:pt x="26269" y="392843"/>
                  </a:lnTo>
                  <a:lnTo>
                    <a:pt x="239407" y="23690"/>
                  </a:lnTo>
                  <a:lnTo>
                    <a:pt x="665665" y="23690"/>
                  </a:lnTo>
                  <a:lnTo>
                    <a:pt x="878812" y="392843"/>
                  </a:lnTo>
                  <a:lnTo>
                    <a:pt x="665665" y="762005"/>
                  </a:lnTo>
                  <a:close/>
                  <a:moveTo>
                    <a:pt x="229776" y="7006"/>
                  </a:moveTo>
                  <a:lnTo>
                    <a:pt x="7006" y="392843"/>
                  </a:lnTo>
                  <a:lnTo>
                    <a:pt x="229776" y="778689"/>
                  </a:lnTo>
                  <a:lnTo>
                    <a:pt x="675306" y="778689"/>
                  </a:lnTo>
                  <a:lnTo>
                    <a:pt x="898066" y="392843"/>
                  </a:lnTo>
                  <a:lnTo>
                    <a:pt x="675306" y="7006"/>
                  </a:lnTo>
                  <a:lnTo>
                    <a:pt x="22977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8" name="Freeform: Shape 7">
              <a:extLst>
                <a:ext uri="{FF2B5EF4-FFF2-40B4-BE49-F238E27FC236}">
                  <a16:creationId xmlns:a16="http://schemas.microsoft.com/office/drawing/2014/main" id="{AAD5690B-047D-44EA-B989-038AE2ECDB30}"/>
                </a:ext>
              </a:extLst>
            </p:cNvPr>
            <p:cNvSpPr/>
            <p:nvPr/>
          </p:nvSpPr>
          <p:spPr bwMode="ltGray">
            <a:xfrm>
              <a:off x="-2860" y="2970783"/>
              <a:ext cx="1764443" cy="251102"/>
            </a:xfrm>
            <a:custGeom>
              <a:avLst/>
              <a:gdLst>
                <a:gd name="connsiteX0" fmla="*/ 353870 w 1764443"/>
                <a:gd name="connsiteY0" fmla="*/ 229440 h 251102"/>
                <a:gd name="connsiteX1" fmla="*/ 7006 w 1764443"/>
                <a:gd name="connsiteY1" fmla="*/ 229440 h 251102"/>
                <a:gd name="connsiteX2" fmla="*/ 7006 w 1764443"/>
                <a:gd name="connsiteY2" fmla="*/ 246124 h 251102"/>
                <a:gd name="connsiteX3" fmla="*/ 360773 w 1764443"/>
                <a:gd name="connsiteY3" fmla="*/ 246124 h 251102"/>
                <a:gd name="connsiteX4" fmla="*/ 583207 w 1764443"/>
                <a:gd name="connsiteY4" fmla="*/ 23690 h 251102"/>
                <a:gd name="connsiteX5" fmla="*/ 1758615 w 1764443"/>
                <a:gd name="connsiteY5" fmla="*/ 23690 h 251102"/>
                <a:gd name="connsiteX6" fmla="*/ 1758615 w 1764443"/>
                <a:gd name="connsiteY6" fmla="*/ 7006 h 251102"/>
                <a:gd name="connsiteX7" fmla="*/ 576294 w 1764443"/>
                <a:gd name="connsiteY7" fmla="*/ 7006 h 251102"/>
                <a:gd name="connsiteX8" fmla="*/ 353870 w 1764443"/>
                <a:gd name="connsiteY8" fmla="*/ 229440 h 25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4443" h="251102">
                  <a:moveTo>
                    <a:pt x="353870" y="229440"/>
                  </a:moveTo>
                  <a:lnTo>
                    <a:pt x="7006" y="229440"/>
                  </a:lnTo>
                  <a:lnTo>
                    <a:pt x="7006" y="246124"/>
                  </a:lnTo>
                  <a:lnTo>
                    <a:pt x="360773" y="246124"/>
                  </a:lnTo>
                  <a:lnTo>
                    <a:pt x="583207" y="23690"/>
                  </a:lnTo>
                  <a:lnTo>
                    <a:pt x="1758615" y="23690"/>
                  </a:lnTo>
                  <a:lnTo>
                    <a:pt x="1758615" y="7006"/>
                  </a:lnTo>
                  <a:lnTo>
                    <a:pt x="576294" y="7006"/>
                  </a:lnTo>
                  <a:lnTo>
                    <a:pt x="353870" y="22944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1" name="Freeform: Shape 10">
              <a:extLst>
                <a:ext uri="{FF2B5EF4-FFF2-40B4-BE49-F238E27FC236}">
                  <a16:creationId xmlns:a16="http://schemas.microsoft.com/office/drawing/2014/main" id="{A669ED4D-1F25-43FB-BC8E-F2999BF0CA8B}"/>
                </a:ext>
              </a:extLst>
            </p:cNvPr>
            <p:cNvSpPr/>
            <p:nvPr/>
          </p:nvSpPr>
          <p:spPr bwMode="ltGray">
            <a:xfrm>
              <a:off x="2805267" y="2970783"/>
              <a:ext cx="2715045" cy="506689"/>
            </a:xfrm>
            <a:custGeom>
              <a:avLst/>
              <a:gdLst>
                <a:gd name="connsiteX0" fmla="*/ 644375 w 2715045"/>
                <a:gd name="connsiteY0" fmla="*/ 7006 h 506688"/>
                <a:gd name="connsiteX1" fmla="*/ 7006 w 2715045"/>
                <a:gd name="connsiteY1" fmla="*/ 7006 h 506688"/>
                <a:gd name="connsiteX2" fmla="*/ 7006 w 2715045"/>
                <a:gd name="connsiteY2" fmla="*/ 23690 h 506688"/>
                <a:gd name="connsiteX3" fmla="*/ 637472 w 2715045"/>
                <a:gd name="connsiteY3" fmla="*/ 23690 h 506688"/>
                <a:gd name="connsiteX4" fmla="*/ 1112932 w 2715045"/>
                <a:gd name="connsiteY4" fmla="*/ 499151 h 506688"/>
                <a:gd name="connsiteX5" fmla="*/ 1115371 w 2715045"/>
                <a:gd name="connsiteY5" fmla="*/ 501598 h 506688"/>
                <a:gd name="connsiteX6" fmla="*/ 2709489 w 2715045"/>
                <a:gd name="connsiteY6" fmla="*/ 501598 h 506688"/>
                <a:gd name="connsiteX7" fmla="*/ 2709489 w 2715045"/>
                <a:gd name="connsiteY7" fmla="*/ 484914 h 506688"/>
                <a:gd name="connsiteX8" fmla="*/ 1122283 w 2715045"/>
                <a:gd name="connsiteY8" fmla="*/ 484914 h 506688"/>
                <a:gd name="connsiteX9" fmla="*/ 644375 w 2715045"/>
                <a:gd name="connsiteY9" fmla="*/ 700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5045" h="506688">
                  <a:moveTo>
                    <a:pt x="644375" y="7006"/>
                  </a:moveTo>
                  <a:lnTo>
                    <a:pt x="7006" y="7006"/>
                  </a:lnTo>
                  <a:lnTo>
                    <a:pt x="7006" y="23690"/>
                  </a:lnTo>
                  <a:lnTo>
                    <a:pt x="637472" y="23690"/>
                  </a:lnTo>
                  <a:lnTo>
                    <a:pt x="1112932" y="499151"/>
                  </a:lnTo>
                  <a:lnTo>
                    <a:pt x="1115371" y="501598"/>
                  </a:lnTo>
                  <a:lnTo>
                    <a:pt x="2709489" y="501598"/>
                  </a:lnTo>
                  <a:lnTo>
                    <a:pt x="2709489" y="484914"/>
                  </a:lnTo>
                  <a:lnTo>
                    <a:pt x="1122283" y="484914"/>
                  </a:lnTo>
                  <a:lnTo>
                    <a:pt x="644375"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2" name="Freeform: Shape 11">
              <a:extLst>
                <a:ext uri="{FF2B5EF4-FFF2-40B4-BE49-F238E27FC236}">
                  <a16:creationId xmlns:a16="http://schemas.microsoft.com/office/drawing/2014/main" id="{4B75C264-0E6C-430F-BC98-C38D65FC643B}"/>
                </a:ext>
              </a:extLst>
            </p:cNvPr>
            <p:cNvSpPr/>
            <p:nvPr/>
          </p:nvSpPr>
          <p:spPr bwMode="ltGray">
            <a:xfrm>
              <a:off x="-2860" y="2825904"/>
              <a:ext cx="1849639" cy="547045"/>
            </a:xfrm>
            <a:custGeom>
              <a:avLst/>
              <a:gdLst>
                <a:gd name="connsiteX0" fmla="*/ 1359392 w 1849638"/>
                <a:gd name="connsiteY0" fmla="*/ 7006 h 547044"/>
                <a:gd name="connsiteX1" fmla="*/ 650569 w 1849638"/>
                <a:gd name="connsiteY1" fmla="*/ 7006 h 547044"/>
                <a:gd name="connsiteX2" fmla="*/ 122627 w 1849638"/>
                <a:gd name="connsiteY2" fmla="*/ 534948 h 547044"/>
                <a:gd name="connsiteX3" fmla="*/ 7006 w 1849638"/>
                <a:gd name="connsiteY3" fmla="*/ 534948 h 547044"/>
                <a:gd name="connsiteX4" fmla="*/ 7006 w 1849638"/>
                <a:gd name="connsiteY4" fmla="*/ 540506 h 547044"/>
                <a:gd name="connsiteX5" fmla="*/ 124925 w 1849638"/>
                <a:gd name="connsiteY5" fmla="*/ 540506 h 547044"/>
                <a:gd name="connsiteX6" fmla="*/ 652876 w 1849638"/>
                <a:gd name="connsiteY6" fmla="*/ 12564 h 547044"/>
                <a:gd name="connsiteX7" fmla="*/ 1357094 w 1849638"/>
                <a:gd name="connsiteY7" fmla="*/ 12564 h 547044"/>
                <a:gd name="connsiteX8" fmla="*/ 1688105 w 1849638"/>
                <a:gd name="connsiteY8" fmla="*/ 343576 h 547044"/>
                <a:gd name="connsiteX9" fmla="*/ 1843858 w 1849638"/>
                <a:gd name="connsiteY9" fmla="*/ 343576 h 547044"/>
                <a:gd name="connsiteX10" fmla="*/ 1843858 w 1849638"/>
                <a:gd name="connsiteY10" fmla="*/ 338017 h 547044"/>
                <a:gd name="connsiteX11" fmla="*/ 1690412 w 1849638"/>
                <a:gd name="connsiteY11" fmla="*/ 338017 h 547044"/>
                <a:gd name="connsiteX12" fmla="*/ 1359392 w 1849638"/>
                <a:gd name="connsiteY12" fmla="*/ 7006 h 54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9638" h="547044">
                  <a:moveTo>
                    <a:pt x="1359392" y="7006"/>
                  </a:moveTo>
                  <a:lnTo>
                    <a:pt x="650569" y="7006"/>
                  </a:lnTo>
                  <a:lnTo>
                    <a:pt x="122627" y="534948"/>
                  </a:lnTo>
                  <a:lnTo>
                    <a:pt x="7006" y="534948"/>
                  </a:lnTo>
                  <a:lnTo>
                    <a:pt x="7006" y="540506"/>
                  </a:lnTo>
                  <a:lnTo>
                    <a:pt x="124925" y="540506"/>
                  </a:lnTo>
                  <a:lnTo>
                    <a:pt x="652876" y="12564"/>
                  </a:lnTo>
                  <a:lnTo>
                    <a:pt x="1357094" y="12564"/>
                  </a:lnTo>
                  <a:lnTo>
                    <a:pt x="1688105" y="343576"/>
                  </a:lnTo>
                  <a:lnTo>
                    <a:pt x="1843858" y="343576"/>
                  </a:lnTo>
                  <a:lnTo>
                    <a:pt x="1843858" y="338017"/>
                  </a:lnTo>
                  <a:lnTo>
                    <a:pt x="1690412" y="338017"/>
                  </a:lnTo>
                  <a:lnTo>
                    <a:pt x="135939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4" name="Freeform: Shape 13">
              <a:extLst>
                <a:ext uri="{FF2B5EF4-FFF2-40B4-BE49-F238E27FC236}">
                  <a16:creationId xmlns:a16="http://schemas.microsoft.com/office/drawing/2014/main" id="{D165D9A9-88F2-4C93-8A1E-66AE2895F9F3}"/>
                </a:ext>
              </a:extLst>
            </p:cNvPr>
            <p:cNvSpPr/>
            <p:nvPr/>
          </p:nvSpPr>
          <p:spPr bwMode="ltGray">
            <a:xfrm>
              <a:off x="-2860" y="3270322"/>
              <a:ext cx="3017714" cy="851955"/>
            </a:xfrm>
            <a:custGeom>
              <a:avLst/>
              <a:gdLst>
                <a:gd name="connsiteX0" fmla="*/ 2028738 w 3017713"/>
                <a:gd name="connsiteY0" fmla="*/ 415693 h 851954"/>
                <a:gd name="connsiteX1" fmla="*/ 877738 w 3017713"/>
                <a:gd name="connsiteY1" fmla="*/ 415693 h 851954"/>
                <a:gd name="connsiteX2" fmla="*/ 469052 w 3017713"/>
                <a:gd name="connsiteY2" fmla="*/ 7006 h 851954"/>
                <a:gd name="connsiteX3" fmla="*/ 7006 w 3017713"/>
                <a:gd name="connsiteY3" fmla="*/ 7006 h 851954"/>
                <a:gd name="connsiteX4" fmla="*/ 7006 w 3017713"/>
                <a:gd name="connsiteY4" fmla="*/ 12574 h 851954"/>
                <a:gd name="connsiteX5" fmla="*/ 466745 w 3017713"/>
                <a:gd name="connsiteY5" fmla="*/ 12574 h 851954"/>
                <a:gd name="connsiteX6" fmla="*/ 875440 w 3017713"/>
                <a:gd name="connsiteY6" fmla="*/ 421251 h 851954"/>
                <a:gd name="connsiteX7" fmla="*/ 2026440 w 3017713"/>
                <a:gd name="connsiteY7" fmla="*/ 421251 h 851954"/>
                <a:gd name="connsiteX8" fmla="*/ 2451810 w 3017713"/>
                <a:gd name="connsiteY8" fmla="*/ 846621 h 851954"/>
                <a:gd name="connsiteX9" fmla="*/ 3011775 w 3017713"/>
                <a:gd name="connsiteY9" fmla="*/ 846621 h 851954"/>
                <a:gd name="connsiteX10" fmla="*/ 3011775 w 3017713"/>
                <a:gd name="connsiteY10" fmla="*/ 841063 h 851954"/>
                <a:gd name="connsiteX11" fmla="*/ 2454108 w 3017713"/>
                <a:gd name="connsiteY11" fmla="*/ 841063 h 851954"/>
                <a:gd name="connsiteX12" fmla="*/ 2028738 w 3017713"/>
                <a:gd name="connsiteY12" fmla="*/ 415693 h 8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7713" h="851954">
                  <a:moveTo>
                    <a:pt x="2028738" y="415693"/>
                  </a:moveTo>
                  <a:lnTo>
                    <a:pt x="877738" y="415693"/>
                  </a:lnTo>
                  <a:lnTo>
                    <a:pt x="469052" y="7006"/>
                  </a:lnTo>
                  <a:lnTo>
                    <a:pt x="7006" y="7006"/>
                  </a:lnTo>
                  <a:lnTo>
                    <a:pt x="7006" y="12574"/>
                  </a:lnTo>
                  <a:lnTo>
                    <a:pt x="466745" y="12574"/>
                  </a:lnTo>
                  <a:lnTo>
                    <a:pt x="875440" y="421251"/>
                  </a:lnTo>
                  <a:lnTo>
                    <a:pt x="2026440" y="421251"/>
                  </a:lnTo>
                  <a:lnTo>
                    <a:pt x="2451810" y="846621"/>
                  </a:lnTo>
                  <a:lnTo>
                    <a:pt x="3011775" y="846621"/>
                  </a:lnTo>
                  <a:lnTo>
                    <a:pt x="3011775" y="841063"/>
                  </a:lnTo>
                  <a:lnTo>
                    <a:pt x="2454108" y="841063"/>
                  </a:lnTo>
                  <a:lnTo>
                    <a:pt x="2028738" y="41569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5" name="Freeform: Shape 14">
              <a:extLst>
                <a:ext uri="{FF2B5EF4-FFF2-40B4-BE49-F238E27FC236}">
                  <a16:creationId xmlns:a16="http://schemas.microsoft.com/office/drawing/2014/main" id="{27D8299B-4526-42CE-B345-23D469152E5B}"/>
                </a:ext>
              </a:extLst>
            </p:cNvPr>
            <p:cNvSpPr/>
            <p:nvPr/>
          </p:nvSpPr>
          <p:spPr bwMode="ltGray">
            <a:xfrm>
              <a:off x="5300180" y="3627219"/>
              <a:ext cx="775727" cy="672596"/>
            </a:xfrm>
            <a:custGeom>
              <a:avLst/>
              <a:gdLst>
                <a:gd name="connsiteX0" fmla="*/ 556097 w 775727"/>
                <a:gd name="connsiteY0" fmla="*/ 627897 h 672595"/>
                <a:gd name="connsiteX1" fmla="*/ 220368 w 775727"/>
                <a:gd name="connsiteY1" fmla="*/ 627897 h 672595"/>
                <a:gd name="connsiteX2" fmla="*/ 52500 w 775727"/>
                <a:gd name="connsiteY2" fmla="*/ 337148 h 672595"/>
                <a:gd name="connsiteX3" fmla="*/ 220368 w 775727"/>
                <a:gd name="connsiteY3" fmla="*/ 46400 h 672595"/>
                <a:gd name="connsiteX4" fmla="*/ 556097 w 775727"/>
                <a:gd name="connsiteY4" fmla="*/ 46400 h 672595"/>
                <a:gd name="connsiteX5" fmla="*/ 723957 w 775727"/>
                <a:gd name="connsiteY5" fmla="*/ 337148 h 672595"/>
                <a:gd name="connsiteX6" fmla="*/ 556097 w 775727"/>
                <a:gd name="connsiteY6" fmla="*/ 627897 h 672595"/>
                <a:gd name="connsiteX7" fmla="*/ 197622 w 775727"/>
                <a:gd name="connsiteY7" fmla="*/ 7006 h 672595"/>
                <a:gd name="connsiteX8" fmla="*/ 7006 w 775727"/>
                <a:gd name="connsiteY8" fmla="*/ 337148 h 672595"/>
                <a:gd name="connsiteX9" fmla="*/ 197622 w 775727"/>
                <a:gd name="connsiteY9" fmla="*/ 667290 h 672595"/>
                <a:gd name="connsiteX10" fmla="*/ 578835 w 775727"/>
                <a:gd name="connsiteY10" fmla="*/ 667290 h 672595"/>
                <a:gd name="connsiteX11" fmla="*/ 769441 w 775727"/>
                <a:gd name="connsiteY11" fmla="*/ 337148 h 672595"/>
                <a:gd name="connsiteX12" fmla="*/ 578835 w 775727"/>
                <a:gd name="connsiteY12" fmla="*/ 7006 h 672595"/>
                <a:gd name="connsiteX13" fmla="*/ 197622 w 775727"/>
                <a:gd name="connsiteY13" fmla="*/ 7006 h 67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5727" h="672595">
                  <a:moveTo>
                    <a:pt x="556097" y="627897"/>
                  </a:moveTo>
                  <a:lnTo>
                    <a:pt x="220368" y="627897"/>
                  </a:lnTo>
                  <a:lnTo>
                    <a:pt x="52500" y="337148"/>
                  </a:lnTo>
                  <a:lnTo>
                    <a:pt x="220368" y="46400"/>
                  </a:lnTo>
                  <a:lnTo>
                    <a:pt x="556097" y="46400"/>
                  </a:lnTo>
                  <a:lnTo>
                    <a:pt x="723957" y="337148"/>
                  </a:lnTo>
                  <a:lnTo>
                    <a:pt x="556097" y="627897"/>
                  </a:lnTo>
                  <a:close/>
                  <a:moveTo>
                    <a:pt x="197622" y="7006"/>
                  </a:moveTo>
                  <a:lnTo>
                    <a:pt x="7006" y="337148"/>
                  </a:lnTo>
                  <a:lnTo>
                    <a:pt x="197622" y="667290"/>
                  </a:lnTo>
                  <a:lnTo>
                    <a:pt x="578835" y="667290"/>
                  </a:lnTo>
                  <a:lnTo>
                    <a:pt x="769441" y="337148"/>
                  </a:lnTo>
                  <a:lnTo>
                    <a:pt x="578835" y="7006"/>
                  </a:lnTo>
                  <a:lnTo>
                    <a:pt x="19762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6" name="Freeform: Shape 15">
              <a:extLst>
                <a:ext uri="{FF2B5EF4-FFF2-40B4-BE49-F238E27FC236}">
                  <a16:creationId xmlns:a16="http://schemas.microsoft.com/office/drawing/2014/main" id="{0D2EC36D-4A99-4E84-86C6-72BA023FD7FD}"/>
                </a:ext>
              </a:extLst>
            </p:cNvPr>
            <p:cNvSpPr/>
            <p:nvPr/>
          </p:nvSpPr>
          <p:spPr bwMode="ltGray">
            <a:xfrm>
              <a:off x="2337439" y="1928436"/>
              <a:ext cx="576190" cy="502205"/>
            </a:xfrm>
            <a:custGeom>
              <a:avLst/>
              <a:gdLst>
                <a:gd name="connsiteX0" fmla="*/ 397635 w 576190"/>
                <a:gd name="connsiteY0" fmla="*/ 439299 h 502204"/>
                <a:gd name="connsiteX1" fmla="*/ 180536 w 576190"/>
                <a:gd name="connsiteY1" fmla="*/ 439299 h 502204"/>
                <a:gd name="connsiteX2" fmla="*/ 71987 w 576190"/>
                <a:gd name="connsiteY2" fmla="*/ 251289 h 502204"/>
                <a:gd name="connsiteX3" fmla="*/ 180536 w 576190"/>
                <a:gd name="connsiteY3" fmla="*/ 63280 h 502204"/>
                <a:gd name="connsiteX4" fmla="*/ 397635 w 576190"/>
                <a:gd name="connsiteY4" fmla="*/ 63280 h 502204"/>
                <a:gd name="connsiteX5" fmla="*/ 506185 w 576190"/>
                <a:gd name="connsiteY5" fmla="*/ 251289 h 502204"/>
                <a:gd name="connsiteX6" fmla="*/ 397635 w 576190"/>
                <a:gd name="connsiteY6" fmla="*/ 439299 h 502204"/>
                <a:gd name="connsiteX7" fmla="*/ 148046 w 576190"/>
                <a:gd name="connsiteY7" fmla="*/ 7006 h 502204"/>
                <a:gd name="connsiteX8" fmla="*/ 7006 w 576190"/>
                <a:gd name="connsiteY8" fmla="*/ 251289 h 502204"/>
                <a:gd name="connsiteX9" fmla="*/ 148046 w 576190"/>
                <a:gd name="connsiteY9" fmla="*/ 495582 h 502204"/>
                <a:gd name="connsiteX10" fmla="*/ 430125 w 576190"/>
                <a:gd name="connsiteY10" fmla="*/ 495582 h 502204"/>
                <a:gd name="connsiteX11" fmla="*/ 571165 w 576190"/>
                <a:gd name="connsiteY11" fmla="*/ 251289 h 502204"/>
                <a:gd name="connsiteX12" fmla="*/ 430125 w 576190"/>
                <a:gd name="connsiteY12" fmla="*/ 7006 h 502204"/>
                <a:gd name="connsiteX13" fmla="*/ 148046 w 576190"/>
                <a:gd name="connsiteY13" fmla="*/ 7006 h 50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190" h="502204">
                  <a:moveTo>
                    <a:pt x="397635" y="439299"/>
                  </a:moveTo>
                  <a:lnTo>
                    <a:pt x="180536" y="439299"/>
                  </a:lnTo>
                  <a:lnTo>
                    <a:pt x="71987" y="251289"/>
                  </a:lnTo>
                  <a:lnTo>
                    <a:pt x="180536" y="63280"/>
                  </a:lnTo>
                  <a:lnTo>
                    <a:pt x="397635" y="63280"/>
                  </a:lnTo>
                  <a:lnTo>
                    <a:pt x="506185" y="251289"/>
                  </a:lnTo>
                  <a:lnTo>
                    <a:pt x="397635" y="439299"/>
                  </a:lnTo>
                  <a:close/>
                  <a:moveTo>
                    <a:pt x="148046" y="7006"/>
                  </a:moveTo>
                  <a:lnTo>
                    <a:pt x="7006" y="251289"/>
                  </a:lnTo>
                  <a:lnTo>
                    <a:pt x="148046" y="495582"/>
                  </a:lnTo>
                  <a:lnTo>
                    <a:pt x="430125" y="495582"/>
                  </a:lnTo>
                  <a:lnTo>
                    <a:pt x="571165" y="251289"/>
                  </a:lnTo>
                  <a:lnTo>
                    <a:pt x="430125" y="7006"/>
                  </a:lnTo>
                  <a:lnTo>
                    <a:pt x="14804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7" name="Freeform: Shape 16">
              <a:extLst>
                <a:ext uri="{FF2B5EF4-FFF2-40B4-BE49-F238E27FC236}">
                  <a16:creationId xmlns:a16="http://schemas.microsoft.com/office/drawing/2014/main" id="{80BD8807-D996-4529-89F5-121C9BECFF13}"/>
                </a:ext>
              </a:extLst>
            </p:cNvPr>
            <p:cNvSpPr/>
            <p:nvPr/>
          </p:nvSpPr>
          <p:spPr bwMode="ltGray">
            <a:xfrm>
              <a:off x="2819261" y="4481154"/>
              <a:ext cx="309394" cy="309394"/>
            </a:xfrm>
            <a:custGeom>
              <a:avLst/>
              <a:gdLst>
                <a:gd name="connsiteX0" fmla="*/ 155753 w 309394"/>
                <a:gd name="connsiteY0" fmla="*/ 276353 h 309394"/>
                <a:gd name="connsiteX1" fmla="*/ 35143 w 309394"/>
                <a:gd name="connsiteY1" fmla="*/ 155743 h 309394"/>
                <a:gd name="connsiteX2" fmla="*/ 155753 w 309394"/>
                <a:gd name="connsiteY2" fmla="*/ 35134 h 309394"/>
                <a:gd name="connsiteX3" fmla="*/ 276353 w 309394"/>
                <a:gd name="connsiteY3" fmla="*/ 155743 h 309394"/>
                <a:gd name="connsiteX4" fmla="*/ 155753 w 309394"/>
                <a:gd name="connsiteY4" fmla="*/ 276353 h 309394"/>
                <a:gd name="connsiteX5" fmla="*/ 155753 w 309394"/>
                <a:gd name="connsiteY5" fmla="*/ 7006 h 309394"/>
                <a:gd name="connsiteX6" fmla="*/ 7006 w 309394"/>
                <a:gd name="connsiteY6" fmla="*/ 155743 h 309394"/>
                <a:gd name="connsiteX7" fmla="*/ 155753 w 309394"/>
                <a:gd name="connsiteY7" fmla="*/ 304481 h 309394"/>
                <a:gd name="connsiteX8" fmla="*/ 304490 w 309394"/>
                <a:gd name="connsiteY8" fmla="*/ 15574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41" y="276353"/>
                    <a:pt x="35143" y="222246"/>
                    <a:pt x="35143" y="155743"/>
                  </a:cubicBezTo>
                  <a:cubicBezTo>
                    <a:pt x="35143" y="89241"/>
                    <a:pt x="89241" y="35134"/>
                    <a:pt x="155753" y="35134"/>
                  </a:cubicBezTo>
                  <a:cubicBezTo>
                    <a:pt x="222247" y="35134"/>
                    <a:pt x="276353" y="89241"/>
                    <a:pt x="276353" y="155743"/>
                  </a:cubicBezTo>
                  <a:cubicBezTo>
                    <a:pt x="276353" y="222246"/>
                    <a:pt x="222247" y="276353"/>
                    <a:pt x="155753" y="276353"/>
                  </a:cubicBezTo>
                  <a:close/>
                  <a:moveTo>
                    <a:pt x="155753" y="7006"/>
                  </a:moveTo>
                  <a:cubicBezTo>
                    <a:pt x="73733" y="7006"/>
                    <a:pt x="7006" y="73724"/>
                    <a:pt x="7006" y="155743"/>
                  </a:cubicBezTo>
                  <a:cubicBezTo>
                    <a:pt x="7006" y="237763"/>
                    <a:pt x="73733" y="304481"/>
                    <a:pt x="155753" y="304481"/>
                  </a:cubicBezTo>
                  <a:cubicBezTo>
                    <a:pt x="237763" y="304481"/>
                    <a:pt x="304490" y="237763"/>
                    <a:pt x="304490" y="155743"/>
                  </a:cubicBezTo>
                  <a:cubicBezTo>
                    <a:pt x="304490" y="73724"/>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8" name="Freeform: Shape 17">
              <a:extLst>
                <a:ext uri="{FF2B5EF4-FFF2-40B4-BE49-F238E27FC236}">
                  <a16:creationId xmlns:a16="http://schemas.microsoft.com/office/drawing/2014/main" id="{66DE31F6-94CA-4A88-A859-62DFCD8174E9}"/>
                </a:ext>
              </a:extLst>
            </p:cNvPr>
            <p:cNvSpPr/>
            <p:nvPr/>
          </p:nvSpPr>
          <p:spPr bwMode="ltGray">
            <a:xfrm>
              <a:off x="3906961"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4" y="88007"/>
                    <a:pt x="15470" y="71744"/>
                    <a:pt x="15470" y="51734"/>
                  </a:cubicBezTo>
                  <a:cubicBezTo>
                    <a:pt x="15470" y="31734"/>
                    <a:pt x="31734" y="15469"/>
                    <a:pt x="51734" y="15469"/>
                  </a:cubicBezTo>
                  <a:cubicBezTo>
                    <a:pt x="71734" y="15469"/>
                    <a:pt x="88008" y="31734"/>
                    <a:pt x="88008" y="51734"/>
                  </a:cubicBezTo>
                  <a:cubicBezTo>
                    <a:pt x="88008" y="71744"/>
                    <a:pt x="71734" y="88007"/>
                    <a:pt x="51734" y="88007"/>
                  </a:cubicBezTo>
                  <a:close/>
                  <a:moveTo>
                    <a:pt x="51734" y="7006"/>
                  </a:moveTo>
                  <a:cubicBezTo>
                    <a:pt x="27072" y="7006"/>
                    <a:pt x="7006" y="27063"/>
                    <a:pt x="7006" y="51734"/>
                  </a:cubicBezTo>
                  <a:cubicBezTo>
                    <a:pt x="7006" y="76405"/>
                    <a:pt x="2707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9" name="Freeform: Shape 18">
              <a:extLst>
                <a:ext uri="{FF2B5EF4-FFF2-40B4-BE49-F238E27FC236}">
                  <a16:creationId xmlns:a16="http://schemas.microsoft.com/office/drawing/2014/main" id="{651A8BD3-A76D-46D4-B266-F379C504A9A2}"/>
                </a:ext>
              </a:extLst>
            </p:cNvPr>
            <p:cNvSpPr/>
            <p:nvPr/>
          </p:nvSpPr>
          <p:spPr bwMode="ltGray">
            <a:xfrm>
              <a:off x="695080" y="3091467"/>
              <a:ext cx="103131" cy="103131"/>
            </a:xfrm>
            <a:custGeom>
              <a:avLst/>
              <a:gdLst>
                <a:gd name="connsiteX0" fmla="*/ 51743 w 103131"/>
                <a:gd name="connsiteY0" fmla="*/ 88007 h 103131"/>
                <a:gd name="connsiteX1" fmla="*/ 15470 w 103131"/>
                <a:gd name="connsiteY1" fmla="*/ 51734 h 103131"/>
                <a:gd name="connsiteX2" fmla="*/ 51743 w 103131"/>
                <a:gd name="connsiteY2" fmla="*/ 15470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71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70"/>
                    <a:pt x="51743" y="15470"/>
                  </a:cubicBezTo>
                  <a:cubicBezTo>
                    <a:pt x="71744" y="15470"/>
                    <a:pt x="88017" y="31734"/>
                    <a:pt x="88017" y="51734"/>
                  </a:cubicBezTo>
                  <a:cubicBezTo>
                    <a:pt x="88017" y="71744"/>
                    <a:pt x="71744" y="88007"/>
                    <a:pt x="51743" y="88007"/>
                  </a:cubicBezTo>
                  <a:close/>
                  <a:moveTo>
                    <a:pt x="51743" y="7006"/>
                  </a:moveTo>
                  <a:cubicBezTo>
                    <a:pt x="27072" y="7006"/>
                    <a:pt x="7006" y="27072"/>
                    <a:pt x="7006" y="51734"/>
                  </a:cubicBezTo>
                  <a:cubicBezTo>
                    <a:pt x="7006" y="76405"/>
                    <a:pt x="27072" y="96471"/>
                    <a:pt x="51743" y="96471"/>
                  </a:cubicBezTo>
                  <a:cubicBezTo>
                    <a:pt x="76405" y="96471"/>
                    <a:pt x="96471" y="76405"/>
                    <a:pt x="96471" y="51734"/>
                  </a:cubicBezTo>
                  <a:cubicBezTo>
                    <a:pt x="96471" y="27072"/>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0" name="Freeform: Shape 19">
              <a:extLst>
                <a:ext uri="{FF2B5EF4-FFF2-40B4-BE49-F238E27FC236}">
                  <a16:creationId xmlns:a16="http://schemas.microsoft.com/office/drawing/2014/main" id="{34083F2C-93A2-439D-8F39-67F12681D165}"/>
                </a:ext>
              </a:extLst>
            </p:cNvPr>
            <p:cNvSpPr/>
            <p:nvPr/>
          </p:nvSpPr>
          <p:spPr bwMode="ltGray">
            <a:xfrm>
              <a:off x="4058912"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80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43" y="88007"/>
                    <a:pt x="15470" y="71744"/>
                    <a:pt x="15470" y="51734"/>
                  </a:cubicBezTo>
                  <a:cubicBezTo>
                    <a:pt x="15470" y="31734"/>
                    <a:pt x="31743" y="15469"/>
                    <a:pt x="51734" y="15469"/>
                  </a:cubicBezTo>
                  <a:cubicBezTo>
                    <a:pt x="71744" y="15469"/>
                    <a:pt x="88008" y="31734"/>
                    <a:pt x="88008" y="51734"/>
                  </a:cubicBezTo>
                  <a:cubicBezTo>
                    <a:pt x="88008" y="71744"/>
                    <a:pt x="71744" y="88007"/>
                    <a:pt x="51734" y="88007"/>
                  </a:cubicBezTo>
                  <a:close/>
                  <a:moveTo>
                    <a:pt x="51734" y="7006"/>
                  </a:moveTo>
                  <a:cubicBezTo>
                    <a:pt x="27072" y="7006"/>
                    <a:pt x="7006" y="27063"/>
                    <a:pt x="7006" y="51734"/>
                  </a:cubicBezTo>
                  <a:cubicBezTo>
                    <a:pt x="7006" y="76405"/>
                    <a:pt x="27072" y="96471"/>
                    <a:pt x="51734" y="96471"/>
                  </a:cubicBezTo>
                  <a:cubicBezTo>
                    <a:pt x="76405" y="96471"/>
                    <a:pt x="96480" y="76405"/>
                    <a:pt x="96480" y="51734"/>
                  </a:cubicBezTo>
                  <a:cubicBezTo>
                    <a:pt x="96480"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1" name="Freeform: Shape 20">
              <a:extLst>
                <a:ext uri="{FF2B5EF4-FFF2-40B4-BE49-F238E27FC236}">
                  <a16:creationId xmlns:a16="http://schemas.microsoft.com/office/drawing/2014/main" id="{192168E2-3566-46D6-A5ED-D6FD7BA0B944}"/>
                </a:ext>
              </a:extLst>
            </p:cNvPr>
            <p:cNvSpPr/>
            <p:nvPr/>
          </p:nvSpPr>
          <p:spPr bwMode="ltGray">
            <a:xfrm>
              <a:off x="4210872" y="4602044"/>
              <a:ext cx="103131" cy="103131"/>
            </a:xfrm>
            <a:custGeom>
              <a:avLst/>
              <a:gdLst>
                <a:gd name="connsiteX0" fmla="*/ 51734 w 103131"/>
                <a:gd name="connsiteY0" fmla="*/ 88007 h 103131"/>
                <a:gd name="connsiteX1" fmla="*/ 15469 w 103131"/>
                <a:gd name="connsiteY1" fmla="*/ 51734 h 103131"/>
                <a:gd name="connsiteX2" fmla="*/ 51734 w 103131"/>
                <a:gd name="connsiteY2" fmla="*/ 15469 h 103131"/>
                <a:gd name="connsiteX3" fmla="*/ 88007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3" y="88007"/>
                    <a:pt x="15469" y="71744"/>
                    <a:pt x="15469" y="51734"/>
                  </a:cubicBezTo>
                  <a:cubicBezTo>
                    <a:pt x="15469" y="31734"/>
                    <a:pt x="31733" y="15469"/>
                    <a:pt x="51734" y="15469"/>
                  </a:cubicBezTo>
                  <a:cubicBezTo>
                    <a:pt x="71734" y="15469"/>
                    <a:pt x="88007" y="31734"/>
                    <a:pt x="88007" y="51734"/>
                  </a:cubicBezTo>
                  <a:cubicBezTo>
                    <a:pt x="88007" y="71744"/>
                    <a:pt x="71734" y="88007"/>
                    <a:pt x="51734" y="88007"/>
                  </a:cubicBezTo>
                  <a:close/>
                  <a:moveTo>
                    <a:pt x="51734" y="7006"/>
                  </a:moveTo>
                  <a:cubicBezTo>
                    <a:pt x="27062" y="7006"/>
                    <a:pt x="7006" y="27063"/>
                    <a:pt x="7006" y="51734"/>
                  </a:cubicBezTo>
                  <a:cubicBezTo>
                    <a:pt x="7006" y="76405"/>
                    <a:pt x="2706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2" name="Freeform: Shape 21">
              <a:extLst>
                <a:ext uri="{FF2B5EF4-FFF2-40B4-BE49-F238E27FC236}">
                  <a16:creationId xmlns:a16="http://schemas.microsoft.com/office/drawing/2014/main" id="{2406F118-0906-4EE7-AE23-D19C8E2A2C08}"/>
                </a:ext>
              </a:extLst>
            </p:cNvPr>
            <p:cNvSpPr/>
            <p:nvPr/>
          </p:nvSpPr>
          <p:spPr bwMode="ltGray">
            <a:xfrm>
              <a:off x="4362823" y="4602044"/>
              <a:ext cx="103131" cy="103131"/>
            </a:xfrm>
            <a:custGeom>
              <a:avLst/>
              <a:gdLst>
                <a:gd name="connsiteX0" fmla="*/ 51743 w 103131"/>
                <a:gd name="connsiteY0" fmla="*/ 88007 h 103131"/>
                <a:gd name="connsiteX1" fmla="*/ 15470 w 103131"/>
                <a:gd name="connsiteY1" fmla="*/ 51734 h 103131"/>
                <a:gd name="connsiteX2" fmla="*/ 51743 w 103131"/>
                <a:gd name="connsiteY2" fmla="*/ 15469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80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69"/>
                    <a:pt x="51743" y="15469"/>
                  </a:cubicBezTo>
                  <a:cubicBezTo>
                    <a:pt x="71744" y="15469"/>
                    <a:pt x="88017" y="31734"/>
                    <a:pt x="88017" y="51734"/>
                  </a:cubicBezTo>
                  <a:cubicBezTo>
                    <a:pt x="88017" y="71744"/>
                    <a:pt x="71744" y="88007"/>
                    <a:pt x="51743" y="88007"/>
                  </a:cubicBezTo>
                  <a:close/>
                  <a:moveTo>
                    <a:pt x="51743" y="7006"/>
                  </a:moveTo>
                  <a:cubicBezTo>
                    <a:pt x="27072" y="7006"/>
                    <a:pt x="7006" y="27063"/>
                    <a:pt x="7006" y="51734"/>
                  </a:cubicBezTo>
                  <a:cubicBezTo>
                    <a:pt x="7006" y="76405"/>
                    <a:pt x="27072" y="96471"/>
                    <a:pt x="51743" y="96471"/>
                  </a:cubicBezTo>
                  <a:cubicBezTo>
                    <a:pt x="76405" y="96471"/>
                    <a:pt x="96480" y="76405"/>
                    <a:pt x="96480" y="51734"/>
                  </a:cubicBezTo>
                  <a:cubicBezTo>
                    <a:pt x="96480" y="27063"/>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3" name="Freeform: Shape 22">
              <a:extLst>
                <a:ext uri="{FF2B5EF4-FFF2-40B4-BE49-F238E27FC236}">
                  <a16:creationId xmlns:a16="http://schemas.microsoft.com/office/drawing/2014/main" id="{32DBD058-2DD8-479B-8476-DF4D1BBDF9FC}"/>
                </a:ext>
              </a:extLst>
            </p:cNvPr>
            <p:cNvSpPr/>
            <p:nvPr/>
          </p:nvSpPr>
          <p:spPr bwMode="ltGray">
            <a:xfrm>
              <a:off x="4823692" y="3926402"/>
              <a:ext cx="139003" cy="139003"/>
            </a:xfrm>
            <a:custGeom>
              <a:avLst/>
              <a:gdLst>
                <a:gd name="connsiteX0" fmla="*/ 69745 w 139003"/>
                <a:gd name="connsiteY0" fmla="*/ 98713 h 139003"/>
                <a:gd name="connsiteX1" fmla="*/ 40776 w 139003"/>
                <a:gd name="connsiteY1" fmla="*/ 69754 h 139003"/>
                <a:gd name="connsiteX2" fmla="*/ 69745 w 139003"/>
                <a:gd name="connsiteY2" fmla="*/ 40776 h 139003"/>
                <a:gd name="connsiteX3" fmla="*/ 98722 w 139003"/>
                <a:gd name="connsiteY3" fmla="*/ 69754 h 139003"/>
                <a:gd name="connsiteX4" fmla="*/ 69745 w 139003"/>
                <a:gd name="connsiteY4" fmla="*/ 98713 h 139003"/>
                <a:gd name="connsiteX5" fmla="*/ 69745 w 139003"/>
                <a:gd name="connsiteY5" fmla="*/ 7006 h 139003"/>
                <a:gd name="connsiteX6" fmla="*/ 7006 w 139003"/>
                <a:gd name="connsiteY6" fmla="*/ 69754 h 139003"/>
                <a:gd name="connsiteX7" fmla="*/ 69745 w 139003"/>
                <a:gd name="connsiteY7" fmla="*/ 132492 h 139003"/>
                <a:gd name="connsiteX8" fmla="*/ 132492 w 139003"/>
                <a:gd name="connsiteY8" fmla="*/ 69754 h 139003"/>
                <a:gd name="connsiteX9" fmla="*/ 69745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45" y="98713"/>
                  </a:moveTo>
                  <a:cubicBezTo>
                    <a:pt x="53780" y="98713"/>
                    <a:pt x="40776" y="85728"/>
                    <a:pt x="40776" y="69754"/>
                  </a:cubicBezTo>
                  <a:cubicBezTo>
                    <a:pt x="40776" y="53770"/>
                    <a:pt x="53780" y="40776"/>
                    <a:pt x="69745" y="40776"/>
                  </a:cubicBezTo>
                  <a:cubicBezTo>
                    <a:pt x="85728" y="40776"/>
                    <a:pt x="98722" y="53770"/>
                    <a:pt x="98722" y="69754"/>
                  </a:cubicBezTo>
                  <a:cubicBezTo>
                    <a:pt x="98722" y="85728"/>
                    <a:pt x="85728" y="98713"/>
                    <a:pt x="69745" y="98713"/>
                  </a:cubicBezTo>
                  <a:close/>
                  <a:moveTo>
                    <a:pt x="69745" y="7006"/>
                  </a:moveTo>
                  <a:cubicBezTo>
                    <a:pt x="35153" y="7006"/>
                    <a:pt x="7006" y="35153"/>
                    <a:pt x="7006" y="69754"/>
                  </a:cubicBezTo>
                  <a:cubicBezTo>
                    <a:pt x="7006" y="104346"/>
                    <a:pt x="35153" y="132492"/>
                    <a:pt x="69745" y="132492"/>
                  </a:cubicBezTo>
                  <a:cubicBezTo>
                    <a:pt x="104346" y="132492"/>
                    <a:pt x="132492" y="104346"/>
                    <a:pt x="132492" y="69754"/>
                  </a:cubicBezTo>
                  <a:cubicBezTo>
                    <a:pt x="132492" y="35153"/>
                    <a:pt x="104346" y="7006"/>
                    <a:pt x="6974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4" name="Freeform: Shape 23">
              <a:extLst>
                <a:ext uri="{FF2B5EF4-FFF2-40B4-BE49-F238E27FC236}">
                  <a16:creationId xmlns:a16="http://schemas.microsoft.com/office/drawing/2014/main" id="{07EFCF82-0DE3-494E-B6C4-F5C503F2625A}"/>
                </a:ext>
              </a:extLst>
            </p:cNvPr>
            <p:cNvSpPr/>
            <p:nvPr/>
          </p:nvSpPr>
          <p:spPr bwMode="ltGray">
            <a:xfrm>
              <a:off x="3096352" y="3707257"/>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49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70" y="98722"/>
                    <a:pt x="40776" y="85728"/>
                    <a:pt x="40776" y="69754"/>
                  </a:cubicBezTo>
                  <a:cubicBezTo>
                    <a:pt x="40776" y="53780"/>
                    <a:pt x="53770" y="40776"/>
                    <a:pt x="69754" y="40776"/>
                  </a:cubicBezTo>
                  <a:cubicBezTo>
                    <a:pt x="85719" y="40776"/>
                    <a:pt x="98722" y="53780"/>
                    <a:pt x="98722" y="69754"/>
                  </a:cubicBezTo>
                  <a:cubicBezTo>
                    <a:pt x="98722" y="85728"/>
                    <a:pt x="85719" y="98722"/>
                    <a:pt x="69754" y="98722"/>
                  </a:cubicBezTo>
                  <a:close/>
                  <a:moveTo>
                    <a:pt x="69754" y="7006"/>
                  </a:moveTo>
                  <a:cubicBezTo>
                    <a:pt x="35153" y="7006"/>
                    <a:pt x="7006" y="35162"/>
                    <a:pt x="7006" y="69754"/>
                  </a:cubicBezTo>
                  <a:cubicBezTo>
                    <a:pt x="7006" y="104355"/>
                    <a:pt x="35153" y="132492"/>
                    <a:pt x="69754" y="132492"/>
                  </a:cubicBezTo>
                  <a:cubicBezTo>
                    <a:pt x="104346" y="132492"/>
                    <a:pt x="132492" y="104355"/>
                    <a:pt x="132492" y="69754"/>
                  </a:cubicBezTo>
                  <a:cubicBezTo>
                    <a:pt x="132492" y="35162"/>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5" name="Freeform: Shape 24">
              <a:extLst>
                <a:ext uri="{FF2B5EF4-FFF2-40B4-BE49-F238E27FC236}">
                  <a16:creationId xmlns:a16="http://schemas.microsoft.com/office/drawing/2014/main" id="{6B7DB092-3462-4203-BDD4-69F5A54CE6A0}"/>
                </a:ext>
              </a:extLst>
            </p:cNvPr>
            <p:cNvSpPr/>
            <p:nvPr/>
          </p:nvSpPr>
          <p:spPr bwMode="ltGray">
            <a:xfrm>
              <a:off x="4671638" y="3627386"/>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50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80" y="98722"/>
                    <a:pt x="40776" y="85728"/>
                    <a:pt x="40776" y="69754"/>
                  </a:cubicBezTo>
                  <a:cubicBezTo>
                    <a:pt x="40776" y="53780"/>
                    <a:pt x="53780" y="40776"/>
                    <a:pt x="69754" y="40776"/>
                  </a:cubicBezTo>
                  <a:cubicBezTo>
                    <a:pt x="85728" y="40776"/>
                    <a:pt x="98722" y="53780"/>
                    <a:pt x="98722" y="69754"/>
                  </a:cubicBezTo>
                  <a:cubicBezTo>
                    <a:pt x="98722" y="85728"/>
                    <a:pt x="85728" y="98722"/>
                    <a:pt x="69754" y="98722"/>
                  </a:cubicBezTo>
                  <a:close/>
                  <a:moveTo>
                    <a:pt x="69754" y="7006"/>
                  </a:moveTo>
                  <a:cubicBezTo>
                    <a:pt x="35153" y="7006"/>
                    <a:pt x="7006" y="35153"/>
                    <a:pt x="7006" y="69754"/>
                  </a:cubicBezTo>
                  <a:cubicBezTo>
                    <a:pt x="7006" y="104346"/>
                    <a:pt x="35153" y="132502"/>
                    <a:pt x="69754" y="132502"/>
                  </a:cubicBezTo>
                  <a:cubicBezTo>
                    <a:pt x="104346" y="132502"/>
                    <a:pt x="132492" y="104346"/>
                    <a:pt x="132492" y="69754"/>
                  </a:cubicBezTo>
                  <a:cubicBezTo>
                    <a:pt x="132492" y="35153"/>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6" name="Freeform: Shape 25">
              <a:extLst>
                <a:ext uri="{FF2B5EF4-FFF2-40B4-BE49-F238E27FC236}">
                  <a16:creationId xmlns:a16="http://schemas.microsoft.com/office/drawing/2014/main" id="{CC1AF170-4BAF-47B6-A9A9-0C1C8EB336CD}"/>
                </a:ext>
              </a:extLst>
            </p:cNvPr>
            <p:cNvSpPr/>
            <p:nvPr/>
          </p:nvSpPr>
          <p:spPr bwMode="ltGray">
            <a:xfrm>
              <a:off x="4031943" y="2514202"/>
              <a:ext cx="105373" cy="105373"/>
            </a:xfrm>
            <a:custGeom>
              <a:avLst/>
              <a:gdLst>
                <a:gd name="connsiteX0" fmla="*/ 52864 w 105373"/>
                <a:gd name="connsiteY0" fmla="*/ 7006 h 105373"/>
                <a:gd name="connsiteX1" fmla="*/ 7006 w 105373"/>
                <a:gd name="connsiteY1" fmla="*/ 52874 h 105373"/>
                <a:gd name="connsiteX2" fmla="*/ 52864 w 105373"/>
                <a:gd name="connsiteY2" fmla="*/ 9872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74"/>
                  </a:cubicBezTo>
                  <a:cubicBezTo>
                    <a:pt x="7006" y="78199"/>
                    <a:pt x="27539" y="98722"/>
                    <a:pt x="52864" y="98722"/>
                  </a:cubicBezTo>
                  <a:cubicBezTo>
                    <a:pt x="78189" y="98722"/>
                    <a:pt x="98722" y="78199"/>
                    <a:pt x="98722" y="5287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7" name="Freeform: Shape 26">
              <a:extLst>
                <a:ext uri="{FF2B5EF4-FFF2-40B4-BE49-F238E27FC236}">
                  <a16:creationId xmlns:a16="http://schemas.microsoft.com/office/drawing/2014/main" id="{6BBC800A-F131-4E6D-AA5E-A3DF9D46444A}"/>
                </a:ext>
              </a:extLst>
            </p:cNvPr>
            <p:cNvSpPr/>
            <p:nvPr/>
          </p:nvSpPr>
          <p:spPr bwMode="ltGray">
            <a:xfrm>
              <a:off x="3024160" y="4062510"/>
              <a:ext cx="105373" cy="105373"/>
            </a:xfrm>
            <a:custGeom>
              <a:avLst/>
              <a:gdLst>
                <a:gd name="connsiteX0" fmla="*/ 52864 w 105373"/>
                <a:gd name="connsiteY0" fmla="*/ 7006 h 105373"/>
                <a:gd name="connsiteX1" fmla="*/ 7006 w 105373"/>
                <a:gd name="connsiteY1" fmla="*/ 52864 h 105373"/>
                <a:gd name="connsiteX2" fmla="*/ 52864 w 105373"/>
                <a:gd name="connsiteY2" fmla="*/ 98732 h 105373"/>
                <a:gd name="connsiteX3" fmla="*/ 98722 w 105373"/>
                <a:gd name="connsiteY3" fmla="*/ 5286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64"/>
                  </a:cubicBezTo>
                  <a:cubicBezTo>
                    <a:pt x="7006" y="78189"/>
                    <a:pt x="27539" y="98732"/>
                    <a:pt x="52864" y="98732"/>
                  </a:cubicBezTo>
                  <a:cubicBezTo>
                    <a:pt x="78189" y="98732"/>
                    <a:pt x="98722" y="78189"/>
                    <a:pt x="98722" y="5286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8" name="Freeform: Shape 27">
              <a:extLst>
                <a:ext uri="{FF2B5EF4-FFF2-40B4-BE49-F238E27FC236}">
                  <a16:creationId xmlns:a16="http://schemas.microsoft.com/office/drawing/2014/main" id="{C9678FFF-E84A-4EB4-9168-E6CCA4BC123C}"/>
                </a:ext>
              </a:extLst>
            </p:cNvPr>
            <p:cNvSpPr/>
            <p:nvPr/>
          </p:nvSpPr>
          <p:spPr bwMode="ltGray">
            <a:xfrm>
              <a:off x="1226814" y="3090337"/>
              <a:ext cx="105373" cy="105373"/>
            </a:xfrm>
            <a:custGeom>
              <a:avLst/>
              <a:gdLst>
                <a:gd name="connsiteX0" fmla="*/ 52855 w 105373"/>
                <a:gd name="connsiteY0" fmla="*/ 7006 h 105373"/>
                <a:gd name="connsiteX1" fmla="*/ 7006 w 105373"/>
                <a:gd name="connsiteY1" fmla="*/ 52864 h 105373"/>
                <a:gd name="connsiteX2" fmla="*/ 52855 w 105373"/>
                <a:gd name="connsiteY2" fmla="*/ 98722 h 105373"/>
                <a:gd name="connsiteX3" fmla="*/ 98713 w 105373"/>
                <a:gd name="connsiteY3" fmla="*/ 52864 h 105373"/>
                <a:gd name="connsiteX4" fmla="*/ 52855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55" y="7006"/>
                  </a:moveTo>
                  <a:cubicBezTo>
                    <a:pt x="27530" y="7006"/>
                    <a:pt x="7006" y="27539"/>
                    <a:pt x="7006" y="52864"/>
                  </a:cubicBezTo>
                  <a:cubicBezTo>
                    <a:pt x="7006" y="78199"/>
                    <a:pt x="27530" y="98722"/>
                    <a:pt x="52855" y="98722"/>
                  </a:cubicBezTo>
                  <a:cubicBezTo>
                    <a:pt x="78189" y="98722"/>
                    <a:pt x="98713" y="78199"/>
                    <a:pt x="98713" y="52864"/>
                  </a:cubicBezTo>
                  <a:cubicBezTo>
                    <a:pt x="98713" y="27539"/>
                    <a:pt x="78189" y="7006"/>
                    <a:pt x="5285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9" name="Freeform: Shape 28">
              <a:extLst>
                <a:ext uri="{FF2B5EF4-FFF2-40B4-BE49-F238E27FC236}">
                  <a16:creationId xmlns:a16="http://schemas.microsoft.com/office/drawing/2014/main" id="{88B40C65-3AB6-44AF-8EF9-15D4F35C3074}"/>
                </a:ext>
              </a:extLst>
            </p:cNvPr>
            <p:cNvSpPr/>
            <p:nvPr/>
          </p:nvSpPr>
          <p:spPr bwMode="ltGray">
            <a:xfrm>
              <a:off x="405005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5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35" y="45045"/>
                    <a:pt x="45055" y="36535"/>
                    <a:pt x="45055" y="26026"/>
                  </a:cubicBezTo>
                  <a:cubicBezTo>
                    <a:pt x="45055" y="15526"/>
                    <a:pt x="3653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0" name="Freeform: Shape 29">
              <a:extLst>
                <a:ext uri="{FF2B5EF4-FFF2-40B4-BE49-F238E27FC236}">
                  <a16:creationId xmlns:a16="http://schemas.microsoft.com/office/drawing/2014/main" id="{F53C4B29-BFBF-4C57-9BAD-E794E72A7E02}"/>
                </a:ext>
              </a:extLst>
            </p:cNvPr>
            <p:cNvSpPr/>
            <p:nvPr/>
          </p:nvSpPr>
          <p:spPr bwMode="ltGray">
            <a:xfrm>
              <a:off x="4119913"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1" name="Freeform: Shape 30">
              <a:extLst>
                <a:ext uri="{FF2B5EF4-FFF2-40B4-BE49-F238E27FC236}">
                  <a16:creationId xmlns:a16="http://schemas.microsoft.com/office/drawing/2014/main" id="{4973ABA9-EC24-4835-A568-085E871D0F43}"/>
                </a:ext>
              </a:extLst>
            </p:cNvPr>
            <p:cNvSpPr/>
            <p:nvPr/>
          </p:nvSpPr>
          <p:spPr bwMode="ltGray">
            <a:xfrm>
              <a:off x="4189770"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2" name="Freeform: Shape 31">
              <a:extLst>
                <a:ext uri="{FF2B5EF4-FFF2-40B4-BE49-F238E27FC236}">
                  <a16:creationId xmlns:a16="http://schemas.microsoft.com/office/drawing/2014/main" id="{5EDCFE26-54B0-474A-BEB1-3424B6CCA597}"/>
                </a:ext>
              </a:extLst>
            </p:cNvPr>
            <p:cNvSpPr/>
            <p:nvPr/>
          </p:nvSpPr>
          <p:spPr bwMode="ltGray">
            <a:xfrm>
              <a:off x="425962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6" y="45045"/>
                    <a:pt x="45045" y="36535"/>
                    <a:pt x="45045" y="26026"/>
                  </a:cubicBezTo>
                  <a:cubicBezTo>
                    <a:pt x="45045" y="15526"/>
                    <a:pt x="36526"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3" name="Freeform: Shape 32">
              <a:extLst>
                <a:ext uri="{FF2B5EF4-FFF2-40B4-BE49-F238E27FC236}">
                  <a16:creationId xmlns:a16="http://schemas.microsoft.com/office/drawing/2014/main" id="{642CA324-E0CC-4FF6-AC6E-C77193757160}"/>
                </a:ext>
              </a:extLst>
            </p:cNvPr>
            <p:cNvSpPr/>
            <p:nvPr/>
          </p:nvSpPr>
          <p:spPr bwMode="ltGray">
            <a:xfrm>
              <a:off x="2972968" y="2132924"/>
              <a:ext cx="91921" cy="91921"/>
            </a:xfrm>
            <a:custGeom>
              <a:avLst/>
              <a:gdLst>
                <a:gd name="connsiteX0" fmla="*/ 46530 w 91921"/>
                <a:gd name="connsiteY0" fmla="*/ 7006 h 91921"/>
                <a:gd name="connsiteX1" fmla="*/ 7006 w 91921"/>
                <a:gd name="connsiteY1" fmla="*/ 46531 h 91921"/>
                <a:gd name="connsiteX2" fmla="*/ 46530 w 91921"/>
                <a:gd name="connsiteY2" fmla="*/ 86055 h 91921"/>
                <a:gd name="connsiteX3" fmla="*/ 86055 w 91921"/>
                <a:gd name="connsiteY3" fmla="*/ 46531 h 91921"/>
                <a:gd name="connsiteX4" fmla="*/ 46530 w 91921"/>
                <a:gd name="connsiteY4" fmla="*/ 7006 h 91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91921">
                  <a:moveTo>
                    <a:pt x="46530" y="7006"/>
                  </a:moveTo>
                  <a:cubicBezTo>
                    <a:pt x="24699" y="7006"/>
                    <a:pt x="7006" y="24699"/>
                    <a:pt x="7006" y="46531"/>
                  </a:cubicBezTo>
                  <a:cubicBezTo>
                    <a:pt x="7006" y="68362"/>
                    <a:pt x="24699" y="86055"/>
                    <a:pt x="46530" y="86055"/>
                  </a:cubicBezTo>
                  <a:cubicBezTo>
                    <a:pt x="68362" y="86055"/>
                    <a:pt x="86055" y="68362"/>
                    <a:pt x="86055" y="46531"/>
                  </a:cubicBezTo>
                  <a:cubicBezTo>
                    <a:pt x="86055" y="24699"/>
                    <a:pt x="68362" y="7006"/>
                    <a:pt x="46530"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4" name="Freeform: Shape 33">
              <a:extLst>
                <a:ext uri="{FF2B5EF4-FFF2-40B4-BE49-F238E27FC236}">
                  <a16:creationId xmlns:a16="http://schemas.microsoft.com/office/drawing/2014/main" id="{62FB3B55-544F-4D6B-8900-926539DB08DE}"/>
                </a:ext>
              </a:extLst>
            </p:cNvPr>
            <p:cNvSpPr/>
            <p:nvPr/>
          </p:nvSpPr>
          <p:spPr bwMode="ltGray">
            <a:xfrm>
              <a:off x="4867420" y="3970130"/>
              <a:ext cx="51566" cy="51566"/>
            </a:xfrm>
            <a:custGeom>
              <a:avLst/>
              <a:gdLst>
                <a:gd name="connsiteX0" fmla="*/ 26016 w 51565"/>
                <a:gd name="connsiteY0" fmla="*/ 7006 h 51565"/>
                <a:gd name="connsiteX1" fmla="*/ 7006 w 51565"/>
                <a:gd name="connsiteY1" fmla="*/ 26026 h 51565"/>
                <a:gd name="connsiteX2" fmla="*/ 26016 w 51565"/>
                <a:gd name="connsiteY2" fmla="*/ 45036 h 51565"/>
                <a:gd name="connsiteX3" fmla="*/ 45036 w 51565"/>
                <a:gd name="connsiteY3" fmla="*/ 26026 h 51565"/>
                <a:gd name="connsiteX4" fmla="*/ 2601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16" y="7006"/>
                  </a:moveTo>
                  <a:cubicBezTo>
                    <a:pt x="15507" y="7006"/>
                    <a:pt x="7006" y="15517"/>
                    <a:pt x="7006" y="26026"/>
                  </a:cubicBezTo>
                  <a:cubicBezTo>
                    <a:pt x="7006" y="36526"/>
                    <a:pt x="15507" y="45036"/>
                    <a:pt x="26016" y="45036"/>
                  </a:cubicBezTo>
                  <a:cubicBezTo>
                    <a:pt x="36525" y="45036"/>
                    <a:pt x="45036" y="36526"/>
                    <a:pt x="45036" y="26026"/>
                  </a:cubicBezTo>
                  <a:cubicBezTo>
                    <a:pt x="45036" y="15517"/>
                    <a:pt x="36525" y="7006"/>
                    <a:pt x="2601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5" name="Freeform: Shape 34">
              <a:extLst>
                <a:ext uri="{FF2B5EF4-FFF2-40B4-BE49-F238E27FC236}">
                  <a16:creationId xmlns:a16="http://schemas.microsoft.com/office/drawing/2014/main" id="{D5E99F44-E0B9-4985-9ABA-5305F83CCC7C}"/>
                </a:ext>
              </a:extLst>
            </p:cNvPr>
            <p:cNvSpPr/>
            <p:nvPr/>
          </p:nvSpPr>
          <p:spPr bwMode="ltGray">
            <a:xfrm>
              <a:off x="3001908" y="3612823"/>
              <a:ext cx="327330" cy="327330"/>
            </a:xfrm>
            <a:custGeom>
              <a:avLst/>
              <a:gdLst>
                <a:gd name="connsiteX0" fmla="*/ 164188 w 327329"/>
                <a:gd name="connsiteY0" fmla="*/ 276344 h 327330"/>
                <a:gd name="connsiteX1" fmla="*/ 52033 w 327329"/>
                <a:gd name="connsiteY1" fmla="*/ 164188 h 327330"/>
                <a:gd name="connsiteX2" fmla="*/ 164188 w 327329"/>
                <a:gd name="connsiteY2" fmla="*/ 52023 h 327330"/>
                <a:gd name="connsiteX3" fmla="*/ 276363 w 327329"/>
                <a:gd name="connsiteY3" fmla="*/ 164188 h 327330"/>
                <a:gd name="connsiteX4" fmla="*/ 164188 w 327329"/>
                <a:gd name="connsiteY4" fmla="*/ 276344 h 327330"/>
                <a:gd name="connsiteX5" fmla="*/ 164188 w 327329"/>
                <a:gd name="connsiteY5" fmla="*/ 7006 h 327330"/>
                <a:gd name="connsiteX6" fmla="*/ 7006 w 327329"/>
                <a:gd name="connsiteY6" fmla="*/ 164188 h 327330"/>
                <a:gd name="connsiteX7" fmla="*/ 164188 w 327329"/>
                <a:gd name="connsiteY7" fmla="*/ 321380 h 327330"/>
                <a:gd name="connsiteX8" fmla="*/ 321380 w 327329"/>
                <a:gd name="connsiteY8" fmla="*/ 164188 h 327330"/>
                <a:gd name="connsiteX9" fmla="*/ 164188 w 327329"/>
                <a:gd name="connsiteY9" fmla="*/ 7006 h 32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329" h="327330">
                  <a:moveTo>
                    <a:pt x="164188" y="276344"/>
                  </a:moveTo>
                  <a:cubicBezTo>
                    <a:pt x="102347" y="276344"/>
                    <a:pt x="52033" y="226039"/>
                    <a:pt x="52033" y="164188"/>
                  </a:cubicBezTo>
                  <a:cubicBezTo>
                    <a:pt x="52033" y="102328"/>
                    <a:pt x="102347" y="52023"/>
                    <a:pt x="164188" y="52023"/>
                  </a:cubicBezTo>
                  <a:cubicBezTo>
                    <a:pt x="226039" y="52023"/>
                    <a:pt x="276363" y="102328"/>
                    <a:pt x="276363" y="164188"/>
                  </a:cubicBezTo>
                  <a:cubicBezTo>
                    <a:pt x="276363" y="226039"/>
                    <a:pt x="226039" y="276344"/>
                    <a:pt x="164188" y="276344"/>
                  </a:cubicBezTo>
                  <a:close/>
                  <a:moveTo>
                    <a:pt x="164188" y="7006"/>
                  </a:moveTo>
                  <a:cubicBezTo>
                    <a:pt x="77517" y="7006"/>
                    <a:pt x="7006" y="77507"/>
                    <a:pt x="7006" y="164188"/>
                  </a:cubicBezTo>
                  <a:cubicBezTo>
                    <a:pt x="7006" y="250860"/>
                    <a:pt x="77517" y="321380"/>
                    <a:pt x="164188" y="321380"/>
                  </a:cubicBezTo>
                  <a:cubicBezTo>
                    <a:pt x="250869" y="321380"/>
                    <a:pt x="321380" y="250860"/>
                    <a:pt x="321380" y="164188"/>
                  </a:cubicBezTo>
                  <a:cubicBezTo>
                    <a:pt x="321380" y="77507"/>
                    <a:pt x="250869" y="7006"/>
                    <a:pt x="164188"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6" name="Freeform: Shape 35">
              <a:extLst>
                <a:ext uri="{FF2B5EF4-FFF2-40B4-BE49-F238E27FC236}">
                  <a16:creationId xmlns:a16="http://schemas.microsoft.com/office/drawing/2014/main" id="{5753186D-161F-4B19-ABCD-67CF7BE6EA85}"/>
                </a:ext>
              </a:extLst>
            </p:cNvPr>
            <p:cNvSpPr/>
            <p:nvPr/>
          </p:nvSpPr>
          <p:spPr bwMode="ltGray">
            <a:xfrm>
              <a:off x="-2860" y="3221344"/>
              <a:ext cx="1582842" cy="282490"/>
            </a:xfrm>
            <a:custGeom>
              <a:avLst/>
              <a:gdLst>
                <a:gd name="connsiteX0" fmla="*/ 919785 w 1582842"/>
                <a:gd name="connsiteY0" fmla="*/ 221303 h 282490"/>
                <a:gd name="connsiteX1" fmla="*/ 7006 w 1582842"/>
                <a:gd name="connsiteY1" fmla="*/ 221303 h 282490"/>
                <a:gd name="connsiteX2" fmla="*/ 7006 w 1582842"/>
                <a:gd name="connsiteY2" fmla="*/ 277577 h 282490"/>
                <a:gd name="connsiteX3" fmla="*/ 943102 w 1582842"/>
                <a:gd name="connsiteY3" fmla="*/ 277577 h 282490"/>
                <a:gd name="connsiteX4" fmla="*/ 1157398 w 1582842"/>
                <a:gd name="connsiteY4" fmla="*/ 63290 h 282490"/>
                <a:gd name="connsiteX5" fmla="*/ 1576772 w 1582842"/>
                <a:gd name="connsiteY5" fmla="*/ 63290 h 282490"/>
                <a:gd name="connsiteX6" fmla="*/ 1576772 w 1582842"/>
                <a:gd name="connsiteY6" fmla="*/ 7006 h 282490"/>
                <a:gd name="connsiteX7" fmla="*/ 1134082 w 1582842"/>
                <a:gd name="connsiteY7" fmla="*/ 7006 h 282490"/>
                <a:gd name="connsiteX8" fmla="*/ 919785 w 1582842"/>
                <a:gd name="connsiteY8" fmla="*/ 221303 h 28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842" h="282490">
                  <a:moveTo>
                    <a:pt x="919785" y="221303"/>
                  </a:moveTo>
                  <a:lnTo>
                    <a:pt x="7006" y="221303"/>
                  </a:lnTo>
                  <a:lnTo>
                    <a:pt x="7006" y="277577"/>
                  </a:lnTo>
                  <a:lnTo>
                    <a:pt x="943102" y="277577"/>
                  </a:lnTo>
                  <a:lnTo>
                    <a:pt x="1157398" y="63290"/>
                  </a:lnTo>
                  <a:lnTo>
                    <a:pt x="1576772" y="63290"/>
                  </a:lnTo>
                  <a:lnTo>
                    <a:pt x="1576772" y="7006"/>
                  </a:lnTo>
                  <a:lnTo>
                    <a:pt x="1134082" y="7006"/>
                  </a:lnTo>
                  <a:lnTo>
                    <a:pt x="919785" y="22130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7" name="Freeform: Shape 36">
              <a:extLst>
                <a:ext uri="{FF2B5EF4-FFF2-40B4-BE49-F238E27FC236}">
                  <a16:creationId xmlns:a16="http://schemas.microsoft.com/office/drawing/2014/main" id="{F8754947-1405-4D8B-B51B-C742C1A2EA26}"/>
                </a:ext>
              </a:extLst>
            </p:cNvPr>
            <p:cNvSpPr/>
            <p:nvPr/>
          </p:nvSpPr>
          <p:spPr bwMode="ltGray">
            <a:xfrm>
              <a:off x="2732225" y="2629692"/>
              <a:ext cx="993200" cy="313878"/>
            </a:xfrm>
            <a:custGeom>
              <a:avLst/>
              <a:gdLst>
                <a:gd name="connsiteX0" fmla="*/ 383660 w 993199"/>
                <a:gd name="connsiteY0" fmla="*/ 252728 h 313878"/>
                <a:gd name="connsiteX1" fmla="*/ 7006 w 993199"/>
                <a:gd name="connsiteY1" fmla="*/ 252728 h 313878"/>
                <a:gd name="connsiteX2" fmla="*/ 7006 w 993199"/>
                <a:gd name="connsiteY2" fmla="*/ 309002 h 313878"/>
                <a:gd name="connsiteX3" fmla="*/ 406977 w 993199"/>
                <a:gd name="connsiteY3" fmla="*/ 309002 h 313878"/>
                <a:gd name="connsiteX4" fmla="*/ 652699 w 993199"/>
                <a:gd name="connsiteY4" fmla="*/ 63280 h 313878"/>
                <a:gd name="connsiteX5" fmla="*/ 986232 w 993199"/>
                <a:gd name="connsiteY5" fmla="*/ 63280 h 313878"/>
                <a:gd name="connsiteX6" fmla="*/ 986232 w 993199"/>
                <a:gd name="connsiteY6" fmla="*/ 7006 h 313878"/>
                <a:gd name="connsiteX7" fmla="*/ 629382 w 993199"/>
                <a:gd name="connsiteY7" fmla="*/ 7006 h 313878"/>
                <a:gd name="connsiteX8" fmla="*/ 383660 w 993199"/>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99" h="313878">
                  <a:moveTo>
                    <a:pt x="383660" y="252728"/>
                  </a:moveTo>
                  <a:lnTo>
                    <a:pt x="7006" y="252728"/>
                  </a:lnTo>
                  <a:lnTo>
                    <a:pt x="7006" y="309002"/>
                  </a:lnTo>
                  <a:lnTo>
                    <a:pt x="406977" y="309002"/>
                  </a:lnTo>
                  <a:lnTo>
                    <a:pt x="652699" y="63280"/>
                  </a:lnTo>
                  <a:lnTo>
                    <a:pt x="986232" y="63280"/>
                  </a:lnTo>
                  <a:lnTo>
                    <a:pt x="986232" y="7006"/>
                  </a:lnTo>
                  <a:lnTo>
                    <a:pt x="629382" y="7006"/>
                  </a:lnTo>
                  <a:lnTo>
                    <a:pt x="383660"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8" name="Freeform: Shape 37">
              <a:extLst>
                <a:ext uri="{FF2B5EF4-FFF2-40B4-BE49-F238E27FC236}">
                  <a16:creationId xmlns:a16="http://schemas.microsoft.com/office/drawing/2014/main" id="{E98F9772-98FC-4DA4-927F-00C435CC5042}"/>
                </a:ext>
              </a:extLst>
            </p:cNvPr>
            <p:cNvSpPr/>
            <p:nvPr/>
          </p:nvSpPr>
          <p:spPr bwMode="ltGray">
            <a:xfrm>
              <a:off x="576311" y="3207275"/>
              <a:ext cx="417009" cy="40356"/>
            </a:xfrm>
            <a:custGeom>
              <a:avLst/>
              <a:gdLst>
                <a:gd name="connsiteX0" fmla="*/ 7006 w 417009"/>
                <a:gd name="connsiteY0" fmla="*/ 7006 h 40355"/>
                <a:gd name="connsiteX1" fmla="*/ 412199 w 417009"/>
                <a:gd name="connsiteY1" fmla="*/ 7006 h 40355"/>
                <a:gd name="connsiteX2" fmla="*/ 412199 w 417009"/>
                <a:gd name="connsiteY2" fmla="*/ 35143 h 40355"/>
                <a:gd name="connsiteX3" fmla="*/ 7006 w 417009"/>
                <a:gd name="connsiteY3" fmla="*/ 3514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199" y="7006"/>
                  </a:lnTo>
                  <a:lnTo>
                    <a:pt x="412199" y="35143"/>
                  </a:lnTo>
                  <a:lnTo>
                    <a:pt x="7006" y="3514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9" name="Freeform: Shape 38">
              <a:extLst>
                <a:ext uri="{FF2B5EF4-FFF2-40B4-BE49-F238E27FC236}">
                  <a16:creationId xmlns:a16="http://schemas.microsoft.com/office/drawing/2014/main" id="{86D2285C-00B2-4A26-825C-6E21F4611605}"/>
                </a:ext>
              </a:extLst>
            </p:cNvPr>
            <p:cNvSpPr/>
            <p:nvPr/>
          </p:nvSpPr>
          <p:spPr bwMode="ltGray">
            <a:xfrm>
              <a:off x="992209" y="2601630"/>
              <a:ext cx="309394" cy="309394"/>
            </a:xfrm>
            <a:custGeom>
              <a:avLst/>
              <a:gdLst>
                <a:gd name="connsiteX0" fmla="*/ 155753 w 309394"/>
                <a:gd name="connsiteY0" fmla="*/ 276353 h 309394"/>
                <a:gd name="connsiteX1" fmla="*/ 35143 w 309394"/>
                <a:gd name="connsiteY1" fmla="*/ 155753 h 309394"/>
                <a:gd name="connsiteX2" fmla="*/ 155753 w 309394"/>
                <a:gd name="connsiteY2" fmla="*/ 35143 h 309394"/>
                <a:gd name="connsiteX3" fmla="*/ 276353 w 309394"/>
                <a:gd name="connsiteY3" fmla="*/ 155753 h 309394"/>
                <a:gd name="connsiteX4" fmla="*/ 155753 w 309394"/>
                <a:gd name="connsiteY4" fmla="*/ 276353 h 309394"/>
                <a:gd name="connsiteX5" fmla="*/ 155753 w 309394"/>
                <a:gd name="connsiteY5" fmla="*/ 7006 h 309394"/>
                <a:gd name="connsiteX6" fmla="*/ 7006 w 309394"/>
                <a:gd name="connsiteY6" fmla="*/ 155753 h 309394"/>
                <a:gd name="connsiteX7" fmla="*/ 155753 w 309394"/>
                <a:gd name="connsiteY7" fmla="*/ 304490 h 309394"/>
                <a:gd name="connsiteX8" fmla="*/ 304490 w 309394"/>
                <a:gd name="connsiteY8" fmla="*/ 15575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50" y="276353"/>
                    <a:pt x="35143" y="222256"/>
                    <a:pt x="35143" y="155753"/>
                  </a:cubicBezTo>
                  <a:cubicBezTo>
                    <a:pt x="35143" y="89250"/>
                    <a:pt x="89250" y="35143"/>
                    <a:pt x="155753" y="35143"/>
                  </a:cubicBezTo>
                  <a:cubicBezTo>
                    <a:pt x="222246" y="35143"/>
                    <a:pt x="276353" y="89250"/>
                    <a:pt x="276353" y="155753"/>
                  </a:cubicBezTo>
                  <a:cubicBezTo>
                    <a:pt x="276353" y="222256"/>
                    <a:pt x="222246" y="276353"/>
                    <a:pt x="155753" y="276353"/>
                  </a:cubicBezTo>
                  <a:close/>
                  <a:moveTo>
                    <a:pt x="155753" y="7006"/>
                  </a:moveTo>
                  <a:cubicBezTo>
                    <a:pt x="73733" y="7006"/>
                    <a:pt x="7006" y="73733"/>
                    <a:pt x="7006" y="155753"/>
                  </a:cubicBezTo>
                  <a:cubicBezTo>
                    <a:pt x="7006" y="237772"/>
                    <a:pt x="73733" y="304490"/>
                    <a:pt x="155753" y="304490"/>
                  </a:cubicBezTo>
                  <a:cubicBezTo>
                    <a:pt x="237763" y="304490"/>
                    <a:pt x="304490" y="237772"/>
                    <a:pt x="304490" y="155753"/>
                  </a:cubicBezTo>
                  <a:cubicBezTo>
                    <a:pt x="304490" y="73733"/>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0" name="Freeform: Shape 39">
              <a:extLst>
                <a:ext uri="{FF2B5EF4-FFF2-40B4-BE49-F238E27FC236}">
                  <a16:creationId xmlns:a16="http://schemas.microsoft.com/office/drawing/2014/main" id="{B2539A9C-8F73-4643-902E-82429D6C2BDB}"/>
                </a:ext>
              </a:extLst>
            </p:cNvPr>
            <p:cNvSpPr/>
            <p:nvPr/>
          </p:nvSpPr>
          <p:spPr bwMode="ltGray">
            <a:xfrm>
              <a:off x="5378350" y="2456994"/>
              <a:ext cx="136761" cy="136761"/>
            </a:xfrm>
            <a:custGeom>
              <a:avLst/>
              <a:gdLst>
                <a:gd name="connsiteX0" fmla="*/ 68922 w 136761"/>
                <a:gd name="connsiteY0" fmla="*/ 119124 h 136761"/>
                <a:gd name="connsiteX1" fmla="*/ 18721 w 136761"/>
                <a:gd name="connsiteY1" fmla="*/ 68922 h 136761"/>
                <a:gd name="connsiteX2" fmla="*/ 68922 w 136761"/>
                <a:gd name="connsiteY2" fmla="*/ 18721 h 136761"/>
                <a:gd name="connsiteX3" fmla="*/ 119124 w 136761"/>
                <a:gd name="connsiteY3" fmla="*/ 68922 h 136761"/>
                <a:gd name="connsiteX4" fmla="*/ 68922 w 136761"/>
                <a:gd name="connsiteY4" fmla="*/ 119124 h 136761"/>
                <a:gd name="connsiteX5" fmla="*/ 68922 w 136761"/>
                <a:gd name="connsiteY5" fmla="*/ 7006 h 136761"/>
                <a:gd name="connsiteX6" fmla="*/ 7006 w 136761"/>
                <a:gd name="connsiteY6" fmla="*/ 68922 h 136761"/>
                <a:gd name="connsiteX7" fmla="*/ 68922 w 136761"/>
                <a:gd name="connsiteY7" fmla="*/ 130839 h 136761"/>
                <a:gd name="connsiteX8" fmla="*/ 130839 w 136761"/>
                <a:gd name="connsiteY8" fmla="*/ 68922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43" y="119124"/>
                    <a:pt x="18721" y="96602"/>
                    <a:pt x="18721" y="68922"/>
                  </a:cubicBezTo>
                  <a:cubicBezTo>
                    <a:pt x="18721" y="41243"/>
                    <a:pt x="41243" y="18721"/>
                    <a:pt x="68922" y="18721"/>
                  </a:cubicBezTo>
                  <a:cubicBezTo>
                    <a:pt x="96602" y="18721"/>
                    <a:pt x="119124" y="41243"/>
                    <a:pt x="119124" y="68922"/>
                  </a:cubicBezTo>
                  <a:cubicBezTo>
                    <a:pt x="119124" y="96602"/>
                    <a:pt x="96602" y="119124"/>
                    <a:pt x="68922" y="119124"/>
                  </a:cubicBezTo>
                  <a:close/>
                  <a:moveTo>
                    <a:pt x="68922" y="7006"/>
                  </a:moveTo>
                  <a:cubicBezTo>
                    <a:pt x="34788" y="7006"/>
                    <a:pt x="7006" y="34779"/>
                    <a:pt x="7006" y="68922"/>
                  </a:cubicBezTo>
                  <a:cubicBezTo>
                    <a:pt x="7006" y="103066"/>
                    <a:pt x="34788" y="130839"/>
                    <a:pt x="68922" y="130839"/>
                  </a:cubicBezTo>
                  <a:cubicBezTo>
                    <a:pt x="103066" y="130839"/>
                    <a:pt x="130839" y="103066"/>
                    <a:pt x="130839" y="68922"/>
                  </a:cubicBezTo>
                  <a:cubicBezTo>
                    <a:pt x="13083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1" name="Freeform: Shape 40">
              <a:extLst>
                <a:ext uri="{FF2B5EF4-FFF2-40B4-BE49-F238E27FC236}">
                  <a16:creationId xmlns:a16="http://schemas.microsoft.com/office/drawing/2014/main" id="{7F606168-1F7E-41DE-8BF9-D13C287DADDD}"/>
                </a:ext>
              </a:extLst>
            </p:cNvPr>
            <p:cNvSpPr/>
            <p:nvPr/>
          </p:nvSpPr>
          <p:spPr bwMode="ltGray">
            <a:xfrm>
              <a:off x="4763457" y="3262867"/>
              <a:ext cx="136761" cy="136761"/>
            </a:xfrm>
            <a:custGeom>
              <a:avLst/>
              <a:gdLst>
                <a:gd name="connsiteX0" fmla="*/ 68922 w 136761"/>
                <a:gd name="connsiteY0" fmla="*/ 119124 h 136761"/>
                <a:gd name="connsiteX1" fmla="*/ 18721 w 136761"/>
                <a:gd name="connsiteY1" fmla="*/ 68923 h 136761"/>
                <a:gd name="connsiteX2" fmla="*/ 68922 w 136761"/>
                <a:gd name="connsiteY2" fmla="*/ 18721 h 136761"/>
                <a:gd name="connsiteX3" fmla="*/ 119124 w 136761"/>
                <a:gd name="connsiteY3" fmla="*/ 68923 h 136761"/>
                <a:gd name="connsiteX4" fmla="*/ 68922 w 136761"/>
                <a:gd name="connsiteY4" fmla="*/ 119124 h 136761"/>
                <a:gd name="connsiteX5" fmla="*/ 68922 w 136761"/>
                <a:gd name="connsiteY5" fmla="*/ 7006 h 136761"/>
                <a:gd name="connsiteX6" fmla="*/ 7006 w 136761"/>
                <a:gd name="connsiteY6" fmla="*/ 68923 h 136761"/>
                <a:gd name="connsiteX7" fmla="*/ 68922 w 136761"/>
                <a:gd name="connsiteY7" fmla="*/ 130829 h 136761"/>
                <a:gd name="connsiteX8" fmla="*/ 130829 w 136761"/>
                <a:gd name="connsiteY8" fmla="*/ 68923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34" y="119124"/>
                    <a:pt x="18721" y="96602"/>
                    <a:pt x="18721" y="68923"/>
                  </a:cubicBezTo>
                  <a:cubicBezTo>
                    <a:pt x="18721" y="41243"/>
                    <a:pt x="41234" y="18721"/>
                    <a:pt x="68922" y="18721"/>
                  </a:cubicBezTo>
                  <a:cubicBezTo>
                    <a:pt x="96602" y="18721"/>
                    <a:pt x="119124" y="41243"/>
                    <a:pt x="119124" y="68923"/>
                  </a:cubicBezTo>
                  <a:cubicBezTo>
                    <a:pt x="119124" y="96602"/>
                    <a:pt x="96602" y="119124"/>
                    <a:pt x="68922" y="119124"/>
                  </a:cubicBezTo>
                  <a:close/>
                  <a:moveTo>
                    <a:pt x="68922" y="7006"/>
                  </a:moveTo>
                  <a:cubicBezTo>
                    <a:pt x="34779" y="7006"/>
                    <a:pt x="7006" y="34779"/>
                    <a:pt x="7006" y="68923"/>
                  </a:cubicBezTo>
                  <a:cubicBezTo>
                    <a:pt x="7006" y="103066"/>
                    <a:pt x="34779" y="130829"/>
                    <a:pt x="68922" y="130829"/>
                  </a:cubicBezTo>
                  <a:cubicBezTo>
                    <a:pt x="103066" y="130829"/>
                    <a:pt x="130829" y="103066"/>
                    <a:pt x="130829" y="68923"/>
                  </a:cubicBezTo>
                  <a:cubicBezTo>
                    <a:pt x="13082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2" name="Freeform: Shape 41">
              <a:extLst>
                <a:ext uri="{FF2B5EF4-FFF2-40B4-BE49-F238E27FC236}">
                  <a16:creationId xmlns:a16="http://schemas.microsoft.com/office/drawing/2014/main" id="{88A41719-1D5E-40D6-8584-B91C00E7C15A}"/>
                </a:ext>
              </a:extLst>
            </p:cNvPr>
            <p:cNvSpPr/>
            <p:nvPr/>
          </p:nvSpPr>
          <p:spPr bwMode="ltGray">
            <a:xfrm>
              <a:off x="-2860" y="2722231"/>
              <a:ext cx="955086" cy="313878"/>
            </a:xfrm>
            <a:custGeom>
              <a:avLst/>
              <a:gdLst>
                <a:gd name="connsiteX0" fmla="*/ 345649 w 955086"/>
                <a:gd name="connsiteY0" fmla="*/ 252728 h 313878"/>
                <a:gd name="connsiteX1" fmla="*/ 7006 w 955086"/>
                <a:gd name="connsiteY1" fmla="*/ 252728 h 313878"/>
                <a:gd name="connsiteX2" fmla="*/ 7006 w 955086"/>
                <a:gd name="connsiteY2" fmla="*/ 309011 h 313878"/>
                <a:gd name="connsiteX3" fmla="*/ 368966 w 955086"/>
                <a:gd name="connsiteY3" fmla="*/ 309011 h 313878"/>
                <a:gd name="connsiteX4" fmla="*/ 614688 w 955086"/>
                <a:gd name="connsiteY4" fmla="*/ 63289 h 313878"/>
                <a:gd name="connsiteX5" fmla="*/ 948221 w 955086"/>
                <a:gd name="connsiteY5" fmla="*/ 63289 h 313878"/>
                <a:gd name="connsiteX6" fmla="*/ 948221 w 955086"/>
                <a:gd name="connsiteY6" fmla="*/ 7006 h 313878"/>
                <a:gd name="connsiteX7" fmla="*/ 591371 w 955086"/>
                <a:gd name="connsiteY7" fmla="*/ 7006 h 313878"/>
                <a:gd name="connsiteX8" fmla="*/ 345649 w 955086"/>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086" h="313878">
                  <a:moveTo>
                    <a:pt x="345649" y="252728"/>
                  </a:moveTo>
                  <a:lnTo>
                    <a:pt x="7006" y="252728"/>
                  </a:lnTo>
                  <a:lnTo>
                    <a:pt x="7006" y="309011"/>
                  </a:lnTo>
                  <a:lnTo>
                    <a:pt x="368966" y="309011"/>
                  </a:lnTo>
                  <a:lnTo>
                    <a:pt x="614688" y="63289"/>
                  </a:lnTo>
                  <a:lnTo>
                    <a:pt x="948221" y="63289"/>
                  </a:lnTo>
                  <a:lnTo>
                    <a:pt x="948221" y="7006"/>
                  </a:lnTo>
                  <a:lnTo>
                    <a:pt x="591371" y="7006"/>
                  </a:lnTo>
                  <a:lnTo>
                    <a:pt x="345649"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3" name="Freeform: Shape 42">
              <a:extLst>
                <a:ext uri="{FF2B5EF4-FFF2-40B4-BE49-F238E27FC236}">
                  <a16:creationId xmlns:a16="http://schemas.microsoft.com/office/drawing/2014/main" id="{BFCC7078-9BC9-43C2-8A58-5C73B1AB92FE}"/>
                </a:ext>
              </a:extLst>
            </p:cNvPr>
            <p:cNvSpPr/>
            <p:nvPr/>
          </p:nvSpPr>
          <p:spPr bwMode="ltGray">
            <a:xfrm>
              <a:off x="1343547" y="2736299"/>
              <a:ext cx="417009" cy="40356"/>
            </a:xfrm>
            <a:custGeom>
              <a:avLst/>
              <a:gdLst>
                <a:gd name="connsiteX0" fmla="*/ 7006 w 417009"/>
                <a:gd name="connsiteY0" fmla="*/ 7006 h 40355"/>
                <a:gd name="connsiteX1" fmla="*/ 412208 w 417009"/>
                <a:gd name="connsiteY1" fmla="*/ 7006 h 40355"/>
                <a:gd name="connsiteX2" fmla="*/ 412208 w 417009"/>
                <a:gd name="connsiteY2" fmla="*/ 35153 h 40355"/>
                <a:gd name="connsiteX3" fmla="*/ 7006 w 417009"/>
                <a:gd name="connsiteY3" fmla="*/ 3515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208" y="7006"/>
                  </a:lnTo>
                  <a:lnTo>
                    <a:pt x="412208" y="35153"/>
                  </a:lnTo>
                  <a:lnTo>
                    <a:pt x="7006" y="351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4" name="Freeform: Shape 43">
              <a:extLst>
                <a:ext uri="{FF2B5EF4-FFF2-40B4-BE49-F238E27FC236}">
                  <a16:creationId xmlns:a16="http://schemas.microsoft.com/office/drawing/2014/main" id="{1357236B-327C-4FC2-829D-083AE2376176}"/>
                </a:ext>
              </a:extLst>
            </p:cNvPr>
            <p:cNvSpPr/>
            <p:nvPr/>
          </p:nvSpPr>
          <p:spPr bwMode="ltGray">
            <a:xfrm>
              <a:off x="-2860" y="3521780"/>
              <a:ext cx="2340634" cy="493237"/>
            </a:xfrm>
            <a:custGeom>
              <a:avLst/>
              <a:gdLst>
                <a:gd name="connsiteX0" fmla="*/ 1117379 w 2340633"/>
                <a:gd name="connsiteY0" fmla="*/ 238809 h 493236"/>
                <a:gd name="connsiteX1" fmla="*/ 927071 w 2340633"/>
                <a:gd name="connsiteY1" fmla="*/ 238809 h 493236"/>
                <a:gd name="connsiteX2" fmla="*/ 695269 w 2340633"/>
                <a:gd name="connsiteY2" fmla="*/ 7006 h 493236"/>
                <a:gd name="connsiteX3" fmla="*/ 7006 w 2340633"/>
                <a:gd name="connsiteY3" fmla="*/ 7006 h 493236"/>
                <a:gd name="connsiteX4" fmla="*/ 7006 w 2340633"/>
                <a:gd name="connsiteY4" fmla="*/ 35143 h 493236"/>
                <a:gd name="connsiteX5" fmla="*/ 683610 w 2340633"/>
                <a:gd name="connsiteY5" fmla="*/ 35143 h 493236"/>
                <a:gd name="connsiteX6" fmla="*/ 915413 w 2340633"/>
                <a:gd name="connsiteY6" fmla="*/ 266955 h 493236"/>
                <a:gd name="connsiteX7" fmla="*/ 1105721 w 2340633"/>
                <a:gd name="connsiteY7" fmla="*/ 266955 h 493236"/>
                <a:gd name="connsiteX8" fmla="*/ 1325333 w 2340633"/>
                <a:gd name="connsiteY8" fmla="*/ 486567 h 493236"/>
                <a:gd name="connsiteX9" fmla="*/ 2334872 w 2340633"/>
                <a:gd name="connsiteY9" fmla="*/ 486567 h 493236"/>
                <a:gd name="connsiteX10" fmla="*/ 2334872 w 2340633"/>
                <a:gd name="connsiteY10" fmla="*/ 458431 h 493236"/>
                <a:gd name="connsiteX11" fmla="*/ 1336991 w 2340633"/>
                <a:gd name="connsiteY11" fmla="*/ 458431 h 493236"/>
                <a:gd name="connsiteX12" fmla="*/ 1117379 w 2340633"/>
                <a:gd name="connsiteY12" fmla="*/ 238809 h 4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0633" h="493236">
                  <a:moveTo>
                    <a:pt x="1117379" y="238809"/>
                  </a:moveTo>
                  <a:lnTo>
                    <a:pt x="927071" y="238809"/>
                  </a:lnTo>
                  <a:lnTo>
                    <a:pt x="695269" y="7006"/>
                  </a:lnTo>
                  <a:lnTo>
                    <a:pt x="7006" y="7006"/>
                  </a:lnTo>
                  <a:lnTo>
                    <a:pt x="7006" y="35143"/>
                  </a:lnTo>
                  <a:lnTo>
                    <a:pt x="683610" y="35143"/>
                  </a:lnTo>
                  <a:lnTo>
                    <a:pt x="915413" y="266955"/>
                  </a:lnTo>
                  <a:lnTo>
                    <a:pt x="1105721" y="266955"/>
                  </a:lnTo>
                  <a:lnTo>
                    <a:pt x="1325333" y="486567"/>
                  </a:lnTo>
                  <a:lnTo>
                    <a:pt x="2334872" y="486567"/>
                  </a:lnTo>
                  <a:lnTo>
                    <a:pt x="2334872" y="458431"/>
                  </a:lnTo>
                  <a:lnTo>
                    <a:pt x="1336991" y="458431"/>
                  </a:lnTo>
                  <a:lnTo>
                    <a:pt x="1117379" y="23880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5" name="Freeform: Shape 44">
              <a:extLst>
                <a:ext uri="{FF2B5EF4-FFF2-40B4-BE49-F238E27FC236}">
                  <a16:creationId xmlns:a16="http://schemas.microsoft.com/office/drawing/2014/main" id="{687EF3D8-595F-4C74-A88D-8C85A4D2727B}"/>
                </a:ext>
              </a:extLst>
            </p:cNvPr>
            <p:cNvSpPr/>
            <p:nvPr/>
          </p:nvSpPr>
          <p:spPr bwMode="ltGray">
            <a:xfrm>
              <a:off x="1435627" y="3409064"/>
              <a:ext cx="1495405" cy="58292"/>
            </a:xfrm>
            <a:custGeom>
              <a:avLst/>
              <a:gdLst>
                <a:gd name="connsiteX0" fmla="*/ 7006 w 1495404"/>
                <a:gd name="connsiteY0" fmla="*/ 7006 h 58291"/>
                <a:gd name="connsiteX1" fmla="*/ 1489044 w 1495404"/>
                <a:gd name="connsiteY1" fmla="*/ 7006 h 58291"/>
                <a:gd name="connsiteX2" fmla="*/ 1489044 w 1495404"/>
                <a:gd name="connsiteY2" fmla="*/ 52033 h 58291"/>
                <a:gd name="connsiteX3" fmla="*/ 7006 w 1495404"/>
                <a:gd name="connsiteY3" fmla="*/ 52033 h 58291"/>
              </a:gdLst>
              <a:ahLst/>
              <a:cxnLst>
                <a:cxn ang="0">
                  <a:pos x="connsiteX0" y="connsiteY0"/>
                </a:cxn>
                <a:cxn ang="0">
                  <a:pos x="connsiteX1" y="connsiteY1"/>
                </a:cxn>
                <a:cxn ang="0">
                  <a:pos x="connsiteX2" y="connsiteY2"/>
                </a:cxn>
                <a:cxn ang="0">
                  <a:pos x="connsiteX3" y="connsiteY3"/>
                </a:cxn>
              </a:cxnLst>
              <a:rect l="l" t="t" r="r" b="b"/>
              <a:pathLst>
                <a:path w="1495404" h="58291">
                  <a:moveTo>
                    <a:pt x="7006" y="7006"/>
                  </a:moveTo>
                  <a:lnTo>
                    <a:pt x="1489044" y="7006"/>
                  </a:lnTo>
                  <a:lnTo>
                    <a:pt x="1489044" y="52033"/>
                  </a:lnTo>
                  <a:lnTo>
                    <a:pt x="7006"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6" name="Freeform: Shape 45">
              <a:extLst>
                <a:ext uri="{FF2B5EF4-FFF2-40B4-BE49-F238E27FC236}">
                  <a16:creationId xmlns:a16="http://schemas.microsoft.com/office/drawing/2014/main" id="{B2573248-9A51-4E0D-9844-FD2CDC039D35}"/>
                </a:ext>
              </a:extLst>
            </p:cNvPr>
            <p:cNvSpPr/>
            <p:nvPr/>
          </p:nvSpPr>
          <p:spPr bwMode="ltGray">
            <a:xfrm>
              <a:off x="-2860" y="3404561"/>
              <a:ext cx="2827145" cy="1118751"/>
            </a:xfrm>
            <a:custGeom>
              <a:avLst/>
              <a:gdLst>
                <a:gd name="connsiteX0" fmla="*/ 1988625 w 2827144"/>
                <a:gd name="connsiteY0" fmla="*/ 645683 h 1118751"/>
                <a:gd name="connsiteX1" fmla="*/ 1349948 w 2827144"/>
                <a:gd name="connsiteY1" fmla="*/ 7006 h 1118751"/>
                <a:gd name="connsiteX2" fmla="*/ 7006 w 2827144"/>
                <a:gd name="connsiteY2" fmla="*/ 7006 h 1118751"/>
                <a:gd name="connsiteX3" fmla="*/ 7006 w 2827144"/>
                <a:gd name="connsiteY3" fmla="*/ 18263 h 1118751"/>
                <a:gd name="connsiteX4" fmla="*/ 1345286 w 2827144"/>
                <a:gd name="connsiteY4" fmla="*/ 18263 h 1118751"/>
                <a:gd name="connsiteX5" fmla="*/ 1983963 w 2827144"/>
                <a:gd name="connsiteY5" fmla="*/ 656940 h 1118751"/>
                <a:gd name="connsiteX6" fmla="*/ 2358319 w 2827144"/>
                <a:gd name="connsiteY6" fmla="*/ 656940 h 1118751"/>
                <a:gd name="connsiteX7" fmla="*/ 2813994 w 2827144"/>
                <a:gd name="connsiteY7" fmla="*/ 1112606 h 1118751"/>
                <a:gd name="connsiteX8" fmla="*/ 2821953 w 2827144"/>
                <a:gd name="connsiteY8" fmla="*/ 1104656 h 1118751"/>
                <a:gd name="connsiteX9" fmla="*/ 2362981 w 2827144"/>
                <a:gd name="connsiteY9" fmla="*/ 645683 h 1118751"/>
                <a:gd name="connsiteX10" fmla="*/ 1988625 w 2827144"/>
                <a:gd name="connsiteY10" fmla="*/ 645683 h 111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7144" h="1118751">
                  <a:moveTo>
                    <a:pt x="1988625" y="645683"/>
                  </a:moveTo>
                  <a:lnTo>
                    <a:pt x="1349948" y="7006"/>
                  </a:lnTo>
                  <a:lnTo>
                    <a:pt x="7006" y="7006"/>
                  </a:lnTo>
                  <a:lnTo>
                    <a:pt x="7006" y="18263"/>
                  </a:lnTo>
                  <a:lnTo>
                    <a:pt x="1345286" y="18263"/>
                  </a:lnTo>
                  <a:lnTo>
                    <a:pt x="1983963" y="656940"/>
                  </a:lnTo>
                  <a:lnTo>
                    <a:pt x="2358319" y="656940"/>
                  </a:lnTo>
                  <a:lnTo>
                    <a:pt x="2813994" y="1112606"/>
                  </a:lnTo>
                  <a:lnTo>
                    <a:pt x="2821953" y="1104656"/>
                  </a:lnTo>
                  <a:lnTo>
                    <a:pt x="2362981" y="645683"/>
                  </a:lnTo>
                  <a:lnTo>
                    <a:pt x="1988625" y="64568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7" name="Freeform: Shape 46">
              <a:extLst>
                <a:ext uri="{FF2B5EF4-FFF2-40B4-BE49-F238E27FC236}">
                  <a16:creationId xmlns:a16="http://schemas.microsoft.com/office/drawing/2014/main" id="{97324E1D-FF8E-4F9A-AB9F-377C3DED2A55}"/>
                </a:ext>
              </a:extLst>
            </p:cNvPr>
            <p:cNvSpPr/>
            <p:nvPr/>
          </p:nvSpPr>
          <p:spPr bwMode="ltGray">
            <a:xfrm>
              <a:off x="1566905" y="3266015"/>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88 h 289216"/>
                <a:gd name="connsiteX5" fmla="*/ 1331769 w 2094015"/>
                <a:gd name="connsiteY5" fmla="*/ 284088 h 289216"/>
                <a:gd name="connsiteX6" fmla="*/ 1597603 w 2094015"/>
                <a:gd name="connsiteY6" fmla="*/ 18263 h 289216"/>
                <a:gd name="connsiteX7" fmla="*/ 1895536 w 2094015"/>
                <a:gd name="connsiteY7" fmla="*/ 18263 h 289216"/>
                <a:gd name="connsiteX8" fmla="*/ 2012642 w 2094015"/>
                <a:gd name="connsiteY8" fmla="*/ 135369 h 289216"/>
                <a:gd name="connsiteX9" fmla="*/ 2087151 w 2094015"/>
                <a:gd name="connsiteY9" fmla="*/ 135369 h 289216"/>
                <a:gd name="connsiteX10" fmla="*/ 2087151 w 2094015"/>
                <a:gd name="connsiteY10" fmla="*/ 124103 h 289216"/>
                <a:gd name="connsiteX11" fmla="*/ 2017313 w 2094015"/>
                <a:gd name="connsiteY11" fmla="*/ 12410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88"/>
                  </a:lnTo>
                  <a:lnTo>
                    <a:pt x="1331769" y="284088"/>
                  </a:lnTo>
                  <a:lnTo>
                    <a:pt x="1597603" y="18263"/>
                  </a:lnTo>
                  <a:lnTo>
                    <a:pt x="1895536" y="18263"/>
                  </a:lnTo>
                  <a:lnTo>
                    <a:pt x="2012642" y="135369"/>
                  </a:lnTo>
                  <a:lnTo>
                    <a:pt x="2087151" y="135369"/>
                  </a:lnTo>
                  <a:lnTo>
                    <a:pt x="2087151" y="124103"/>
                  </a:lnTo>
                  <a:lnTo>
                    <a:pt x="2017313" y="12410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8" name="Freeform: Shape 47">
              <a:extLst>
                <a:ext uri="{FF2B5EF4-FFF2-40B4-BE49-F238E27FC236}">
                  <a16:creationId xmlns:a16="http://schemas.microsoft.com/office/drawing/2014/main" id="{D8BB25C6-A822-49B1-B728-E86D841B63F9}"/>
                </a:ext>
              </a:extLst>
            </p:cNvPr>
            <p:cNvSpPr/>
            <p:nvPr/>
          </p:nvSpPr>
          <p:spPr bwMode="ltGray">
            <a:xfrm>
              <a:off x="3149216" y="3830072"/>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97 h 289216"/>
                <a:gd name="connsiteX5" fmla="*/ 1331769 w 2094015"/>
                <a:gd name="connsiteY5" fmla="*/ 284097 h 289216"/>
                <a:gd name="connsiteX6" fmla="*/ 1597603 w 2094015"/>
                <a:gd name="connsiteY6" fmla="*/ 18263 h 289216"/>
                <a:gd name="connsiteX7" fmla="*/ 1895536 w 2094015"/>
                <a:gd name="connsiteY7" fmla="*/ 18263 h 289216"/>
                <a:gd name="connsiteX8" fmla="*/ 2012642 w 2094015"/>
                <a:gd name="connsiteY8" fmla="*/ 135379 h 289216"/>
                <a:gd name="connsiteX9" fmla="*/ 2087160 w 2094015"/>
                <a:gd name="connsiteY9" fmla="*/ 135379 h 289216"/>
                <a:gd name="connsiteX10" fmla="*/ 2087160 w 2094015"/>
                <a:gd name="connsiteY10" fmla="*/ 124113 h 289216"/>
                <a:gd name="connsiteX11" fmla="*/ 2017303 w 2094015"/>
                <a:gd name="connsiteY11" fmla="*/ 12411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97"/>
                  </a:lnTo>
                  <a:lnTo>
                    <a:pt x="1331769" y="284097"/>
                  </a:lnTo>
                  <a:lnTo>
                    <a:pt x="1597603" y="18263"/>
                  </a:lnTo>
                  <a:lnTo>
                    <a:pt x="1895536" y="18263"/>
                  </a:lnTo>
                  <a:lnTo>
                    <a:pt x="2012642" y="135379"/>
                  </a:lnTo>
                  <a:lnTo>
                    <a:pt x="2087160" y="135379"/>
                  </a:lnTo>
                  <a:lnTo>
                    <a:pt x="2087160" y="124113"/>
                  </a:lnTo>
                  <a:lnTo>
                    <a:pt x="2017303" y="12411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9" name="Freeform: Shape 48">
              <a:extLst>
                <a:ext uri="{FF2B5EF4-FFF2-40B4-BE49-F238E27FC236}">
                  <a16:creationId xmlns:a16="http://schemas.microsoft.com/office/drawing/2014/main" id="{77E44153-DE2D-4140-AD6C-F90B3B2FFB9F}"/>
                </a:ext>
              </a:extLst>
            </p:cNvPr>
            <p:cNvSpPr/>
            <p:nvPr/>
          </p:nvSpPr>
          <p:spPr bwMode="ltGray">
            <a:xfrm>
              <a:off x="-2860" y="3281560"/>
              <a:ext cx="1035798" cy="114341"/>
            </a:xfrm>
            <a:custGeom>
              <a:avLst/>
              <a:gdLst>
                <a:gd name="connsiteX0" fmla="*/ 274812 w 1035797"/>
                <a:gd name="connsiteY0" fmla="*/ 91436 h 114341"/>
                <a:gd name="connsiteX1" fmla="*/ 7006 w 1035797"/>
                <a:gd name="connsiteY1" fmla="*/ 91436 h 114341"/>
                <a:gd name="connsiteX2" fmla="*/ 7006 w 1035797"/>
                <a:gd name="connsiteY2" fmla="*/ 108316 h 114341"/>
                <a:gd name="connsiteX3" fmla="*/ 281799 w 1035797"/>
                <a:gd name="connsiteY3" fmla="*/ 108316 h 114341"/>
                <a:gd name="connsiteX4" fmla="*/ 366219 w 1035797"/>
                <a:gd name="connsiteY4" fmla="*/ 23896 h 114341"/>
                <a:gd name="connsiteX5" fmla="*/ 1030399 w 1035797"/>
                <a:gd name="connsiteY5" fmla="*/ 23896 h 114341"/>
                <a:gd name="connsiteX6" fmla="*/ 1030399 w 1035797"/>
                <a:gd name="connsiteY6" fmla="*/ 7006 h 114341"/>
                <a:gd name="connsiteX7" fmla="*/ 359232 w 1035797"/>
                <a:gd name="connsiteY7" fmla="*/ 7006 h 114341"/>
                <a:gd name="connsiteX8" fmla="*/ 274812 w 1035797"/>
                <a:gd name="connsiteY8" fmla="*/ 91436 h 11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5797" h="114341">
                  <a:moveTo>
                    <a:pt x="274812" y="91436"/>
                  </a:moveTo>
                  <a:lnTo>
                    <a:pt x="7006" y="91436"/>
                  </a:lnTo>
                  <a:lnTo>
                    <a:pt x="7006" y="108316"/>
                  </a:lnTo>
                  <a:lnTo>
                    <a:pt x="281799" y="108316"/>
                  </a:lnTo>
                  <a:lnTo>
                    <a:pt x="366219" y="23896"/>
                  </a:lnTo>
                  <a:lnTo>
                    <a:pt x="1030399" y="23896"/>
                  </a:lnTo>
                  <a:lnTo>
                    <a:pt x="1030399" y="7006"/>
                  </a:lnTo>
                  <a:lnTo>
                    <a:pt x="359232" y="7006"/>
                  </a:lnTo>
                  <a:lnTo>
                    <a:pt x="274812" y="914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0" name="Freeform: Shape 49">
              <a:extLst>
                <a:ext uri="{FF2B5EF4-FFF2-40B4-BE49-F238E27FC236}">
                  <a16:creationId xmlns:a16="http://schemas.microsoft.com/office/drawing/2014/main" id="{85EF8773-9F52-4559-A179-93BACC6FD988}"/>
                </a:ext>
              </a:extLst>
            </p:cNvPr>
            <p:cNvSpPr/>
            <p:nvPr/>
          </p:nvSpPr>
          <p:spPr bwMode="ltGray">
            <a:xfrm>
              <a:off x="3347810" y="2551625"/>
              <a:ext cx="654660" cy="29146"/>
            </a:xfrm>
            <a:custGeom>
              <a:avLst/>
              <a:gdLst>
                <a:gd name="connsiteX0" fmla="*/ 7006 w 654659"/>
                <a:gd name="connsiteY0" fmla="*/ 7006 h 29145"/>
                <a:gd name="connsiteX1" fmla="*/ 648187 w 654659"/>
                <a:gd name="connsiteY1" fmla="*/ 7006 h 29145"/>
                <a:gd name="connsiteX2" fmla="*/ 64818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87" y="7006"/>
                  </a:lnTo>
                  <a:lnTo>
                    <a:pt x="64818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1" name="Freeform: Shape 50">
              <a:extLst>
                <a:ext uri="{FF2B5EF4-FFF2-40B4-BE49-F238E27FC236}">
                  <a16:creationId xmlns:a16="http://schemas.microsoft.com/office/drawing/2014/main" id="{CAE7F514-1192-4D03-9626-17801F396360}"/>
                </a:ext>
              </a:extLst>
            </p:cNvPr>
            <p:cNvSpPr/>
            <p:nvPr/>
          </p:nvSpPr>
          <p:spPr bwMode="ltGray">
            <a:xfrm>
              <a:off x="3254599" y="2849716"/>
              <a:ext cx="798147" cy="255586"/>
            </a:xfrm>
            <a:custGeom>
              <a:avLst/>
              <a:gdLst>
                <a:gd name="connsiteX0" fmla="*/ 549875 w 798147"/>
                <a:gd name="connsiteY0" fmla="*/ 245068 h 255586"/>
                <a:gd name="connsiteX1" fmla="*/ 432610 w 798147"/>
                <a:gd name="connsiteY1" fmla="*/ 245068 h 255586"/>
                <a:gd name="connsiteX2" fmla="*/ 263303 w 798147"/>
                <a:gd name="connsiteY2" fmla="*/ 75760 h 255586"/>
                <a:gd name="connsiteX3" fmla="*/ 7006 w 798147"/>
                <a:gd name="connsiteY3" fmla="*/ 75760 h 255586"/>
                <a:gd name="connsiteX4" fmla="*/ 7006 w 798147"/>
                <a:gd name="connsiteY4" fmla="*/ 81384 h 255586"/>
                <a:gd name="connsiteX5" fmla="*/ 260977 w 798147"/>
                <a:gd name="connsiteY5" fmla="*/ 81384 h 255586"/>
                <a:gd name="connsiteX6" fmla="*/ 430284 w 798147"/>
                <a:gd name="connsiteY6" fmla="*/ 250701 h 255586"/>
                <a:gd name="connsiteX7" fmla="*/ 552211 w 798147"/>
                <a:gd name="connsiteY7" fmla="*/ 250701 h 255586"/>
                <a:gd name="connsiteX8" fmla="*/ 791926 w 798147"/>
                <a:gd name="connsiteY8" fmla="*/ 10986 h 255586"/>
                <a:gd name="connsiteX9" fmla="*/ 787937 w 798147"/>
                <a:gd name="connsiteY9" fmla="*/ 7006 h 255586"/>
                <a:gd name="connsiteX10" fmla="*/ 549875 w 798147"/>
                <a:gd name="connsiteY10" fmla="*/ 245068 h 2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8147" h="255586">
                  <a:moveTo>
                    <a:pt x="549875" y="245068"/>
                  </a:moveTo>
                  <a:lnTo>
                    <a:pt x="432610" y="245068"/>
                  </a:lnTo>
                  <a:lnTo>
                    <a:pt x="263303" y="75760"/>
                  </a:lnTo>
                  <a:lnTo>
                    <a:pt x="7006" y="75760"/>
                  </a:lnTo>
                  <a:lnTo>
                    <a:pt x="7006" y="81384"/>
                  </a:lnTo>
                  <a:lnTo>
                    <a:pt x="260977" y="81384"/>
                  </a:lnTo>
                  <a:lnTo>
                    <a:pt x="430284" y="250701"/>
                  </a:lnTo>
                  <a:lnTo>
                    <a:pt x="552211" y="250701"/>
                  </a:lnTo>
                  <a:lnTo>
                    <a:pt x="791926" y="10986"/>
                  </a:lnTo>
                  <a:lnTo>
                    <a:pt x="787937" y="7006"/>
                  </a:lnTo>
                  <a:lnTo>
                    <a:pt x="549875" y="2450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2" name="Freeform: Shape 51">
              <a:extLst>
                <a:ext uri="{FF2B5EF4-FFF2-40B4-BE49-F238E27FC236}">
                  <a16:creationId xmlns:a16="http://schemas.microsoft.com/office/drawing/2014/main" id="{6F084B42-FBFA-49C2-B741-086F981BCB9A}"/>
                </a:ext>
              </a:extLst>
            </p:cNvPr>
            <p:cNvSpPr/>
            <p:nvPr/>
          </p:nvSpPr>
          <p:spPr bwMode="ltGray">
            <a:xfrm>
              <a:off x="4174309" y="3678878"/>
              <a:ext cx="482027" cy="35872"/>
            </a:xfrm>
            <a:custGeom>
              <a:avLst/>
              <a:gdLst>
                <a:gd name="connsiteX0" fmla="*/ 7006 w 482027"/>
                <a:gd name="connsiteY0" fmla="*/ 7006 h 35871"/>
                <a:gd name="connsiteX1" fmla="*/ 476012 w 482027"/>
                <a:gd name="connsiteY1" fmla="*/ 7006 h 35871"/>
                <a:gd name="connsiteX2" fmla="*/ 476012 w 482027"/>
                <a:gd name="connsiteY2" fmla="*/ 29520 h 35871"/>
                <a:gd name="connsiteX3" fmla="*/ 7006 w 482027"/>
                <a:gd name="connsiteY3" fmla="*/ 29520 h 35871"/>
              </a:gdLst>
              <a:ahLst/>
              <a:cxnLst>
                <a:cxn ang="0">
                  <a:pos x="connsiteX0" y="connsiteY0"/>
                </a:cxn>
                <a:cxn ang="0">
                  <a:pos x="connsiteX1" y="connsiteY1"/>
                </a:cxn>
                <a:cxn ang="0">
                  <a:pos x="connsiteX2" y="connsiteY2"/>
                </a:cxn>
                <a:cxn ang="0">
                  <a:pos x="connsiteX3" y="connsiteY3"/>
                </a:cxn>
              </a:cxnLst>
              <a:rect l="l" t="t" r="r" b="b"/>
              <a:pathLst>
                <a:path w="482027" h="35871">
                  <a:moveTo>
                    <a:pt x="7006" y="7006"/>
                  </a:moveTo>
                  <a:lnTo>
                    <a:pt x="476012" y="7006"/>
                  </a:lnTo>
                  <a:lnTo>
                    <a:pt x="47601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3" name="Freeform: Shape 52">
              <a:extLst>
                <a:ext uri="{FF2B5EF4-FFF2-40B4-BE49-F238E27FC236}">
                  <a16:creationId xmlns:a16="http://schemas.microsoft.com/office/drawing/2014/main" id="{8F17A34A-D978-4F96-BDE4-485C7D5B7553}"/>
                </a:ext>
              </a:extLst>
            </p:cNvPr>
            <p:cNvSpPr/>
            <p:nvPr/>
          </p:nvSpPr>
          <p:spPr bwMode="ltGray">
            <a:xfrm>
              <a:off x="4154075" y="2551625"/>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4" name="Freeform: Shape 53">
              <a:extLst>
                <a:ext uri="{FF2B5EF4-FFF2-40B4-BE49-F238E27FC236}">
                  <a16:creationId xmlns:a16="http://schemas.microsoft.com/office/drawing/2014/main" id="{0EA5A6D4-F203-4715-AA5C-D23BF46ACC46}"/>
                </a:ext>
              </a:extLst>
            </p:cNvPr>
            <p:cNvSpPr/>
            <p:nvPr/>
          </p:nvSpPr>
          <p:spPr bwMode="ltGray">
            <a:xfrm>
              <a:off x="2696353" y="3575391"/>
              <a:ext cx="105373" cy="105373"/>
            </a:xfrm>
            <a:custGeom>
              <a:avLst/>
              <a:gdLst>
                <a:gd name="connsiteX0" fmla="*/ 52864 w 105373"/>
                <a:gd name="connsiteY0" fmla="*/ 7006 h 105373"/>
                <a:gd name="connsiteX1" fmla="*/ 7006 w 105373"/>
                <a:gd name="connsiteY1" fmla="*/ 52874 h 105373"/>
                <a:gd name="connsiteX2" fmla="*/ 52864 w 105373"/>
                <a:gd name="connsiteY2" fmla="*/ 9873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48"/>
                    <a:pt x="7006" y="52874"/>
                  </a:cubicBezTo>
                  <a:cubicBezTo>
                    <a:pt x="7006" y="78199"/>
                    <a:pt x="27539" y="98732"/>
                    <a:pt x="52864" y="98732"/>
                  </a:cubicBezTo>
                  <a:cubicBezTo>
                    <a:pt x="78199" y="98732"/>
                    <a:pt x="98722" y="78199"/>
                    <a:pt x="98722" y="52874"/>
                  </a:cubicBezTo>
                  <a:cubicBezTo>
                    <a:pt x="98722" y="27548"/>
                    <a:pt x="7819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5" name="Freeform: Shape 54">
              <a:extLst>
                <a:ext uri="{FF2B5EF4-FFF2-40B4-BE49-F238E27FC236}">
                  <a16:creationId xmlns:a16="http://schemas.microsoft.com/office/drawing/2014/main" id="{D4E26530-6081-4D0A-825C-C57AE49D4637}"/>
                </a:ext>
              </a:extLst>
            </p:cNvPr>
            <p:cNvSpPr/>
            <p:nvPr/>
          </p:nvSpPr>
          <p:spPr bwMode="ltGray">
            <a:xfrm>
              <a:off x="2012229" y="3612814"/>
              <a:ext cx="654660" cy="29146"/>
            </a:xfrm>
            <a:custGeom>
              <a:avLst/>
              <a:gdLst>
                <a:gd name="connsiteX0" fmla="*/ 7006 w 654659"/>
                <a:gd name="connsiteY0" fmla="*/ 7006 h 29145"/>
                <a:gd name="connsiteX1" fmla="*/ 648177 w 654659"/>
                <a:gd name="connsiteY1" fmla="*/ 7006 h 29145"/>
                <a:gd name="connsiteX2" fmla="*/ 64817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77" y="7006"/>
                  </a:lnTo>
                  <a:lnTo>
                    <a:pt x="64817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6" name="Freeform: Shape 55">
              <a:extLst>
                <a:ext uri="{FF2B5EF4-FFF2-40B4-BE49-F238E27FC236}">
                  <a16:creationId xmlns:a16="http://schemas.microsoft.com/office/drawing/2014/main" id="{103A0406-19B8-49CD-A370-74D8C9B65A10}"/>
                </a:ext>
              </a:extLst>
            </p:cNvPr>
            <p:cNvSpPr/>
            <p:nvPr/>
          </p:nvSpPr>
          <p:spPr bwMode="ltGray">
            <a:xfrm>
              <a:off x="2818486" y="3612823"/>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7" name="Freeform: Shape 56">
              <a:extLst>
                <a:ext uri="{FF2B5EF4-FFF2-40B4-BE49-F238E27FC236}">
                  <a16:creationId xmlns:a16="http://schemas.microsoft.com/office/drawing/2014/main" id="{FEBE628D-C225-4EA7-90CE-EFCDF11CA1E0}"/>
                </a:ext>
              </a:extLst>
            </p:cNvPr>
            <p:cNvSpPr/>
            <p:nvPr/>
          </p:nvSpPr>
          <p:spPr bwMode="ltGray">
            <a:xfrm>
              <a:off x="2941262" y="3164808"/>
              <a:ext cx="1802557" cy="181601"/>
            </a:xfrm>
            <a:custGeom>
              <a:avLst/>
              <a:gdLst>
                <a:gd name="connsiteX0" fmla="*/ 507950 w 1802556"/>
                <a:gd name="connsiteY0" fmla="*/ 7006 h 181600"/>
                <a:gd name="connsiteX1" fmla="*/ 7006 w 1802556"/>
                <a:gd name="connsiteY1" fmla="*/ 7006 h 181600"/>
                <a:gd name="connsiteX2" fmla="*/ 7006 w 1802556"/>
                <a:gd name="connsiteY2" fmla="*/ 23886 h 181600"/>
                <a:gd name="connsiteX3" fmla="*/ 500954 w 1802556"/>
                <a:gd name="connsiteY3" fmla="*/ 23886 h 181600"/>
                <a:gd name="connsiteX4" fmla="*/ 651980 w 1802556"/>
                <a:gd name="connsiteY4" fmla="*/ 174903 h 181600"/>
                <a:gd name="connsiteX5" fmla="*/ 1796617 w 1802556"/>
                <a:gd name="connsiteY5" fmla="*/ 174903 h 181600"/>
                <a:gd name="connsiteX6" fmla="*/ 1796617 w 1802556"/>
                <a:gd name="connsiteY6" fmla="*/ 158023 h 181600"/>
                <a:gd name="connsiteX7" fmla="*/ 658967 w 1802556"/>
                <a:gd name="connsiteY7" fmla="*/ 158023 h 181600"/>
                <a:gd name="connsiteX8" fmla="*/ 507950 w 1802556"/>
                <a:gd name="connsiteY8" fmla="*/ 7006 h 18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556" h="181600">
                  <a:moveTo>
                    <a:pt x="507950" y="7006"/>
                  </a:moveTo>
                  <a:lnTo>
                    <a:pt x="7006" y="7006"/>
                  </a:lnTo>
                  <a:lnTo>
                    <a:pt x="7006" y="23886"/>
                  </a:lnTo>
                  <a:lnTo>
                    <a:pt x="500954" y="23886"/>
                  </a:lnTo>
                  <a:lnTo>
                    <a:pt x="651980" y="174903"/>
                  </a:lnTo>
                  <a:lnTo>
                    <a:pt x="1796617" y="174903"/>
                  </a:lnTo>
                  <a:lnTo>
                    <a:pt x="1796617" y="158023"/>
                  </a:lnTo>
                  <a:lnTo>
                    <a:pt x="658967" y="158023"/>
                  </a:lnTo>
                  <a:lnTo>
                    <a:pt x="507950"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8" name="Freeform: Shape 57">
              <a:extLst>
                <a:ext uri="{FF2B5EF4-FFF2-40B4-BE49-F238E27FC236}">
                  <a16:creationId xmlns:a16="http://schemas.microsoft.com/office/drawing/2014/main" id="{E3054D2C-9504-44BF-BEE0-A50E4456623A}"/>
                </a:ext>
              </a:extLst>
            </p:cNvPr>
            <p:cNvSpPr/>
            <p:nvPr/>
          </p:nvSpPr>
          <p:spPr bwMode="ltGray">
            <a:xfrm>
              <a:off x="3436088" y="3562957"/>
              <a:ext cx="1107541" cy="257828"/>
            </a:xfrm>
            <a:custGeom>
              <a:avLst/>
              <a:gdLst>
                <a:gd name="connsiteX0" fmla="*/ 444820 w 1107541"/>
                <a:gd name="connsiteY0" fmla="*/ 245489 h 257828"/>
                <a:gd name="connsiteX1" fmla="*/ 7006 w 1107541"/>
                <a:gd name="connsiteY1" fmla="*/ 245489 h 257828"/>
                <a:gd name="connsiteX2" fmla="*/ 7006 w 1107541"/>
                <a:gd name="connsiteY2" fmla="*/ 251112 h 257828"/>
                <a:gd name="connsiteX3" fmla="*/ 447146 w 1107541"/>
                <a:gd name="connsiteY3" fmla="*/ 251112 h 257828"/>
                <a:gd name="connsiteX4" fmla="*/ 685638 w 1107541"/>
                <a:gd name="connsiteY4" fmla="*/ 12630 h 257828"/>
                <a:gd name="connsiteX5" fmla="*/ 1102218 w 1107541"/>
                <a:gd name="connsiteY5" fmla="*/ 12630 h 257828"/>
                <a:gd name="connsiteX6" fmla="*/ 1102218 w 1107541"/>
                <a:gd name="connsiteY6" fmla="*/ 7006 h 257828"/>
                <a:gd name="connsiteX7" fmla="*/ 683311 w 1107541"/>
                <a:gd name="connsiteY7" fmla="*/ 7006 h 257828"/>
                <a:gd name="connsiteX8" fmla="*/ 444820 w 1107541"/>
                <a:gd name="connsiteY8" fmla="*/ 245489 h 25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41" h="257828">
                  <a:moveTo>
                    <a:pt x="444820" y="245489"/>
                  </a:moveTo>
                  <a:lnTo>
                    <a:pt x="7006" y="245489"/>
                  </a:lnTo>
                  <a:lnTo>
                    <a:pt x="7006" y="251112"/>
                  </a:lnTo>
                  <a:lnTo>
                    <a:pt x="447146" y="251112"/>
                  </a:lnTo>
                  <a:lnTo>
                    <a:pt x="685638" y="12630"/>
                  </a:lnTo>
                  <a:lnTo>
                    <a:pt x="1102218" y="12630"/>
                  </a:lnTo>
                  <a:lnTo>
                    <a:pt x="1102218" y="7006"/>
                  </a:lnTo>
                  <a:lnTo>
                    <a:pt x="683311" y="7006"/>
                  </a:lnTo>
                  <a:lnTo>
                    <a:pt x="444820" y="24548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9" name="Freeform: Shape 58">
              <a:extLst>
                <a:ext uri="{FF2B5EF4-FFF2-40B4-BE49-F238E27FC236}">
                  <a16:creationId xmlns:a16="http://schemas.microsoft.com/office/drawing/2014/main" id="{5ED4B78C-3393-4D91-9940-4B96E102EB67}"/>
                </a:ext>
              </a:extLst>
            </p:cNvPr>
            <p:cNvSpPr/>
            <p:nvPr/>
          </p:nvSpPr>
          <p:spPr bwMode="ltGray">
            <a:xfrm>
              <a:off x="3520499" y="3599296"/>
              <a:ext cx="1567148" cy="224199"/>
            </a:xfrm>
            <a:custGeom>
              <a:avLst/>
              <a:gdLst>
                <a:gd name="connsiteX0" fmla="*/ 347023 w 1567148"/>
                <a:gd name="connsiteY0" fmla="*/ 7006 h 224198"/>
                <a:gd name="connsiteX1" fmla="*/ 7006 w 1567148"/>
                <a:gd name="connsiteY1" fmla="*/ 7006 h 224198"/>
                <a:gd name="connsiteX2" fmla="*/ 7006 w 1567148"/>
                <a:gd name="connsiteY2" fmla="*/ 18263 h 224198"/>
                <a:gd name="connsiteX3" fmla="*/ 342361 w 1567148"/>
                <a:gd name="connsiteY3" fmla="*/ 18263 h 224198"/>
                <a:gd name="connsiteX4" fmla="*/ 543393 w 1567148"/>
                <a:gd name="connsiteY4" fmla="*/ 219295 h 224198"/>
                <a:gd name="connsiteX5" fmla="*/ 1560330 w 1567148"/>
                <a:gd name="connsiteY5" fmla="*/ 219295 h 224198"/>
                <a:gd name="connsiteX6" fmla="*/ 1560330 w 1567148"/>
                <a:gd name="connsiteY6" fmla="*/ 208038 h 224198"/>
                <a:gd name="connsiteX7" fmla="*/ 548054 w 1567148"/>
                <a:gd name="connsiteY7" fmla="*/ 208038 h 224198"/>
                <a:gd name="connsiteX8" fmla="*/ 347023 w 1567148"/>
                <a:gd name="connsiteY8" fmla="*/ 7006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148" h="224198">
                  <a:moveTo>
                    <a:pt x="347023" y="7006"/>
                  </a:moveTo>
                  <a:lnTo>
                    <a:pt x="7006" y="7006"/>
                  </a:lnTo>
                  <a:lnTo>
                    <a:pt x="7006" y="18263"/>
                  </a:lnTo>
                  <a:lnTo>
                    <a:pt x="342361" y="18263"/>
                  </a:lnTo>
                  <a:lnTo>
                    <a:pt x="543393" y="219295"/>
                  </a:lnTo>
                  <a:lnTo>
                    <a:pt x="1560330" y="219295"/>
                  </a:lnTo>
                  <a:lnTo>
                    <a:pt x="1560330" y="208038"/>
                  </a:lnTo>
                  <a:lnTo>
                    <a:pt x="548054" y="208038"/>
                  </a:lnTo>
                  <a:lnTo>
                    <a:pt x="347023"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0" name="Freeform: Shape 59">
              <a:extLst>
                <a:ext uri="{FF2B5EF4-FFF2-40B4-BE49-F238E27FC236}">
                  <a16:creationId xmlns:a16="http://schemas.microsoft.com/office/drawing/2014/main" id="{3769700D-7D2B-4EE1-A78F-0F25587CE6A0}"/>
                </a:ext>
              </a:extLst>
            </p:cNvPr>
            <p:cNvSpPr/>
            <p:nvPr/>
          </p:nvSpPr>
          <p:spPr bwMode="ltGray">
            <a:xfrm>
              <a:off x="2861765" y="2305221"/>
              <a:ext cx="1161349" cy="103131"/>
            </a:xfrm>
            <a:custGeom>
              <a:avLst/>
              <a:gdLst>
                <a:gd name="connsiteX0" fmla="*/ 248580 w 1161348"/>
                <a:gd name="connsiteY0" fmla="*/ 89894 h 103131"/>
                <a:gd name="connsiteX1" fmla="*/ 7006 w 1161348"/>
                <a:gd name="connsiteY1" fmla="*/ 89894 h 103131"/>
                <a:gd name="connsiteX2" fmla="*/ 7006 w 1161348"/>
                <a:gd name="connsiteY2" fmla="*/ 98358 h 103131"/>
                <a:gd name="connsiteX3" fmla="*/ 252083 w 1161348"/>
                <a:gd name="connsiteY3" fmla="*/ 98358 h 103131"/>
                <a:gd name="connsiteX4" fmla="*/ 33497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94"/>
                  </a:moveTo>
                  <a:lnTo>
                    <a:pt x="7006" y="89894"/>
                  </a:lnTo>
                  <a:lnTo>
                    <a:pt x="7006" y="98358"/>
                  </a:lnTo>
                  <a:lnTo>
                    <a:pt x="252083" y="98358"/>
                  </a:lnTo>
                  <a:lnTo>
                    <a:pt x="334972" y="15470"/>
                  </a:lnTo>
                  <a:lnTo>
                    <a:pt x="1155633" y="15470"/>
                  </a:lnTo>
                  <a:lnTo>
                    <a:pt x="1155633" y="7006"/>
                  </a:lnTo>
                  <a:lnTo>
                    <a:pt x="331459" y="7006"/>
                  </a:lnTo>
                  <a:lnTo>
                    <a:pt x="248580"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1" name="Freeform: Shape 60">
              <a:extLst>
                <a:ext uri="{FF2B5EF4-FFF2-40B4-BE49-F238E27FC236}">
                  <a16:creationId xmlns:a16="http://schemas.microsoft.com/office/drawing/2014/main" id="{174648F4-61B6-4C08-A981-23B027EEA025}"/>
                </a:ext>
              </a:extLst>
            </p:cNvPr>
            <p:cNvSpPr/>
            <p:nvPr/>
          </p:nvSpPr>
          <p:spPr bwMode="ltGray">
            <a:xfrm>
              <a:off x="1819381" y="3761560"/>
              <a:ext cx="1161349" cy="103131"/>
            </a:xfrm>
            <a:custGeom>
              <a:avLst/>
              <a:gdLst>
                <a:gd name="connsiteX0" fmla="*/ 248580 w 1161348"/>
                <a:gd name="connsiteY0" fmla="*/ 89885 h 103131"/>
                <a:gd name="connsiteX1" fmla="*/ 7006 w 1161348"/>
                <a:gd name="connsiteY1" fmla="*/ 89885 h 103131"/>
                <a:gd name="connsiteX2" fmla="*/ 7006 w 1161348"/>
                <a:gd name="connsiteY2" fmla="*/ 98349 h 103131"/>
                <a:gd name="connsiteX3" fmla="*/ 252084 w 1161348"/>
                <a:gd name="connsiteY3" fmla="*/ 98349 h 103131"/>
                <a:gd name="connsiteX4" fmla="*/ 33496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85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85"/>
                  </a:moveTo>
                  <a:lnTo>
                    <a:pt x="7006" y="89885"/>
                  </a:lnTo>
                  <a:lnTo>
                    <a:pt x="7006" y="98349"/>
                  </a:lnTo>
                  <a:lnTo>
                    <a:pt x="252084" y="98349"/>
                  </a:lnTo>
                  <a:lnTo>
                    <a:pt x="334962" y="15470"/>
                  </a:lnTo>
                  <a:lnTo>
                    <a:pt x="1155633" y="15470"/>
                  </a:lnTo>
                  <a:lnTo>
                    <a:pt x="1155633" y="7006"/>
                  </a:lnTo>
                  <a:lnTo>
                    <a:pt x="331459" y="7006"/>
                  </a:lnTo>
                  <a:lnTo>
                    <a:pt x="248580" y="898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2" name="Freeform: Shape 61">
              <a:extLst>
                <a:ext uri="{FF2B5EF4-FFF2-40B4-BE49-F238E27FC236}">
                  <a16:creationId xmlns:a16="http://schemas.microsoft.com/office/drawing/2014/main" id="{EE751789-C3D1-4668-A9B2-B8380B5FC9E9}"/>
                </a:ext>
              </a:extLst>
            </p:cNvPr>
            <p:cNvSpPr/>
            <p:nvPr/>
          </p:nvSpPr>
          <p:spPr bwMode="ltGray">
            <a:xfrm>
              <a:off x="4190835" y="2514389"/>
              <a:ext cx="1161349" cy="103131"/>
            </a:xfrm>
            <a:custGeom>
              <a:avLst/>
              <a:gdLst>
                <a:gd name="connsiteX0" fmla="*/ 248581 w 1161348"/>
                <a:gd name="connsiteY0" fmla="*/ 89894 h 103131"/>
                <a:gd name="connsiteX1" fmla="*/ 7006 w 1161348"/>
                <a:gd name="connsiteY1" fmla="*/ 89894 h 103131"/>
                <a:gd name="connsiteX2" fmla="*/ 7006 w 1161348"/>
                <a:gd name="connsiteY2" fmla="*/ 98358 h 103131"/>
                <a:gd name="connsiteX3" fmla="*/ 252084 w 1161348"/>
                <a:gd name="connsiteY3" fmla="*/ 98358 h 103131"/>
                <a:gd name="connsiteX4" fmla="*/ 334962 w 1161348"/>
                <a:gd name="connsiteY4" fmla="*/ 15470 h 103131"/>
                <a:gd name="connsiteX5" fmla="*/ 1155623 w 1161348"/>
                <a:gd name="connsiteY5" fmla="*/ 15470 h 103131"/>
                <a:gd name="connsiteX6" fmla="*/ 1155623 w 1161348"/>
                <a:gd name="connsiteY6" fmla="*/ 7006 h 103131"/>
                <a:gd name="connsiteX7" fmla="*/ 331459 w 1161348"/>
                <a:gd name="connsiteY7" fmla="*/ 7006 h 103131"/>
                <a:gd name="connsiteX8" fmla="*/ 248581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1" y="89894"/>
                  </a:moveTo>
                  <a:lnTo>
                    <a:pt x="7006" y="89894"/>
                  </a:lnTo>
                  <a:lnTo>
                    <a:pt x="7006" y="98358"/>
                  </a:lnTo>
                  <a:lnTo>
                    <a:pt x="252084" y="98358"/>
                  </a:lnTo>
                  <a:lnTo>
                    <a:pt x="334962" y="15470"/>
                  </a:lnTo>
                  <a:lnTo>
                    <a:pt x="1155623" y="15470"/>
                  </a:lnTo>
                  <a:lnTo>
                    <a:pt x="1155623" y="7006"/>
                  </a:lnTo>
                  <a:lnTo>
                    <a:pt x="331459" y="7006"/>
                  </a:lnTo>
                  <a:lnTo>
                    <a:pt x="248581"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3" name="Freeform: Shape 62">
              <a:extLst>
                <a:ext uri="{FF2B5EF4-FFF2-40B4-BE49-F238E27FC236}">
                  <a16:creationId xmlns:a16="http://schemas.microsoft.com/office/drawing/2014/main" id="{EC21B41A-EBCB-496D-A58B-456A06C1B078}"/>
                </a:ext>
              </a:extLst>
            </p:cNvPr>
            <p:cNvSpPr/>
            <p:nvPr/>
          </p:nvSpPr>
          <p:spPr bwMode="ltGray">
            <a:xfrm>
              <a:off x="3194999" y="4629882"/>
              <a:ext cx="632240" cy="29146"/>
            </a:xfrm>
            <a:custGeom>
              <a:avLst/>
              <a:gdLst>
                <a:gd name="connsiteX0" fmla="*/ 7006 w 632240"/>
                <a:gd name="connsiteY0" fmla="*/ 7006 h 29145"/>
                <a:gd name="connsiteX1" fmla="*/ 626085 w 632240"/>
                <a:gd name="connsiteY1" fmla="*/ 7006 h 29145"/>
                <a:gd name="connsiteX2" fmla="*/ 626085 w 632240"/>
                <a:gd name="connsiteY2" fmla="*/ 23896 h 29145"/>
                <a:gd name="connsiteX3" fmla="*/ 7006 w 632240"/>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32240" h="29145">
                  <a:moveTo>
                    <a:pt x="7006" y="7006"/>
                  </a:moveTo>
                  <a:lnTo>
                    <a:pt x="626085" y="7006"/>
                  </a:lnTo>
                  <a:lnTo>
                    <a:pt x="626085"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2" name="Freeform: Shape 13311">
              <a:extLst>
                <a:ext uri="{FF2B5EF4-FFF2-40B4-BE49-F238E27FC236}">
                  <a16:creationId xmlns:a16="http://schemas.microsoft.com/office/drawing/2014/main" id="{2BEFE149-FF85-4758-B042-6F9916FE0C87}"/>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3" name="Freeform: Shape 13312">
              <a:extLst>
                <a:ext uri="{FF2B5EF4-FFF2-40B4-BE49-F238E27FC236}">
                  <a16:creationId xmlns:a16="http://schemas.microsoft.com/office/drawing/2014/main" id="{F12F186A-021C-421C-A011-0ADA179D819E}"/>
                </a:ext>
              </a:extLst>
            </p:cNvPr>
            <p:cNvSpPr/>
            <p:nvPr/>
          </p:nvSpPr>
          <p:spPr bwMode="ltGray">
            <a:xfrm>
              <a:off x="3939704"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6" name="Freeform: Shape 13315">
              <a:extLst>
                <a:ext uri="{FF2B5EF4-FFF2-40B4-BE49-F238E27FC236}">
                  <a16:creationId xmlns:a16="http://schemas.microsoft.com/office/drawing/2014/main" id="{DEC8D821-808F-4EFF-8CDD-8B2B94934C98}"/>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7" name="Freeform: Shape 13316">
              <a:extLst>
                <a:ext uri="{FF2B5EF4-FFF2-40B4-BE49-F238E27FC236}">
                  <a16:creationId xmlns:a16="http://schemas.microsoft.com/office/drawing/2014/main" id="{DA9AAB05-DD0E-41C6-8E0E-F877924B3128}"/>
                </a:ext>
              </a:extLst>
            </p:cNvPr>
            <p:cNvSpPr/>
            <p:nvPr/>
          </p:nvSpPr>
          <p:spPr bwMode="ltGray">
            <a:xfrm>
              <a:off x="3801523"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8" name="Freeform: Shape 13317">
              <a:extLst>
                <a:ext uri="{FF2B5EF4-FFF2-40B4-BE49-F238E27FC236}">
                  <a16:creationId xmlns:a16="http://schemas.microsoft.com/office/drawing/2014/main" id="{4284A3E6-DD8A-434F-BE53-59F555F8A836}"/>
                </a:ext>
              </a:extLst>
            </p:cNvPr>
            <p:cNvSpPr/>
            <p:nvPr/>
          </p:nvSpPr>
          <p:spPr bwMode="ltGray">
            <a:xfrm>
              <a:off x="3525160"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9" name="Freeform: Shape 13318">
              <a:extLst>
                <a:ext uri="{FF2B5EF4-FFF2-40B4-BE49-F238E27FC236}">
                  <a16:creationId xmlns:a16="http://schemas.microsoft.com/office/drawing/2014/main" id="{ABE75A4F-B2B9-4C07-8B95-CAA8AEEFF1A4}"/>
                </a:ext>
              </a:extLst>
            </p:cNvPr>
            <p:cNvSpPr/>
            <p:nvPr/>
          </p:nvSpPr>
          <p:spPr bwMode="ltGray">
            <a:xfrm>
              <a:off x="3663341"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0" name="Freeform: Shape 13319">
              <a:extLst>
                <a:ext uri="{FF2B5EF4-FFF2-40B4-BE49-F238E27FC236}">
                  <a16:creationId xmlns:a16="http://schemas.microsoft.com/office/drawing/2014/main" id="{B4E8A190-6304-4980-91BE-D6E4266BC929}"/>
                </a:ext>
              </a:extLst>
            </p:cNvPr>
            <p:cNvSpPr/>
            <p:nvPr/>
          </p:nvSpPr>
          <p:spPr bwMode="ltGray">
            <a:xfrm>
              <a:off x="4077885" y="3900405"/>
              <a:ext cx="71744" cy="47082"/>
            </a:xfrm>
            <a:custGeom>
              <a:avLst/>
              <a:gdLst>
                <a:gd name="connsiteX0" fmla="*/ 7006 w 71743"/>
                <a:gd name="connsiteY0" fmla="*/ 7006 h 47081"/>
                <a:gd name="connsiteX1" fmla="*/ 7006 w 71743"/>
                <a:gd name="connsiteY1" fmla="*/ 12621 h 47081"/>
                <a:gd name="connsiteX2" fmla="*/ 31892 w 71743"/>
                <a:gd name="connsiteY2" fmla="*/ 12621 h 47081"/>
                <a:gd name="connsiteX3" fmla="*/ 61496 w 71743"/>
                <a:gd name="connsiteY3" fmla="*/ 42233 h 47081"/>
                <a:gd name="connsiteX4" fmla="*/ 65475 w 71743"/>
                <a:gd name="connsiteY4" fmla="*/ 38245 h 47081"/>
                <a:gd name="connsiteX5" fmla="*/ 34218 w 71743"/>
                <a:gd name="connsiteY5" fmla="*/ 7006 h 47081"/>
                <a:gd name="connsiteX6" fmla="*/ 7006 w 71743"/>
                <a:gd name="connsiteY6" fmla="*/ 7006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43" h="47081">
                  <a:moveTo>
                    <a:pt x="7006" y="7006"/>
                  </a:moveTo>
                  <a:lnTo>
                    <a:pt x="7006" y="12621"/>
                  </a:lnTo>
                  <a:lnTo>
                    <a:pt x="31892" y="12621"/>
                  </a:lnTo>
                  <a:lnTo>
                    <a:pt x="61496" y="42233"/>
                  </a:lnTo>
                  <a:lnTo>
                    <a:pt x="65475" y="38245"/>
                  </a:lnTo>
                  <a:lnTo>
                    <a:pt x="34218" y="7006"/>
                  </a:lnTo>
                  <a:lnTo>
                    <a:pt x="700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1" name="Freeform: Shape 13320">
              <a:extLst>
                <a:ext uri="{FF2B5EF4-FFF2-40B4-BE49-F238E27FC236}">
                  <a16:creationId xmlns:a16="http://schemas.microsoft.com/office/drawing/2014/main" id="{B7462F1D-A9D7-4B8A-B22A-54336E5CA3C0}"/>
                </a:ext>
              </a:extLst>
            </p:cNvPr>
            <p:cNvSpPr/>
            <p:nvPr/>
          </p:nvSpPr>
          <p:spPr bwMode="ltGray">
            <a:xfrm>
              <a:off x="4339721"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2" name="Freeform: Shape 13321">
              <a:extLst>
                <a:ext uri="{FF2B5EF4-FFF2-40B4-BE49-F238E27FC236}">
                  <a16:creationId xmlns:a16="http://schemas.microsoft.com/office/drawing/2014/main" id="{70ED982C-FD0E-4C42-B540-8BE65612AF2E}"/>
                </a:ext>
              </a:extLst>
            </p:cNvPr>
            <p:cNvSpPr/>
            <p:nvPr/>
          </p:nvSpPr>
          <p:spPr bwMode="ltGray">
            <a:xfrm>
              <a:off x="4477902"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3" name="Freeform: Shape 13322">
              <a:extLst>
                <a:ext uri="{FF2B5EF4-FFF2-40B4-BE49-F238E27FC236}">
                  <a16:creationId xmlns:a16="http://schemas.microsoft.com/office/drawing/2014/main" id="{E878DF4D-7BCC-4CF7-9F67-76EA8BB2C377}"/>
                </a:ext>
              </a:extLst>
            </p:cNvPr>
            <p:cNvSpPr/>
            <p:nvPr/>
          </p:nvSpPr>
          <p:spPr bwMode="ltGray">
            <a:xfrm>
              <a:off x="4201549" y="3935445"/>
              <a:ext cx="82953" cy="17936"/>
            </a:xfrm>
            <a:custGeom>
              <a:avLst/>
              <a:gdLst>
                <a:gd name="connsiteX0" fmla="*/ 7006 w 82953"/>
                <a:gd name="connsiteY0" fmla="*/ 7006 h 17935"/>
                <a:gd name="connsiteX1" fmla="*/ 76087 w 82953"/>
                <a:gd name="connsiteY1" fmla="*/ 7006 h 17935"/>
                <a:gd name="connsiteX2" fmla="*/ 7608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87" y="7006"/>
                  </a:lnTo>
                  <a:lnTo>
                    <a:pt x="7608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4" name="Freeform: Shape 13323">
              <a:extLst>
                <a:ext uri="{FF2B5EF4-FFF2-40B4-BE49-F238E27FC236}">
                  <a16:creationId xmlns:a16="http://schemas.microsoft.com/office/drawing/2014/main" id="{E7D6B575-60FA-49DD-88F1-3F794D2C6F8E}"/>
                </a:ext>
              </a:extLst>
            </p:cNvPr>
            <p:cNvSpPr/>
            <p:nvPr/>
          </p:nvSpPr>
          <p:spPr bwMode="ltGray">
            <a:xfrm>
              <a:off x="4616084" y="3935445"/>
              <a:ext cx="47082" cy="17936"/>
            </a:xfrm>
            <a:custGeom>
              <a:avLst/>
              <a:gdLst>
                <a:gd name="connsiteX0" fmla="*/ 7006 w 47081"/>
                <a:gd name="connsiteY0" fmla="*/ 7006 h 17935"/>
                <a:gd name="connsiteX1" fmla="*/ 40776 w 47081"/>
                <a:gd name="connsiteY1" fmla="*/ 7006 h 17935"/>
                <a:gd name="connsiteX2" fmla="*/ 40776 w 47081"/>
                <a:gd name="connsiteY2" fmla="*/ 12630 h 17935"/>
                <a:gd name="connsiteX3" fmla="*/ 7006 w 47081"/>
                <a:gd name="connsiteY3" fmla="*/ 12630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5" name="Freeform: Shape 13324">
              <a:extLst>
                <a:ext uri="{FF2B5EF4-FFF2-40B4-BE49-F238E27FC236}">
                  <a16:creationId xmlns:a16="http://schemas.microsoft.com/office/drawing/2014/main" id="{F92C5791-AC65-436E-BF5F-47301ECDC72E}"/>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6" name="Freeform: Shape 13325">
              <a:extLst>
                <a:ext uri="{FF2B5EF4-FFF2-40B4-BE49-F238E27FC236}">
                  <a16:creationId xmlns:a16="http://schemas.microsoft.com/office/drawing/2014/main" id="{03B98DCB-C56F-4553-946A-910F76B39C93}"/>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7" name="Freeform: Shape 13326">
              <a:extLst>
                <a:ext uri="{FF2B5EF4-FFF2-40B4-BE49-F238E27FC236}">
                  <a16:creationId xmlns:a16="http://schemas.microsoft.com/office/drawing/2014/main" id="{3B3C9BCA-BAF3-4AF4-94ED-EBE91E3C2870}"/>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8" name="Freeform: Shape 13327">
              <a:extLst>
                <a:ext uri="{FF2B5EF4-FFF2-40B4-BE49-F238E27FC236}">
                  <a16:creationId xmlns:a16="http://schemas.microsoft.com/office/drawing/2014/main" id="{4F52FF49-C042-4D32-9B1B-412E9A0FF370}"/>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9" name="Freeform: Shape 13328">
              <a:extLst>
                <a:ext uri="{FF2B5EF4-FFF2-40B4-BE49-F238E27FC236}">
                  <a16:creationId xmlns:a16="http://schemas.microsoft.com/office/drawing/2014/main" id="{BF8054B7-244B-492E-8F9F-AE6ACE9E395F}"/>
                </a:ext>
              </a:extLst>
            </p:cNvPr>
            <p:cNvSpPr/>
            <p:nvPr/>
          </p:nvSpPr>
          <p:spPr bwMode="ltGray">
            <a:xfrm>
              <a:off x="2941421"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0" name="Freeform: Shape 13329">
              <a:extLst>
                <a:ext uri="{FF2B5EF4-FFF2-40B4-BE49-F238E27FC236}">
                  <a16:creationId xmlns:a16="http://schemas.microsoft.com/office/drawing/2014/main" id="{E3483E1A-7559-49EA-8460-FB87834695DF}"/>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1" name="Freeform: Shape 13330">
              <a:extLst>
                <a:ext uri="{FF2B5EF4-FFF2-40B4-BE49-F238E27FC236}">
                  <a16:creationId xmlns:a16="http://schemas.microsoft.com/office/drawing/2014/main" id="{A13C6F26-AEFE-4E25-8647-DE49638CB007}"/>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2" name="Freeform: Shape 13331">
              <a:extLst>
                <a:ext uri="{FF2B5EF4-FFF2-40B4-BE49-F238E27FC236}">
                  <a16:creationId xmlns:a16="http://schemas.microsoft.com/office/drawing/2014/main" id="{8DF3C697-10A6-4CA7-9BC0-082DAF9399C2}"/>
                </a:ext>
              </a:extLst>
            </p:cNvPr>
            <p:cNvSpPr/>
            <p:nvPr/>
          </p:nvSpPr>
          <p:spPr bwMode="ltGray">
            <a:xfrm>
              <a:off x="456228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3" name="Freeform: Shape 13332">
              <a:extLst>
                <a:ext uri="{FF2B5EF4-FFF2-40B4-BE49-F238E27FC236}">
                  <a16:creationId xmlns:a16="http://schemas.microsoft.com/office/drawing/2014/main" id="{33549792-A0AB-43CB-B850-15C05834B05A}"/>
                </a:ext>
              </a:extLst>
            </p:cNvPr>
            <p:cNvSpPr/>
            <p:nvPr/>
          </p:nvSpPr>
          <p:spPr bwMode="ltGray">
            <a:xfrm>
              <a:off x="442721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4" name="Freeform: Shape 13333">
              <a:extLst>
                <a:ext uri="{FF2B5EF4-FFF2-40B4-BE49-F238E27FC236}">
                  <a16:creationId xmlns:a16="http://schemas.microsoft.com/office/drawing/2014/main" id="{4193D4AB-E43F-4208-B74B-9BA055EC22E2}"/>
                </a:ext>
              </a:extLst>
            </p:cNvPr>
            <p:cNvSpPr/>
            <p:nvPr/>
          </p:nvSpPr>
          <p:spPr bwMode="ltGray">
            <a:xfrm>
              <a:off x="4292135" y="3122127"/>
              <a:ext cx="80712" cy="17936"/>
            </a:xfrm>
            <a:custGeom>
              <a:avLst/>
              <a:gdLst>
                <a:gd name="connsiteX0" fmla="*/ 7006 w 80711"/>
                <a:gd name="connsiteY0" fmla="*/ 7006 h 17935"/>
                <a:gd name="connsiteX1" fmla="*/ 74555 w 80711"/>
                <a:gd name="connsiteY1" fmla="*/ 7006 h 17935"/>
                <a:gd name="connsiteX2" fmla="*/ 74555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55" y="7006"/>
                  </a:lnTo>
                  <a:lnTo>
                    <a:pt x="74555"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5" name="Freeform: Shape 13334">
              <a:extLst>
                <a:ext uri="{FF2B5EF4-FFF2-40B4-BE49-F238E27FC236}">
                  <a16:creationId xmlns:a16="http://schemas.microsoft.com/office/drawing/2014/main" id="{D4AEADEA-0FED-4A3E-92F1-D38B9FA59DAE}"/>
                </a:ext>
              </a:extLst>
            </p:cNvPr>
            <p:cNvSpPr/>
            <p:nvPr/>
          </p:nvSpPr>
          <p:spPr bwMode="ltGray">
            <a:xfrm>
              <a:off x="388692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6" name="Freeform: Shape 13335">
              <a:extLst>
                <a:ext uri="{FF2B5EF4-FFF2-40B4-BE49-F238E27FC236}">
                  <a16:creationId xmlns:a16="http://schemas.microsoft.com/office/drawing/2014/main" id="{AE586CEF-1AD7-41FD-A059-B11AFB7D46B4}"/>
                </a:ext>
              </a:extLst>
            </p:cNvPr>
            <p:cNvSpPr/>
            <p:nvPr/>
          </p:nvSpPr>
          <p:spPr bwMode="ltGray">
            <a:xfrm>
              <a:off x="4697356" y="3122127"/>
              <a:ext cx="47082" cy="17936"/>
            </a:xfrm>
            <a:custGeom>
              <a:avLst/>
              <a:gdLst>
                <a:gd name="connsiteX0" fmla="*/ 7006 w 47081"/>
                <a:gd name="connsiteY0" fmla="*/ 7006 h 17935"/>
                <a:gd name="connsiteX1" fmla="*/ 40356 w 47081"/>
                <a:gd name="connsiteY1" fmla="*/ 7006 h 17935"/>
                <a:gd name="connsiteX2" fmla="*/ 40356 w 47081"/>
                <a:gd name="connsiteY2" fmla="*/ 12639 h 17935"/>
                <a:gd name="connsiteX3" fmla="*/ 7006 w 4708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356" y="7006"/>
                  </a:lnTo>
                  <a:lnTo>
                    <a:pt x="4035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7" name="Freeform: Shape 13336">
              <a:extLst>
                <a:ext uri="{FF2B5EF4-FFF2-40B4-BE49-F238E27FC236}">
                  <a16:creationId xmlns:a16="http://schemas.microsoft.com/office/drawing/2014/main" id="{0DC6C4EF-E2AE-4D16-9A41-67EFC604F02E}"/>
                </a:ext>
              </a:extLst>
            </p:cNvPr>
            <p:cNvSpPr/>
            <p:nvPr/>
          </p:nvSpPr>
          <p:spPr bwMode="ltGray">
            <a:xfrm>
              <a:off x="415706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8" name="Freeform: Shape 13337">
              <a:extLst>
                <a:ext uri="{FF2B5EF4-FFF2-40B4-BE49-F238E27FC236}">
                  <a16:creationId xmlns:a16="http://schemas.microsoft.com/office/drawing/2014/main" id="{DECEE376-419F-4EB8-B466-B14ABBE78D27}"/>
                </a:ext>
              </a:extLst>
            </p:cNvPr>
            <p:cNvSpPr/>
            <p:nvPr/>
          </p:nvSpPr>
          <p:spPr bwMode="ltGray">
            <a:xfrm>
              <a:off x="402199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9" name="Freeform: Shape 13338">
              <a:extLst>
                <a:ext uri="{FF2B5EF4-FFF2-40B4-BE49-F238E27FC236}">
                  <a16:creationId xmlns:a16="http://schemas.microsoft.com/office/drawing/2014/main" id="{C848B348-8563-4C93-BA40-204C414A8312}"/>
                </a:ext>
              </a:extLst>
            </p:cNvPr>
            <p:cNvSpPr/>
            <p:nvPr/>
          </p:nvSpPr>
          <p:spPr bwMode="ltGray">
            <a:xfrm>
              <a:off x="820687" y="3133383"/>
              <a:ext cx="394590" cy="17936"/>
            </a:xfrm>
            <a:custGeom>
              <a:avLst/>
              <a:gdLst>
                <a:gd name="connsiteX0" fmla="*/ 7006 w 394589"/>
                <a:gd name="connsiteY0" fmla="*/ 7006 h 17935"/>
                <a:gd name="connsiteX1" fmla="*/ 389723 w 394589"/>
                <a:gd name="connsiteY1" fmla="*/ 7006 h 17935"/>
                <a:gd name="connsiteX2" fmla="*/ 389723 w 394589"/>
                <a:gd name="connsiteY2" fmla="*/ 12639 h 17935"/>
                <a:gd name="connsiteX3" fmla="*/ 7006 w 394589"/>
                <a:gd name="connsiteY3" fmla="*/ 12639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23" y="7006"/>
                  </a:lnTo>
                  <a:lnTo>
                    <a:pt x="389723"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0" name="Freeform: Shape 13339">
              <a:extLst>
                <a:ext uri="{FF2B5EF4-FFF2-40B4-BE49-F238E27FC236}">
                  <a16:creationId xmlns:a16="http://schemas.microsoft.com/office/drawing/2014/main" id="{173B3AEA-3AA1-4C4B-9E9B-0C4F6D52A5B4}"/>
                </a:ext>
              </a:extLst>
            </p:cNvPr>
            <p:cNvSpPr/>
            <p:nvPr/>
          </p:nvSpPr>
          <p:spPr bwMode="ltGray">
            <a:xfrm>
              <a:off x="4913614" y="3321972"/>
              <a:ext cx="394590" cy="17936"/>
            </a:xfrm>
            <a:custGeom>
              <a:avLst/>
              <a:gdLst>
                <a:gd name="connsiteX0" fmla="*/ 7006 w 394589"/>
                <a:gd name="connsiteY0" fmla="*/ 7006 h 17935"/>
                <a:gd name="connsiteX1" fmla="*/ 389704 w 394589"/>
                <a:gd name="connsiteY1" fmla="*/ 7006 h 17935"/>
                <a:gd name="connsiteX2" fmla="*/ 389704 w 394589"/>
                <a:gd name="connsiteY2" fmla="*/ 12630 h 17935"/>
                <a:gd name="connsiteX3" fmla="*/ 7006 w 394589"/>
                <a:gd name="connsiteY3" fmla="*/ 12630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04" y="7006"/>
                  </a:lnTo>
                  <a:lnTo>
                    <a:pt x="389704"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1" name="Freeform: Shape 13340">
              <a:extLst>
                <a:ext uri="{FF2B5EF4-FFF2-40B4-BE49-F238E27FC236}">
                  <a16:creationId xmlns:a16="http://schemas.microsoft.com/office/drawing/2014/main" id="{59C858C6-4C7C-4942-8233-FD5808A15173}"/>
                </a:ext>
              </a:extLst>
            </p:cNvPr>
            <p:cNvSpPr/>
            <p:nvPr/>
          </p:nvSpPr>
          <p:spPr bwMode="ltGray">
            <a:xfrm>
              <a:off x="1349731" y="3124938"/>
              <a:ext cx="134519" cy="35872"/>
            </a:xfrm>
            <a:custGeom>
              <a:avLst/>
              <a:gdLst>
                <a:gd name="connsiteX0" fmla="*/ 7006 w 134519"/>
                <a:gd name="connsiteY0" fmla="*/ 7006 h 35871"/>
                <a:gd name="connsiteX1" fmla="*/ 128942 w 134519"/>
                <a:gd name="connsiteY1" fmla="*/ 7006 h 35871"/>
                <a:gd name="connsiteX2" fmla="*/ 128942 w 134519"/>
                <a:gd name="connsiteY2" fmla="*/ 29520 h 35871"/>
                <a:gd name="connsiteX3" fmla="*/ 7006 w 134519"/>
                <a:gd name="connsiteY3" fmla="*/ 2952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42" y="7006"/>
                  </a:lnTo>
                  <a:lnTo>
                    <a:pt x="12894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2" name="Freeform: Shape 13341">
              <a:extLst>
                <a:ext uri="{FF2B5EF4-FFF2-40B4-BE49-F238E27FC236}">
                  <a16:creationId xmlns:a16="http://schemas.microsoft.com/office/drawing/2014/main" id="{BE7E516B-108C-4304-8090-13DB79190654}"/>
                </a:ext>
              </a:extLst>
            </p:cNvPr>
            <p:cNvSpPr/>
            <p:nvPr/>
          </p:nvSpPr>
          <p:spPr bwMode="ltGray">
            <a:xfrm>
              <a:off x="6098682" y="3946104"/>
              <a:ext cx="134519" cy="35872"/>
            </a:xfrm>
            <a:custGeom>
              <a:avLst/>
              <a:gdLst>
                <a:gd name="connsiteX0" fmla="*/ 7006 w 134519"/>
                <a:gd name="connsiteY0" fmla="*/ 7006 h 35871"/>
                <a:gd name="connsiteX1" fmla="*/ 128952 w 134519"/>
                <a:gd name="connsiteY1" fmla="*/ 7006 h 35871"/>
                <a:gd name="connsiteX2" fmla="*/ 128952 w 134519"/>
                <a:gd name="connsiteY2" fmla="*/ 29510 h 35871"/>
                <a:gd name="connsiteX3" fmla="*/ 7006 w 134519"/>
                <a:gd name="connsiteY3" fmla="*/ 2951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52" y="7006"/>
                  </a:lnTo>
                  <a:lnTo>
                    <a:pt x="128952" y="29510"/>
                  </a:lnTo>
                  <a:lnTo>
                    <a:pt x="7006"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3" name="Freeform: Shape 13342">
              <a:extLst>
                <a:ext uri="{FF2B5EF4-FFF2-40B4-BE49-F238E27FC236}">
                  <a16:creationId xmlns:a16="http://schemas.microsoft.com/office/drawing/2014/main" id="{4102C674-B163-4434-97EC-E7B85BE4F86F}"/>
                </a:ext>
              </a:extLst>
            </p:cNvPr>
            <p:cNvSpPr/>
            <p:nvPr/>
          </p:nvSpPr>
          <p:spPr bwMode="ltGray">
            <a:xfrm>
              <a:off x="-2860" y="2172719"/>
              <a:ext cx="2315972" cy="755549"/>
            </a:xfrm>
            <a:custGeom>
              <a:avLst/>
              <a:gdLst>
                <a:gd name="connsiteX0" fmla="*/ 1997275 w 2315971"/>
                <a:gd name="connsiteY0" fmla="*/ 130829 h 755549"/>
                <a:gd name="connsiteX1" fmla="*/ 989576 w 2315971"/>
                <a:gd name="connsiteY1" fmla="*/ 130829 h 755549"/>
                <a:gd name="connsiteX2" fmla="*/ 854506 w 2315971"/>
                <a:gd name="connsiteY2" fmla="*/ 332020 h 755549"/>
                <a:gd name="connsiteX3" fmla="*/ 748366 w 2315971"/>
                <a:gd name="connsiteY3" fmla="*/ 332020 h 755549"/>
                <a:gd name="connsiteX4" fmla="*/ 337064 w 2315971"/>
                <a:gd name="connsiteY4" fmla="*/ 743331 h 755549"/>
                <a:gd name="connsiteX5" fmla="*/ 7006 w 2315971"/>
                <a:gd name="connsiteY5" fmla="*/ 743331 h 755549"/>
                <a:gd name="connsiteX6" fmla="*/ 7006 w 2315971"/>
                <a:gd name="connsiteY6" fmla="*/ 748955 h 755549"/>
                <a:gd name="connsiteX7" fmla="*/ 339400 w 2315971"/>
                <a:gd name="connsiteY7" fmla="*/ 748955 h 755549"/>
                <a:gd name="connsiteX8" fmla="*/ 750702 w 2315971"/>
                <a:gd name="connsiteY8" fmla="*/ 337653 h 755549"/>
                <a:gd name="connsiteX9" fmla="*/ 857504 w 2315971"/>
                <a:gd name="connsiteY9" fmla="*/ 337653 h 755549"/>
                <a:gd name="connsiteX10" fmla="*/ 992584 w 2315971"/>
                <a:gd name="connsiteY10" fmla="*/ 136453 h 755549"/>
                <a:gd name="connsiteX11" fmla="*/ 1999713 w 2315971"/>
                <a:gd name="connsiteY11" fmla="*/ 136453 h 755549"/>
                <a:gd name="connsiteX12" fmla="*/ 2116017 w 2315971"/>
                <a:gd name="connsiteY12" fmla="*/ 12639 h 755549"/>
                <a:gd name="connsiteX13" fmla="*/ 2310845 w 2315971"/>
                <a:gd name="connsiteY13" fmla="*/ 12639 h 755549"/>
                <a:gd name="connsiteX14" fmla="*/ 2310845 w 2315971"/>
                <a:gd name="connsiteY14" fmla="*/ 7006 h 755549"/>
                <a:gd name="connsiteX15" fmla="*/ 2113588 w 2315971"/>
                <a:gd name="connsiteY15" fmla="*/ 7006 h 755549"/>
                <a:gd name="connsiteX16" fmla="*/ 1997275 w 2315971"/>
                <a:gd name="connsiteY16" fmla="*/ 130829 h 7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15971" h="755549">
                  <a:moveTo>
                    <a:pt x="1997275" y="130829"/>
                  </a:moveTo>
                  <a:lnTo>
                    <a:pt x="989576" y="130829"/>
                  </a:lnTo>
                  <a:lnTo>
                    <a:pt x="854506" y="332020"/>
                  </a:lnTo>
                  <a:lnTo>
                    <a:pt x="748366" y="332020"/>
                  </a:lnTo>
                  <a:lnTo>
                    <a:pt x="337064" y="743331"/>
                  </a:lnTo>
                  <a:lnTo>
                    <a:pt x="7006" y="743331"/>
                  </a:lnTo>
                  <a:lnTo>
                    <a:pt x="7006" y="748955"/>
                  </a:lnTo>
                  <a:lnTo>
                    <a:pt x="339400" y="748955"/>
                  </a:lnTo>
                  <a:lnTo>
                    <a:pt x="750702" y="337653"/>
                  </a:lnTo>
                  <a:lnTo>
                    <a:pt x="857504" y="337653"/>
                  </a:lnTo>
                  <a:lnTo>
                    <a:pt x="992584" y="136453"/>
                  </a:lnTo>
                  <a:lnTo>
                    <a:pt x="1999713" y="136453"/>
                  </a:lnTo>
                  <a:lnTo>
                    <a:pt x="2116017" y="12639"/>
                  </a:lnTo>
                  <a:lnTo>
                    <a:pt x="2310845" y="12639"/>
                  </a:lnTo>
                  <a:lnTo>
                    <a:pt x="2310845" y="7006"/>
                  </a:lnTo>
                  <a:lnTo>
                    <a:pt x="2113588" y="7006"/>
                  </a:lnTo>
                  <a:lnTo>
                    <a:pt x="1997275" y="13082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4" name="Freeform: Shape 13343">
              <a:extLst>
                <a:ext uri="{FF2B5EF4-FFF2-40B4-BE49-F238E27FC236}">
                  <a16:creationId xmlns:a16="http://schemas.microsoft.com/office/drawing/2014/main" id="{3C889846-2A98-4A8B-8943-BE4FE14465DA}"/>
                </a:ext>
              </a:extLst>
            </p:cNvPr>
            <p:cNvSpPr/>
            <p:nvPr/>
          </p:nvSpPr>
          <p:spPr bwMode="ltGray">
            <a:xfrm>
              <a:off x="3063610" y="2093671"/>
              <a:ext cx="419251" cy="96405"/>
            </a:xfrm>
            <a:custGeom>
              <a:avLst/>
              <a:gdLst>
                <a:gd name="connsiteX0" fmla="*/ 184805 w 419251"/>
                <a:gd name="connsiteY0" fmla="*/ 80151 h 96405"/>
                <a:gd name="connsiteX1" fmla="*/ 7006 w 419251"/>
                <a:gd name="connsiteY1" fmla="*/ 80151 h 96405"/>
                <a:gd name="connsiteX2" fmla="*/ 7006 w 419251"/>
                <a:gd name="connsiteY2" fmla="*/ 91417 h 96405"/>
                <a:gd name="connsiteX3" fmla="*/ 189467 w 419251"/>
                <a:gd name="connsiteY3" fmla="*/ 91417 h 96405"/>
                <a:gd name="connsiteX4" fmla="*/ 262612 w 419251"/>
                <a:gd name="connsiteY4" fmla="*/ 18263 h 96405"/>
                <a:gd name="connsiteX5" fmla="*/ 414105 w 419251"/>
                <a:gd name="connsiteY5" fmla="*/ 18263 h 96405"/>
                <a:gd name="connsiteX6" fmla="*/ 414105 w 419251"/>
                <a:gd name="connsiteY6" fmla="*/ 7006 h 96405"/>
                <a:gd name="connsiteX7" fmla="*/ 257950 w 419251"/>
                <a:gd name="connsiteY7" fmla="*/ 7006 h 96405"/>
                <a:gd name="connsiteX8" fmla="*/ 184805 w 419251"/>
                <a:gd name="connsiteY8" fmla="*/ 80151 h 9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251" h="96405">
                  <a:moveTo>
                    <a:pt x="184805" y="80151"/>
                  </a:moveTo>
                  <a:lnTo>
                    <a:pt x="7006" y="80151"/>
                  </a:lnTo>
                  <a:lnTo>
                    <a:pt x="7006" y="91417"/>
                  </a:lnTo>
                  <a:lnTo>
                    <a:pt x="189467" y="91417"/>
                  </a:lnTo>
                  <a:lnTo>
                    <a:pt x="262612" y="18263"/>
                  </a:lnTo>
                  <a:lnTo>
                    <a:pt x="414105" y="18263"/>
                  </a:lnTo>
                  <a:lnTo>
                    <a:pt x="414105" y="7006"/>
                  </a:lnTo>
                  <a:lnTo>
                    <a:pt x="257950" y="7006"/>
                  </a:lnTo>
                  <a:lnTo>
                    <a:pt x="184805" y="8015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5" name="Freeform: Shape 13344">
              <a:extLst>
                <a:ext uri="{FF2B5EF4-FFF2-40B4-BE49-F238E27FC236}">
                  <a16:creationId xmlns:a16="http://schemas.microsoft.com/office/drawing/2014/main" id="{E318DFBE-F667-47A5-A7C3-D580A0B27468}"/>
                </a:ext>
              </a:extLst>
            </p:cNvPr>
            <p:cNvSpPr/>
            <p:nvPr/>
          </p:nvSpPr>
          <p:spPr bwMode="ltGray">
            <a:xfrm>
              <a:off x="6010105" y="3344308"/>
              <a:ext cx="1549213" cy="1358644"/>
            </a:xfrm>
            <a:custGeom>
              <a:avLst/>
              <a:gdLst>
                <a:gd name="connsiteX0" fmla="*/ 1155278 w 1549212"/>
                <a:gd name="connsiteY0" fmla="*/ 1353442 h 1358643"/>
                <a:gd name="connsiteX1" fmla="*/ 377906 w 1549212"/>
                <a:gd name="connsiteY1" fmla="*/ 1353442 h 1358643"/>
                <a:gd name="connsiteX2" fmla="*/ 7006 w 1549212"/>
                <a:gd name="connsiteY2" fmla="*/ 711018 h 1358643"/>
                <a:gd name="connsiteX3" fmla="*/ 59516 w 1549212"/>
                <a:gd name="connsiteY3" fmla="*/ 620059 h 1358643"/>
                <a:gd name="connsiteX4" fmla="*/ 41748 w 1549212"/>
                <a:gd name="connsiteY4" fmla="*/ 589269 h 1358643"/>
                <a:gd name="connsiteX5" fmla="*/ 377906 w 1549212"/>
                <a:gd name="connsiteY5" fmla="*/ 7006 h 1358643"/>
                <a:gd name="connsiteX6" fmla="*/ 1155278 w 1549212"/>
                <a:gd name="connsiteY6" fmla="*/ 7006 h 1358643"/>
                <a:gd name="connsiteX7" fmla="*/ 1543955 w 1549212"/>
                <a:gd name="connsiteY7" fmla="*/ 680228 h 1358643"/>
                <a:gd name="connsiteX8" fmla="*/ 1155278 w 1549212"/>
                <a:gd name="connsiteY8" fmla="*/ 1353442 h 1358643"/>
                <a:gd name="connsiteX9" fmla="*/ 110231 w 1549212"/>
                <a:gd name="connsiteY9" fmla="*/ 631306 h 1358643"/>
                <a:gd name="connsiteX10" fmla="*/ 81992 w 1549212"/>
                <a:gd name="connsiteY10" fmla="*/ 680228 h 1358643"/>
                <a:gd name="connsiteX11" fmla="*/ 424296 w 1549212"/>
                <a:gd name="connsiteY11" fmla="*/ 1273113 h 1358643"/>
                <a:gd name="connsiteX12" fmla="*/ 1108897 w 1549212"/>
                <a:gd name="connsiteY12" fmla="*/ 1273113 h 1358643"/>
                <a:gd name="connsiteX13" fmla="*/ 1451183 w 1549212"/>
                <a:gd name="connsiteY13" fmla="*/ 680228 h 1358643"/>
                <a:gd name="connsiteX14" fmla="*/ 1108897 w 1549212"/>
                <a:gd name="connsiteY14" fmla="*/ 87344 h 1358643"/>
                <a:gd name="connsiteX15" fmla="*/ 424296 w 1549212"/>
                <a:gd name="connsiteY15" fmla="*/ 87344 h 1358643"/>
                <a:gd name="connsiteX16" fmla="*/ 123226 w 1549212"/>
                <a:gd name="connsiteY16" fmla="*/ 608802 h 1358643"/>
                <a:gd name="connsiteX17" fmla="*/ 95583 w 1549212"/>
                <a:gd name="connsiteY17" fmla="*/ 608802 h 1358643"/>
                <a:gd name="connsiteX18" fmla="*/ 95583 w 1549212"/>
                <a:gd name="connsiteY18" fmla="*/ 631306 h 1358643"/>
                <a:gd name="connsiteX19" fmla="*/ 110231 w 1549212"/>
                <a:gd name="connsiteY19" fmla="*/ 631306 h 135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212" h="1358643">
                  <a:moveTo>
                    <a:pt x="1155278" y="1353442"/>
                  </a:moveTo>
                  <a:lnTo>
                    <a:pt x="377906" y="1353442"/>
                  </a:lnTo>
                  <a:lnTo>
                    <a:pt x="7006" y="711018"/>
                  </a:lnTo>
                  <a:lnTo>
                    <a:pt x="59516" y="620059"/>
                  </a:lnTo>
                  <a:lnTo>
                    <a:pt x="41748" y="589269"/>
                  </a:lnTo>
                  <a:lnTo>
                    <a:pt x="377906" y="7006"/>
                  </a:lnTo>
                  <a:lnTo>
                    <a:pt x="1155278" y="7006"/>
                  </a:lnTo>
                  <a:lnTo>
                    <a:pt x="1543955" y="680228"/>
                  </a:lnTo>
                  <a:lnTo>
                    <a:pt x="1155278" y="1353442"/>
                  </a:lnTo>
                  <a:close/>
                  <a:moveTo>
                    <a:pt x="110231" y="631306"/>
                  </a:moveTo>
                  <a:lnTo>
                    <a:pt x="81992" y="680228"/>
                  </a:lnTo>
                  <a:lnTo>
                    <a:pt x="424296" y="1273113"/>
                  </a:lnTo>
                  <a:lnTo>
                    <a:pt x="1108897" y="1273113"/>
                  </a:lnTo>
                  <a:lnTo>
                    <a:pt x="1451183" y="680228"/>
                  </a:lnTo>
                  <a:lnTo>
                    <a:pt x="1108897" y="87344"/>
                  </a:lnTo>
                  <a:lnTo>
                    <a:pt x="424296" y="87344"/>
                  </a:lnTo>
                  <a:lnTo>
                    <a:pt x="123226" y="608802"/>
                  </a:lnTo>
                  <a:lnTo>
                    <a:pt x="95583" y="608802"/>
                  </a:lnTo>
                  <a:lnTo>
                    <a:pt x="95583" y="631306"/>
                  </a:lnTo>
                  <a:lnTo>
                    <a:pt x="110231" y="63130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6" name="Freeform: Shape 13345">
              <a:extLst>
                <a:ext uri="{FF2B5EF4-FFF2-40B4-BE49-F238E27FC236}">
                  <a16:creationId xmlns:a16="http://schemas.microsoft.com/office/drawing/2014/main" id="{7331F67B-9AEF-4556-801B-6DACF75CBA70}"/>
                </a:ext>
              </a:extLst>
            </p:cNvPr>
            <p:cNvSpPr/>
            <p:nvPr/>
          </p:nvSpPr>
          <p:spPr bwMode="ltGray">
            <a:xfrm>
              <a:off x="5992328" y="3926571"/>
              <a:ext cx="82953" cy="134519"/>
            </a:xfrm>
            <a:custGeom>
              <a:avLst/>
              <a:gdLst>
                <a:gd name="connsiteX0" fmla="*/ 24783 w 82953"/>
                <a:gd name="connsiteY0" fmla="*/ 128755 h 134519"/>
                <a:gd name="connsiteX1" fmla="*/ 7006 w 82953"/>
                <a:gd name="connsiteY1" fmla="*/ 97966 h 134519"/>
                <a:gd name="connsiteX2" fmla="*/ 59525 w 82953"/>
                <a:gd name="connsiteY2" fmla="*/ 7006 h 134519"/>
                <a:gd name="connsiteX3" fmla="*/ 77293 w 82953"/>
                <a:gd name="connsiteY3" fmla="*/ 37796 h 134519"/>
                <a:gd name="connsiteX4" fmla="*/ 24783 w 82953"/>
                <a:gd name="connsiteY4" fmla="*/ 128755 h 13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134519">
                  <a:moveTo>
                    <a:pt x="24783" y="128755"/>
                  </a:moveTo>
                  <a:lnTo>
                    <a:pt x="7006" y="97966"/>
                  </a:lnTo>
                  <a:lnTo>
                    <a:pt x="59525" y="7006"/>
                  </a:lnTo>
                  <a:lnTo>
                    <a:pt x="77293" y="37796"/>
                  </a:lnTo>
                  <a:lnTo>
                    <a:pt x="24783" y="12875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7" name="Freeform: Shape 13346">
              <a:extLst>
                <a:ext uri="{FF2B5EF4-FFF2-40B4-BE49-F238E27FC236}">
                  <a16:creationId xmlns:a16="http://schemas.microsoft.com/office/drawing/2014/main" id="{91DC5730-B161-4B50-801D-5C35D4ACF1E4}"/>
                </a:ext>
              </a:extLst>
            </p:cNvPr>
            <p:cNvSpPr/>
            <p:nvPr/>
          </p:nvSpPr>
          <p:spPr bwMode="ltGray">
            <a:xfrm>
              <a:off x="6098682" y="3946104"/>
              <a:ext cx="40356" cy="35872"/>
            </a:xfrm>
            <a:custGeom>
              <a:avLst/>
              <a:gdLst>
                <a:gd name="connsiteX0" fmla="*/ 21654 w 40355"/>
                <a:gd name="connsiteY0" fmla="*/ 29510 h 35871"/>
                <a:gd name="connsiteX1" fmla="*/ 7006 w 40355"/>
                <a:gd name="connsiteY1" fmla="*/ 29510 h 35871"/>
                <a:gd name="connsiteX2" fmla="*/ 7006 w 40355"/>
                <a:gd name="connsiteY2" fmla="*/ 7006 h 35871"/>
                <a:gd name="connsiteX3" fmla="*/ 34648 w 40355"/>
                <a:gd name="connsiteY3" fmla="*/ 7006 h 35871"/>
                <a:gd name="connsiteX4" fmla="*/ 21654 w 40355"/>
                <a:gd name="connsiteY4" fmla="*/ 29510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35871">
                  <a:moveTo>
                    <a:pt x="21654" y="29510"/>
                  </a:moveTo>
                  <a:lnTo>
                    <a:pt x="7006" y="29510"/>
                  </a:lnTo>
                  <a:lnTo>
                    <a:pt x="7006" y="7006"/>
                  </a:lnTo>
                  <a:lnTo>
                    <a:pt x="34648" y="7006"/>
                  </a:lnTo>
                  <a:lnTo>
                    <a:pt x="21654"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8" name="Freeform: Shape 13347">
              <a:extLst>
                <a:ext uri="{FF2B5EF4-FFF2-40B4-BE49-F238E27FC236}">
                  <a16:creationId xmlns:a16="http://schemas.microsoft.com/office/drawing/2014/main" id="{A902CE54-F709-4C59-A132-D9175B4E9CE5}"/>
                </a:ext>
              </a:extLst>
            </p:cNvPr>
            <p:cNvSpPr/>
            <p:nvPr/>
          </p:nvSpPr>
          <p:spPr bwMode="ltGray">
            <a:xfrm>
              <a:off x="4352463" y="1673083"/>
              <a:ext cx="1163591" cy="1008894"/>
            </a:xfrm>
            <a:custGeom>
              <a:avLst/>
              <a:gdLst>
                <a:gd name="connsiteX0" fmla="*/ 869807 w 1163590"/>
                <a:gd name="connsiteY0" fmla="*/ 1003280 h 1008893"/>
                <a:gd name="connsiteX1" fmla="*/ 294607 w 1163590"/>
                <a:gd name="connsiteY1" fmla="*/ 1003280 h 1008893"/>
                <a:gd name="connsiteX2" fmla="*/ 210028 w 1163590"/>
                <a:gd name="connsiteY2" fmla="*/ 856776 h 1008893"/>
                <a:gd name="connsiteX3" fmla="*/ 342538 w 1163590"/>
                <a:gd name="connsiteY3" fmla="*/ 856776 h 1008893"/>
                <a:gd name="connsiteX4" fmla="*/ 360867 w 1163590"/>
                <a:gd name="connsiteY4" fmla="*/ 888519 h 1008893"/>
                <a:gd name="connsiteX5" fmla="*/ 803547 w 1163590"/>
                <a:gd name="connsiteY5" fmla="*/ 888519 h 1008893"/>
                <a:gd name="connsiteX6" fmla="*/ 821876 w 1163590"/>
                <a:gd name="connsiteY6" fmla="*/ 856776 h 1008893"/>
                <a:gd name="connsiteX7" fmla="*/ 954396 w 1163590"/>
                <a:gd name="connsiteY7" fmla="*/ 856776 h 1008893"/>
                <a:gd name="connsiteX8" fmla="*/ 869807 w 1163590"/>
                <a:gd name="connsiteY8" fmla="*/ 1003280 h 1008893"/>
                <a:gd name="connsiteX9" fmla="*/ 959281 w 1163590"/>
                <a:gd name="connsiteY9" fmla="*/ 848312 h 1008893"/>
                <a:gd name="connsiteX10" fmla="*/ 826761 w 1163590"/>
                <a:gd name="connsiteY10" fmla="*/ 848312 h 1008893"/>
                <a:gd name="connsiteX11" fmla="*/ 1024897 w 1163590"/>
                <a:gd name="connsiteY11" fmla="*/ 505148 h 1008893"/>
                <a:gd name="connsiteX12" fmla="*/ 803547 w 1163590"/>
                <a:gd name="connsiteY12" fmla="*/ 121777 h 1008893"/>
                <a:gd name="connsiteX13" fmla="*/ 360867 w 1163590"/>
                <a:gd name="connsiteY13" fmla="*/ 121777 h 1008893"/>
                <a:gd name="connsiteX14" fmla="*/ 139526 w 1163590"/>
                <a:gd name="connsiteY14" fmla="*/ 505148 h 1008893"/>
                <a:gd name="connsiteX15" fmla="*/ 337653 w 1163590"/>
                <a:gd name="connsiteY15" fmla="*/ 848312 h 1008893"/>
                <a:gd name="connsiteX16" fmla="*/ 205133 w 1163590"/>
                <a:gd name="connsiteY16" fmla="*/ 848312 h 1008893"/>
                <a:gd name="connsiteX17" fmla="*/ 7006 w 1163590"/>
                <a:gd name="connsiteY17" fmla="*/ 505148 h 1008893"/>
                <a:gd name="connsiteX18" fmla="*/ 294607 w 1163590"/>
                <a:gd name="connsiteY18" fmla="*/ 7006 h 1008893"/>
                <a:gd name="connsiteX19" fmla="*/ 869807 w 1163590"/>
                <a:gd name="connsiteY19" fmla="*/ 7006 h 1008893"/>
                <a:gd name="connsiteX20" fmla="*/ 1157408 w 1163590"/>
                <a:gd name="connsiteY20" fmla="*/ 505148 h 1008893"/>
                <a:gd name="connsiteX21" fmla="*/ 959281 w 1163590"/>
                <a:gd name="connsiteY21" fmla="*/ 848312 h 100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3590" h="1008893">
                  <a:moveTo>
                    <a:pt x="869807" y="1003280"/>
                  </a:moveTo>
                  <a:lnTo>
                    <a:pt x="294607" y="1003280"/>
                  </a:lnTo>
                  <a:lnTo>
                    <a:pt x="210028" y="856776"/>
                  </a:lnTo>
                  <a:lnTo>
                    <a:pt x="342538" y="856776"/>
                  </a:lnTo>
                  <a:lnTo>
                    <a:pt x="360867" y="888519"/>
                  </a:lnTo>
                  <a:lnTo>
                    <a:pt x="803547" y="888519"/>
                  </a:lnTo>
                  <a:lnTo>
                    <a:pt x="821876" y="856776"/>
                  </a:lnTo>
                  <a:lnTo>
                    <a:pt x="954396" y="856776"/>
                  </a:lnTo>
                  <a:lnTo>
                    <a:pt x="869807" y="1003280"/>
                  </a:lnTo>
                  <a:close/>
                  <a:moveTo>
                    <a:pt x="959281" y="848312"/>
                  </a:moveTo>
                  <a:lnTo>
                    <a:pt x="826761" y="848312"/>
                  </a:lnTo>
                  <a:lnTo>
                    <a:pt x="1024897" y="505148"/>
                  </a:lnTo>
                  <a:lnTo>
                    <a:pt x="803547" y="121777"/>
                  </a:lnTo>
                  <a:lnTo>
                    <a:pt x="360867" y="121777"/>
                  </a:lnTo>
                  <a:lnTo>
                    <a:pt x="139526" y="505148"/>
                  </a:lnTo>
                  <a:lnTo>
                    <a:pt x="337653" y="848312"/>
                  </a:lnTo>
                  <a:lnTo>
                    <a:pt x="205133" y="848312"/>
                  </a:lnTo>
                  <a:lnTo>
                    <a:pt x="7006" y="505148"/>
                  </a:lnTo>
                  <a:lnTo>
                    <a:pt x="294607" y="7006"/>
                  </a:lnTo>
                  <a:lnTo>
                    <a:pt x="869807" y="7006"/>
                  </a:lnTo>
                  <a:lnTo>
                    <a:pt x="1157408" y="505148"/>
                  </a:lnTo>
                  <a:lnTo>
                    <a:pt x="959281" y="848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9" name="Freeform: Shape 13348">
              <a:extLst>
                <a:ext uri="{FF2B5EF4-FFF2-40B4-BE49-F238E27FC236}">
                  <a16:creationId xmlns:a16="http://schemas.microsoft.com/office/drawing/2014/main" id="{1F673CD9-9D6E-4396-ADA6-42EE6807D6FE}"/>
                </a:ext>
              </a:extLst>
            </p:cNvPr>
            <p:cNvSpPr/>
            <p:nvPr/>
          </p:nvSpPr>
          <p:spPr bwMode="ltGray">
            <a:xfrm>
              <a:off x="4550590" y="2514389"/>
              <a:ext cx="766759" cy="22420"/>
            </a:xfrm>
            <a:custGeom>
              <a:avLst/>
              <a:gdLst>
                <a:gd name="connsiteX0" fmla="*/ 756269 w 766759"/>
                <a:gd name="connsiteY0" fmla="*/ 15470 h 22419"/>
                <a:gd name="connsiteX1" fmla="*/ 623749 w 766759"/>
                <a:gd name="connsiteY1" fmla="*/ 15470 h 22419"/>
                <a:gd name="connsiteX2" fmla="*/ 628635 w 766759"/>
                <a:gd name="connsiteY2" fmla="*/ 7006 h 22419"/>
                <a:gd name="connsiteX3" fmla="*/ 761155 w 766759"/>
                <a:gd name="connsiteY3" fmla="*/ 7006 h 22419"/>
                <a:gd name="connsiteX4" fmla="*/ 756269 w 766759"/>
                <a:gd name="connsiteY4" fmla="*/ 15470 h 22419"/>
                <a:gd name="connsiteX5" fmla="*/ 144412 w 766759"/>
                <a:gd name="connsiteY5" fmla="*/ 15470 h 22419"/>
                <a:gd name="connsiteX6" fmla="*/ 11901 w 766759"/>
                <a:gd name="connsiteY6" fmla="*/ 15470 h 22419"/>
                <a:gd name="connsiteX7" fmla="*/ 7006 w 766759"/>
                <a:gd name="connsiteY7" fmla="*/ 7006 h 22419"/>
                <a:gd name="connsiteX8" fmla="*/ 139526 w 766759"/>
                <a:gd name="connsiteY8" fmla="*/ 7006 h 22419"/>
                <a:gd name="connsiteX9" fmla="*/ 144412 w 766759"/>
                <a:gd name="connsiteY9" fmla="*/ 15470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22419">
                  <a:moveTo>
                    <a:pt x="756269" y="15470"/>
                  </a:moveTo>
                  <a:lnTo>
                    <a:pt x="623749" y="15470"/>
                  </a:lnTo>
                  <a:lnTo>
                    <a:pt x="628635" y="7006"/>
                  </a:lnTo>
                  <a:lnTo>
                    <a:pt x="761155" y="7006"/>
                  </a:lnTo>
                  <a:lnTo>
                    <a:pt x="756269" y="15470"/>
                  </a:lnTo>
                  <a:close/>
                  <a:moveTo>
                    <a:pt x="144412" y="15470"/>
                  </a:moveTo>
                  <a:lnTo>
                    <a:pt x="11901" y="15470"/>
                  </a:lnTo>
                  <a:lnTo>
                    <a:pt x="7006" y="7006"/>
                  </a:lnTo>
                  <a:lnTo>
                    <a:pt x="139526" y="7006"/>
                  </a:lnTo>
                  <a:lnTo>
                    <a:pt x="144412"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0" name="Freeform: Shape 13349">
              <a:extLst>
                <a:ext uri="{FF2B5EF4-FFF2-40B4-BE49-F238E27FC236}">
                  <a16:creationId xmlns:a16="http://schemas.microsoft.com/office/drawing/2014/main" id="{CE263E70-2187-4562-AA99-6586376B8012}"/>
                </a:ext>
              </a:extLst>
            </p:cNvPr>
            <p:cNvSpPr/>
            <p:nvPr/>
          </p:nvSpPr>
          <p:spPr bwMode="ltGray">
            <a:xfrm>
              <a:off x="7779744" y="1366846"/>
              <a:ext cx="618788" cy="618788"/>
            </a:xfrm>
            <a:custGeom>
              <a:avLst/>
              <a:gdLst>
                <a:gd name="connsiteX0" fmla="*/ 310319 w 618788"/>
                <a:gd name="connsiteY0" fmla="*/ 613632 h 618788"/>
                <a:gd name="connsiteX1" fmla="*/ 7006 w 618788"/>
                <a:gd name="connsiteY1" fmla="*/ 310319 h 618788"/>
                <a:gd name="connsiteX2" fmla="*/ 310319 w 618788"/>
                <a:gd name="connsiteY2" fmla="*/ 7006 h 618788"/>
                <a:gd name="connsiteX3" fmla="*/ 613632 w 618788"/>
                <a:gd name="connsiteY3" fmla="*/ 310319 h 618788"/>
                <a:gd name="connsiteX4" fmla="*/ 310319 w 618788"/>
                <a:gd name="connsiteY4" fmla="*/ 613632 h 618788"/>
                <a:gd name="connsiteX5" fmla="*/ 310319 w 618788"/>
                <a:gd name="connsiteY5" fmla="*/ 64382 h 618788"/>
                <a:gd name="connsiteX6" fmla="*/ 64392 w 618788"/>
                <a:gd name="connsiteY6" fmla="*/ 310319 h 618788"/>
                <a:gd name="connsiteX7" fmla="*/ 310319 w 618788"/>
                <a:gd name="connsiteY7" fmla="*/ 556247 h 618788"/>
                <a:gd name="connsiteX8" fmla="*/ 556246 w 618788"/>
                <a:gd name="connsiteY8" fmla="*/ 310319 h 618788"/>
                <a:gd name="connsiteX9" fmla="*/ 310319 w 618788"/>
                <a:gd name="connsiteY9" fmla="*/ 64382 h 61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788" h="618788">
                  <a:moveTo>
                    <a:pt x="310319" y="613632"/>
                  </a:moveTo>
                  <a:cubicBezTo>
                    <a:pt x="143067" y="613632"/>
                    <a:pt x="7006" y="477572"/>
                    <a:pt x="7006" y="310319"/>
                  </a:cubicBezTo>
                  <a:cubicBezTo>
                    <a:pt x="7006" y="143076"/>
                    <a:pt x="143067" y="7006"/>
                    <a:pt x="310319" y="7006"/>
                  </a:cubicBezTo>
                  <a:cubicBezTo>
                    <a:pt x="477562" y="7006"/>
                    <a:pt x="613632" y="143076"/>
                    <a:pt x="613632" y="310319"/>
                  </a:cubicBezTo>
                  <a:cubicBezTo>
                    <a:pt x="613632" y="477572"/>
                    <a:pt x="477562" y="613632"/>
                    <a:pt x="310319" y="613632"/>
                  </a:cubicBezTo>
                  <a:close/>
                  <a:moveTo>
                    <a:pt x="310319" y="64382"/>
                  </a:moveTo>
                  <a:cubicBezTo>
                    <a:pt x="174707" y="64382"/>
                    <a:pt x="64392" y="174707"/>
                    <a:pt x="64392" y="310319"/>
                  </a:cubicBezTo>
                  <a:cubicBezTo>
                    <a:pt x="64392" y="445922"/>
                    <a:pt x="174707" y="556247"/>
                    <a:pt x="310319" y="556247"/>
                  </a:cubicBezTo>
                  <a:cubicBezTo>
                    <a:pt x="445922" y="556247"/>
                    <a:pt x="556246" y="445922"/>
                    <a:pt x="556246" y="310319"/>
                  </a:cubicBezTo>
                  <a:cubicBezTo>
                    <a:pt x="556246" y="174707"/>
                    <a:pt x="445922" y="64382"/>
                    <a:pt x="310319" y="64382"/>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1" name="Freeform: Shape 13350">
              <a:extLst>
                <a:ext uri="{FF2B5EF4-FFF2-40B4-BE49-F238E27FC236}">
                  <a16:creationId xmlns:a16="http://schemas.microsoft.com/office/drawing/2014/main" id="{803CC444-6862-410B-8E89-C553F34D0968}"/>
                </a:ext>
              </a:extLst>
            </p:cNvPr>
            <p:cNvSpPr/>
            <p:nvPr/>
          </p:nvSpPr>
          <p:spPr bwMode="ltGray">
            <a:xfrm>
              <a:off x="6678470"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70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70" y="57441"/>
                    <a:pt x="24270" y="98218"/>
                  </a:cubicBezTo>
                  <a:cubicBezTo>
                    <a:pt x="24270"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2" name="Freeform: Shape 13351">
              <a:extLst>
                <a:ext uri="{FF2B5EF4-FFF2-40B4-BE49-F238E27FC236}">
                  <a16:creationId xmlns:a16="http://schemas.microsoft.com/office/drawing/2014/main" id="{BCA64109-3856-4AA7-89F9-F8D84F3E214C}"/>
                </a:ext>
              </a:extLst>
            </p:cNvPr>
            <p:cNvSpPr/>
            <p:nvPr/>
          </p:nvSpPr>
          <p:spPr bwMode="ltGray">
            <a:xfrm>
              <a:off x="6615003" y="5383078"/>
              <a:ext cx="195053" cy="195053"/>
            </a:xfrm>
            <a:custGeom>
              <a:avLst/>
              <a:gdLst>
                <a:gd name="connsiteX0" fmla="*/ 98227 w 195052"/>
                <a:gd name="connsiteY0" fmla="*/ 189448 h 195052"/>
                <a:gd name="connsiteX1" fmla="*/ 7006 w 195052"/>
                <a:gd name="connsiteY1" fmla="*/ 98227 h 195052"/>
                <a:gd name="connsiteX2" fmla="*/ 98227 w 195052"/>
                <a:gd name="connsiteY2" fmla="*/ 7006 h 195052"/>
                <a:gd name="connsiteX3" fmla="*/ 189448 w 195052"/>
                <a:gd name="connsiteY3" fmla="*/ 98227 h 195052"/>
                <a:gd name="connsiteX4" fmla="*/ 98227 w 195052"/>
                <a:gd name="connsiteY4" fmla="*/ 189448 h 195052"/>
                <a:gd name="connsiteX5" fmla="*/ 98227 w 195052"/>
                <a:gd name="connsiteY5" fmla="*/ 24270 h 195052"/>
                <a:gd name="connsiteX6" fmla="*/ 24270 w 195052"/>
                <a:gd name="connsiteY6" fmla="*/ 98227 h 195052"/>
                <a:gd name="connsiteX7" fmla="*/ 98227 w 195052"/>
                <a:gd name="connsiteY7" fmla="*/ 172185 h 195052"/>
                <a:gd name="connsiteX8" fmla="*/ 172185 w 195052"/>
                <a:gd name="connsiteY8" fmla="*/ 98227 h 195052"/>
                <a:gd name="connsiteX9" fmla="*/ 98227 w 195052"/>
                <a:gd name="connsiteY9" fmla="*/ 2427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48"/>
                  </a:moveTo>
                  <a:cubicBezTo>
                    <a:pt x="47932" y="189448"/>
                    <a:pt x="7006" y="148532"/>
                    <a:pt x="7006" y="98227"/>
                  </a:cubicBezTo>
                  <a:cubicBezTo>
                    <a:pt x="7006" y="47932"/>
                    <a:pt x="47932" y="7006"/>
                    <a:pt x="98227" y="7006"/>
                  </a:cubicBezTo>
                  <a:cubicBezTo>
                    <a:pt x="148532" y="7006"/>
                    <a:pt x="189448" y="47932"/>
                    <a:pt x="189448" y="98227"/>
                  </a:cubicBezTo>
                  <a:cubicBezTo>
                    <a:pt x="189448" y="148532"/>
                    <a:pt x="148532" y="189448"/>
                    <a:pt x="98227" y="189448"/>
                  </a:cubicBezTo>
                  <a:close/>
                  <a:moveTo>
                    <a:pt x="98227" y="24270"/>
                  </a:moveTo>
                  <a:cubicBezTo>
                    <a:pt x="57451" y="24270"/>
                    <a:pt x="24270" y="57451"/>
                    <a:pt x="24270" y="98227"/>
                  </a:cubicBezTo>
                  <a:cubicBezTo>
                    <a:pt x="24270" y="139013"/>
                    <a:pt x="57451" y="172185"/>
                    <a:pt x="98227" y="172185"/>
                  </a:cubicBezTo>
                  <a:cubicBezTo>
                    <a:pt x="139013" y="172185"/>
                    <a:pt x="172185" y="139013"/>
                    <a:pt x="172185" y="98227"/>
                  </a:cubicBezTo>
                  <a:cubicBezTo>
                    <a:pt x="172185" y="57451"/>
                    <a:pt x="139013" y="24270"/>
                    <a:pt x="98227" y="242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3" name="Freeform: Shape 13352">
              <a:extLst>
                <a:ext uri="{FF2B5EF4-FFF2-40B4-BE49-F238E27FC236}">
                  <a16:creationId xmlns:a16="http://schemas.microsoft.com/office/drawing/2014/main" id="{5D9FA834-89D1-49C3-A5DA-9AFA1734C7BA}"/>
                </a:ext>
              </a:extLst>
            </p:cNvPr>
            <p:cNvSpPr/>
            <p:nvPr/>
          </p:nvSpPr>
          <p:spPr bwMode="ltGray">
            <a:xfrm>
              <a:off x="6988332"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39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4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2" y="189429"/>
                    <a:pt x="7006" y="148522"/>
                    <a:pt x="7006" y="98218"/>
                  </a:cubicBezTo>
                  <a:cubicBezTo>
                    <a:pt x="7006" y="47923"/>
                    <a:pt x="47922" y="7006"/>
                    <a:pt x="98227" y="7006"/>
                  </a:cubicBezTo>
                  <a:cubicBezTo>
                    <a:pt x="148522" y="7006"/>
                    <a:pt x="189439" y="47923"/>
                    <a:pt x="189439" y="98218"/>
                  </a:cubicBezTo>
                  <a:cubicBezTo>
                    <a:pt x="189439"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4" y="139003"/>
                    <a:pt x="172184" y="98218"/>
                  </a:cubicBezTo>
                  <a:cubicBezTo>
                    <a:pt x="172184"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4" name="Freeform: Shape 13353">
              <a:extLst>
                <a:ext uri="{FF2B5EF4-FFF2-40B4-BE49-F238E27FC236}">
                  <a16:creationId xmlns:a16="http://schemas.microsoft.com/office/drawing/2014/main" id="{F2B2EC74-20BA-439C-9702-67E74EF6FE8B}"/>
                </a:ext>
              </a:extLst>
            </p:cNvPr>
            <p:cNvSpPr/>
            <p:nvPr/>
          </p:nvSpPr>
          <p:spPr bwMode="ltGray">
            <a:xfrm>
              <a:off x="7298193"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5" name="Freeform: Shape 13354">
              <a:extLst>
                <a:ext uri="{FF2B5EF4-FFF2-40B4-BE49-F238E27FC236}">
                  <a16:creationId xmlns:a16="http://schemas.microsoft.com/office/drawing/2014/main" id="{1D5FBED1-5C41-4E03-8BCC-75878A0EDFD6}"/>
                </a:ext>
              </a:extLst>
            </p:cNvPr>
            <p:cNvSpPr/>
            <p:nvPr/>
          </p:nvSpPr>
          <p:spPr bwMode="ltGray">
            <a:xfrm>
              <a:off x="7608054" y="4933167"/>
              <a:ext cx="195053" cy="195053"/>
            </a:xfrm>
            <a:custGeom>
              <a:avLst/>
              <a:gdLst>
                <a:gd name="connsiteX0" fmla="*/ 98218 w 195052"/>
                <a:gd name="connsiteY0" fmla="*/ 189429 h 195052"/>
                <a:gd name="connsiteX1" fmla="*/ 7006 w 195052"/>
                <a:gd name="connsiteY1" fmla="*/ 98218 h 195052"/>
                <a:gd name="connsiteX2" fmla="*/ 98218 w 195052"/>
                <a:gd name="connsiteY2" fmla="*/ 7006 h 195052"/>
                <a:gd name="connsiteX3" fmla="*/ 189439 w 195052"/>
                <a:gd name="connsiteY3" fmla="*/ 98218 h 195052"/>
                <a:gd name="connsiteX4" fmla="*/ 98218 w 195052"/>
                <a:gd name="connsiteY4" fmla="*/ 189429 h 195052"/>
                <a:gd name="connsiteX5" fmla="*/ 98218 w 195052"/>
                <a:gd name="connsiteY5" fmla="*/ 24260 h 195052"/>
                <a:gd name="connsiteX6" fmla="*/ 24260 w 195052"/>
                <a:gd name="connsiteY6" fmla="*/ 98218 h 195052"/>
                <a:gd name="connsiteX7" fmla="*/ 98218 w 195052"/>
                <a:gd name="connsiteY7" fmla="*/ 172176 h 195052"/>
                <a:gd name="connsiteX8" fmla="*/ 172185 w 195052"/>
                <a:gd name="connsiteY8" fmla="*/ 98218 h 195052"/>
                <a:gd name="connsiteX9" fmla="*/ 98218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18" y="189429"/>
                  </a:moveTo>
                  <a:cubicBezTo>
                    <a:pt x="47923" y="189429"/>
                    <a:pt x="7006" y="148522"/>
                    <a:pt x="7006" y="98218"/>
                  </a:cubicBezTo>
                  <a:cubicBezTo>
                    <a:pt x="7006" y="47923"/>
                    <a:pt x="47923" y="7006"/>
                    <a:pt x="98218" y="7006"/>
                  </a:cubicBezTo>
                  <a:cubicBezTo>
                    <a:pt x="148522" y="7006"/>
                    <a:pt x="189439" y="47923"/>
                    <a:pt x="189439" y="98218"/>
                  </a:cubicBezTo>
                  <a:cubicBezTo>
                    <a:pt x="189439" y="148522"/>
                    <a:pt x="148522" y="189429"/>
                    <a:pt x="98218" y="189429"/>
                  </a:cubicBezTo>
                  <a:close/>
                  <a:moveTo>
                    <a:pt x="98218" y="24260"/>
                  </a:moveTo>
                  <a:cubicBezTo>
                    <a:pt x="57441" y="24260"/>
                    <a:pt x="24260" y="57441"/>
                    <a:pt x="24260" y="98218"/>
                  </a:cubicBezTo>
                  <a:cubicBezTo>
                    <a:pt x="24260" y="139003"/>
                    <a:pt x="57441" y="172176"/>
                    <a:pt x="98218" y="172176"/>
                  </a:cubicBezTo>
                  <a:cubicBezTo>
                    <a:pt x="139003" y="172176"/>
                    <a:pt x="172185" y="139003"/>
                    <a:pt x="172185" y="98218"/>
                  </a:cubicBezTo>
                  <a:cubicBezTo>
                    <a:pt x="172185" y="57441"/>
                    <a:pt x="139003" y="24260"/>
                    <a:pt x="98218"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6" name="Freeform: Shape 13355">
              <a:extLst>
                <a:ext uri="{FF2B5EF4-FFF2-40B4-BE49-F238E27FC236}">
                  <a16:creationId xmlns:a16="http://schemas.microsoft.com/office/drawing/2014/main" id="{E0365BE8-8938-43CC-8C9B-99DD33310C63}"/>
                </a:ext>
              </a:extLst>
            </p:cNvPr>
            <p:cNvSpPr/>
            <p:nvPr/>
          </p:nvSpPr>
          <p:spPr bwMode="ltGray">
            <a:xfrm>
              <a:off x="8266152" y="3011251"/>
              <a:ext cx="269038" cy="269038"/>
            </a:xfrm>
            <a:custGeom>
              <a:avLst/>
              <a:gdLst>
                <a:gd name="connsiteX0" fmla="*/ 134949 w 269038"/>
                <a:gd name="connsiteY0" fmla="*/ 262882 h 269038"/>
                <a:gd name="connsiteX1" fmla="*/ 7006 w 269038"/>
                <a:gd name="connsiteY1" fmla="*/ 134940 h 269038"/>
                <a:gd name="connsiteX2" fmla="*/ 134949 w 269038"/>
                <a:gd name="connsiteY2" fmla="*/ 7006 h 269038"/>
                <a:gd name="connsiteX3" fmla="*/ 262892 w 269038"/>
                <a:gd name="connsiteY3" fmla="*/ 134940 h 269038"/>
                <a:gd name="connsiteX4" fmla="*/ 134949 w 269038"/>
                <a:gd name="connsiteY4" fmla="*/ 262882 h 269038"/>
                <a:gd name="connsiteX5" fmla="*/ 134949 w 269038"/>
                <a:gd name="connsiteY5" fmla="*/ 75863 h 269038"/>
                <a:gd name="connsiteX6" fmla="*/ 75864 w 269038"/>
                <a:gd name="connsiteY6" fmla="*/ 134940 h 269038"/>
                <a:gd name="connsiteX7" fmla="*/ 134949 w 269038"/>
                <a:gd name="connsiteY7" fmla="*/ 194026 h 269038"/>
                <a:gd name="connsiteX8" fmla="*/ 194035 w 269038"/>
                <a:gd name="connsiteY8" fmla="*/ 134940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82"/>
                  </a:moveTo>
                  <a:cubicBezTo>
                    <a:pt x="64401" y="262882"/>
                    <a:pt x="7006" y="205488"/>
                    <a:pt x="7006" y="134940"/>
                  </a:cubicBezTo>
                  <a:cubicBezTo>
                    <a:pt x="7006" y="64401"/>
                    <a:pt x="64401" y="7006"/>
                    <a:pt x="134949" y="7006"/>
                  </a:cubicBezTo>
                  <a:cubicBezTo>
                    <a:pt x="205497" y="7006"/>
                    <a:pt x="262892" y="64401"/>
                    <a:pt x="262892" y="134940"/>
                  </a:cubicBezTo>
                  <a:cubicBezTo>
                    <a:pt x="262892" y="205488"/>
                    <a:pt x="205497" y="262882"/>
                    <a:pt x="134949" y="262882"/>
                  </a:cubicBezTo>
                  <a:close/>
                  <a:moveTo>
                    <a:pt x="134949" y="75863"/>
                  </a:moveTo>
                  <a:cubicBezTo>
                    <a:pt x="102366" y="75863"/>
                    <a:pt x="75864" y="102375"/>
                    <a:pt x="75864" y="134940"/>
                  </a:cubicBezTo>
                  <a:cubicBezTo>
                    <a:pt x="75864" y="167514"/>
                    <a:pt x="102366" y="194026"/>
                    <a:pt x="134949" y="194026"/>
                  </a:cubicBezTo>
                  <a:cubicBezTo>
                    <a:pt x="167523" y="194026"/>
                    <a:pt x="194035" y="167514"/>
                    <a:pt x="194035" y="134940"/>
                  </a:cubicBezTo>
                  <a:cubicBezTo>
                    <a:pt x="194035"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7" name="Freeform: Shape 13356">
              <a:extLst>
                <a:ext uri="{FF2B5EF4-FFF2-40B4-BE49-F238E27FC236}">
                  <a16:creationId xmlns:a16="http://schemas.microsoft.com/office/drawing/2014/main" id="{782DA11B-C92A-4421-BCC9-EEBCC94AC6C9}"/>
                </a:ext>
              </a:extLst>
            </p:cNvPr>
            <p:cNvSpPr/>
            <p:nvPr/>
          </p:nvSpPr>
          <p:spPr bwMode="ltGray">
            <a:xfrm>
              <a:off x="4799730" y="4135393"/>
              <a:ext cx="269038" cy="269038"/>
            </a:xfrm>
            <a:custGeom>
              <a:avLst/>
              <a:gdLst>
                <a:gd name="connsiteX0" fmla="*/ 134949 w 269038"/>
                <a:gd name="connsiteY0" fmla="*/ 262892 h 269038"/>
                <a:gd name="connsiteX1" fmla="*/ 7006 w 269038"/>
                <a:gd name="connsiteY1" fmla="*/ 134949 h 269038"/>
                <a:gd name="connsiteX2" fmla="*/ 134949 w 269038"/>
                <a:gd name="connsiteY2" fmla="*/ 7006 h 269038"/>
                <a:gd name="connsiteX3" fmla="*/ 262882 w 269038"/>
                <a:gd name="connsiteY3" fmla="*/ 134949 h 269038"/>
                <a:gd name="connsiteX4" fmla="*/ 134949 w 269038"/>
                <a:gd name="connsiteY4" fmla="*/ 262892 h 269038"/>
                <a:gd name="connsiteX5" fmla="*/ 134949 w 269038"/>
                <a:gd name="connsiteY5" fmla="*/ 75863 h 269038"/>
                <a:gd name="connsiteX6" fmla="*/ 75864 w 269038"/>
                <a:gd name="connsiteY6" fmla="*/ 134949 h 269038"/>
                <a:gd name="connsiteX7" fmla="*/ 134949 w 269038"/>
                <a:gd name="connsiteY7" fmla="*/ 194035 h 269038"/>
                <a:gd name="connsiteX8" fmla="*/ 194026 w 269038"/>
                <a:gd name="connsiteY8" fmla="*/ 134949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92"/>
                  </a:moveTo>
                  <a:cubicBezTo>
                    <a:pt x="64392" y="262892"/>
                    <a:pt x="7006" y="205506"/>
                    <a:pt x="7006" y="134949"/>
                  </a:cubicBezTo>
                  <a:cubicBezTo>
                    <a:pt x="7006" y="64401"/>
                    <a:pt x="64392" y="7006"/>
                    <a:pt x="134949" y="7006"/>
                  </a:cubicBezTo>
                  <a:cubicBezTo>
                    <a:pt x="205488" y="7006"/>
                    <a:pt x="262882" y="64401"/>
                    <a:pt x="262882" y="134949"/>
                  </a:cubicBezTo>
                  <a:cubicBezTo>
                    <a:pt x="262882" y="205506"/>
                    <a:pt x="205488" y="262892"/>
                    <a:pt x="134949" y="262892"/>
                  </a:cubicBezTo>
                  <a:close/>
                  <a:moveTo>
                    <a:pt x="134949" y="75863"/>
                  </a:moveTo>
                  <a:cubicBezTo>
                    <a:pt x="102366" y="75863"/>
                    <a:pt x="75864" y="102375"/>
                    <a:pt x="75864" y="134949"/>
                  </a:cubicBezTo>
                  <a:cubicBezTo>
                    <a:pt x="75864" y="167532"/>
                    <a:pt x="102366" y="194035"/>
                    <a:pt x="134949" y="194035"/>
                  </a:cubicBezTo>
                  <a:cubicBezTo>
                    <a:pt x="167523" y="194035"/>
                    <a:pt x="194026" y="167532"/>
                    <a:pt x="194026" y="134949"/>
                  </a:cubicBezTo>
                  <a:cubicBezTo>
                    <a:pt x="194026"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8" name="Freeform: Shape 13357">
              <a:extLst>
                <a:ext uri="{FF2B5EF4-FFF2-40B4-BE49-F238E27FC236}">
                  <a16:creationId xmlns:a16="http://schemas.microsoft.com/office/drawing/2014/main" id="{2B57B89B-5C34-41E6-A3AD-8004FC96DF7B}"/>
                </a:ext>
              </a:extLst>
            </p:cNvPr>
            <p:cNvSpPr/>
            <p:nvPr/>
          </p:nvSpPr>
          <p:spPr bwMode="ltGray">
            <a:xfrm>
              <a:off x="9135408" y="3924020"/>
              <a:ext cx="199537" cy="199537"/>
            </a:xfrm>
            <a:custGeom>
              <a:avLst/>
              <a:gdLst>
                <a:gd name="connsiteX0" fmla="*/ 100525 w 199536"/>
                <a:gd name="connsiteY0" fmla="*/ 194026 h 199536"/>
                <a:gd name="connsiteX1" fmla="*/ 7006 w 199536"/>
                <a:gd name="connsiteY1" fmla="*/ 100516 h 199536"/>
                <a:gd name="connsiteX2" fmla="*/ 100525 w 199536"/>
                <a:gd name="connsiteY2" fmla="*/ 7006 h 199536"/>
                <a:gd name="connsiteX3" fmla="*/ 194035 w 199536"/>
                <a:gd name="connsiteY3" fmla="*/ 100516 h 199536"/>
                <a:gd name="connsiteX4" fmla="*/ 100525 w 199536"/>
                <a:gd name="connsiteY4" fmla="*/ 194026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25" y="194026"/>
                  </a:moveTo>
                  <a:cubicBezTo>
                    <a:pt x="48875" y="194026"/>
                    <a:pt x="7006" y="152157"/>
                    <a:pt x="7006" y="100516"/>
                  </a:cubicBezTo>
                  <a:cubicBezTo>
                    <a:pt x="7006" y="48866"/>
                    <a:pt x="48875" y="7006"/>
                    <a:pt x="100525" y="7006"/>
                  </a:cubicBezTo>
                  <a:cubicBezTo>
                    <a:pt x="152166" y="7006"/>
                    <a:pt x="194035" y="48866"/>
                    <a:pt x="194035" y="100516"/>
                  </a:cubicBezTo>
                  <a:cubicBezTo>
                    <a:pt x="194035" y="152157"/>
                    <a:pt x="152166" y="194026"/>
                    <a:pt x="100525" y="194026"/>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9" name="Freeform: Shape 13358">
              <a:extLst>
                <a:ext uri="{FF2B5EF4-FFF2-40B4-BE49-F238E27FC236}">
                  <a16:creationId xmlns:a16="http://schemas.microsoft.com/office/drawing/2014/main" id="{BC072B1D-1CF3-416D-BA72-A00DAAB20F3C}"/>
                </a:ext>
              </a:extLst>
            </p:cNvPr>
            <p:cNvSpPr/>
            <p:nvPr/>
          </p:nvSpPr>
          <p:spPr bwMode="ltGray">
            <a:xfrm>
              <a:off x="7699275" y="5380789"/>
              <a:ext cx="199537" cy="199537"/>
            </a:xfrm>
            <a:custGeom>
              <a:avLst/>
              <a:gdLst>
                <a:gd name="connsiteX0" fmla="*/ 100516 w 199536"/>
                <a:gd name="connsiteY0" fmla="*/ 194035 h 199536"/>
                <a:gd name="connsiteX1" fmla="*/ 7006 w 199536"/>
                <a:gd name="connsiteY1" fmla="*/ 100516 h 199536"/>
                <a:gd name="connsiteX2" fmla="*/ 100516 w 199536"/>
                <a:gd name="connsiteY2" fmla="*/ 7006 h 199536"/>
                <a:gd name="connsiteX3" fmla="*/ 194016 w 199536"/>
                <a:gd name="connsiteY3" fmla="*/ 100516 h 199536"/>
                <a:gd name="connsiteX4" fmla="*/ 100516 w 199536"/>
                <a:gd name="connsiteY4" fmla="*/ 194035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16" y="194035"/>
                  </a:moveTo>
                  <a:cubicBezTo>
                    <a:pt x="48866" y="194035"/>
                    <a:pt x="7006" y="152166"/>
                    <a:pt x="7006" y="100516"/>
                  </a:cubicBezTo>
                  <a:cubicBezTo>
                    <a:pt x="7006" y="48875"/>
                    <a:pt x="48866" y="7006"/>
                    <a:pt x="100516" y="7006"/>
                  </a:cubicBezTo>
                  <a:cubicBezTo>
                    <a:pt x="152156" y="7006"/>
                    <a:pt x="194016" y="48875"/>
                    <a:pt x="194016" y="100516"/>
                  </a:cubicBezTo>
                  <a:cubicBezTo>
                    <a:pt x="194016" y="152166"/>
                    <a:pt x="152156" y="194035"/>
                    <a:pt x="100516" y="19403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0" name="Freeform: Shape 13359">
              <a:extLst>
                <a:ext uri="{FF2B5EF4-FFF2-40B4-BE49-F238E27FC236}">
                  <a16:creationId xmlns:a16="http://schemas.microsoft.com/office/drawing/2014/main" id="{8C6CEADA-A4BE-4561-84DF-BD69FA244557}"/>
                </a:ext>
              </a:extLst>
            </p:cNvPr>
            <p:cNvSpPr/>
            <p:nvPr/>
          </p:nvSpPr>
          <p:spPr bwMode="ltGray">
            <a:xfrm>
              <a:off x="7701592" y="2237074"/>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63" y="84579"/>
                    <a:pt x="7006" y="67213"/>
                    <a:pt x="7006" y="45793"/>
                  </a:cubicBezTo>
                  <a:cubicBezTo>
                    <a:pt x="7006" y="24372"/>
                    <a:pt x="24363" y="7006"/>
                    <a:pt x="45783" y="7006"/>
                  </a:cubicBezTo>
                  <a:cubicBezTo>
                    <a:pt x="67204" y="7006"/>
                    <a:pt x="84579" y="24372"/>
                    <a:pt x="84579" y="45793"/>
                  </a:cubicBezTo>
                  <a:cubicBezTo>
                    <a:pt x="84579" y="67213"/>
                    <a:pt x="67204"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1" name="Freeform: Shape 13360">
              <a:extLst>
                <a:ext uri="{FF2B5EF4-FFF2-40B4-BE49-F238E27FC236}">
                  <a16:creationId xmlns:a16="http://schemas.microsoft.com/office/drawing/2014/main" id="{B0172D1C-DA1F-4DEC-B9A1-C82327B05263}"/>
                </a:ext>
              </a:extLst>
            </p:cNvPr>
            <p:cNvSpPr/>
            <p:nvPr/>
          </p:nvSpPr>
          <p:spPr bwMode="ltGray">
            <a:xfrm>
              <a:off x="4834154" y="3097016"/>
              <a:ext cx="89679" cy="89679"/>
            </a:xfrm>
            <a:custGeom>
              <a:avLst/>
              <a:gdLst>
                <a:gd name="connsiteX0" fmla="*/ 45783 w 89679"/>
                <a:gd name="connsiteY0" fmla="*/ 84570 h 89679"/>
                <a:gd name="connsiteX1" fmla="*/ 7006 w 89679"/>
                <a:gd name="connsiteY1" fmla="*/ 45783 h 89679"/>
                <a:gd name="connsiteX2" fmla="*/ 45783 w 89679"/>
                <a:gd name="connsiteY2" fmla="*/ 7006 h 89679"/>
                <a:gd name="connsiteX3" fmla="*/ 84579 w 89679"/>
                <a:gd name="connsiteY3" fmla="*/ 45783 h 89679"/>
                <a:gd name="connsiteX4" fmla="*/ 45783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0"/>
                  </a:moveTo>
                  <a:cubicBezTo>
                    <a:pt x="24372" y="84570"/>
                    <a:pt x="7006" y="67204"/>
                    <a:pt x="7006" y="45783"/>
                  </a:cubicBezTo>
                  <a:cubicBezTo>
                    <a:pt x="7006" y="24372"/>
                    <a:pt x="24372" y="7006"/>
                    <a:pt x="45783" y="7006"/>
                  </a:cubicBezTo>
                  <a:cubicBezTo>
                    <a:pt x="67213" y="7006"/>
                    <a:pt x="84579" y="24372"/>
                    <a:pt x="84579" y="45783"/>
                  </a:cubicBezTo>
                  <a:cubicBezTo>
                    <a:pt x="84579" y="67204"/>
                    <a:pt x="67213" y="84570"/>
                    <a:pt x="45783"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2" name="Freeform: Shape 13361">
              <a:extLst>
                <a:ext uri="{FF2B5EF4-FFF2-40B4-BE49-F238E27FC236}">
                  <a16:creationId xmlns:a16="http://schemas.microsoft.com/office/drawing/2014/main" id="{ADBB8F31-94D3-4F47-859A-E307F6CBC0E2}"/>
                </a:ext>
              </a:extLst>
            </p:cNvPr>
            <p:cNvSpPr/>
            <p:nvPr/>
          </p:nvSpPr>
          <p:spPr bwMode="ltGray">
            <a:xfrm>
              <a:off x="7977020" y="2238326"/>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72" y="84579"/>
                    <a:pt x="7006" y="67213"/>
                    <a:pt x="7006" y="45793"/>
                  </a:cubicBezTo>
                  <a:cubicBezTo>
                    <a:pt x="7006" y="24372"/>
                    <a:pt x="24372" y="7006"/>
                    <a:pt x="45783" y="7006"/>
                  </a:cubicBezTo>
                  <a:cubicBezTo>
                    <a:pt x="67213" y="7006"/>
                    <a:pt x="84579" y="24372"/>
                    <a:pt x="84579" y="45793"/>
                  </a:cubicBezTo>
                  <a:cubicBezTo>
                    <a:pt x="84579" y="67213"/>
                    <a:pt x="67213"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3" name="Freeform: Shape 13362">
              <a:extLst>
                <a:ext uri="{FF2B5EF4-FFF2-40B4-BE49-F238E27FC236}">
                  <a16:creationId xmlns:a16="http://schemas.microsoft.com/office/drawing/2014/main" id="{630594AB-4703-45A0-961A-ED469779DD6F}"/>
                </a:ext>
              </a:extLst>
            </p:cNvPr>
            <p:cNvSpPr/>
            <p:nvPr/>
          </p:nvSpPr>
          <p:spPr bwMode="ltGray">
            <a:xfrm>
              <a:off x="8114724" y="2238961"/>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8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89" y="24363"/>
                    <a:pt x="84589" y="45783"/>
                  </a:cubicBezTo>
                  <a:cubicBezTo>
                    <a:pt x="8458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4" name="Freeform: Shape 13363">
              <a:extLst>
                <a:ext uri="{FF2B5EF4-FFF2-40B4-BE49-F238E27FC236}">
                  <a16:creationId xmlns:a16="http://schemas.microsoft.com/office/drawing/2014/main" id="{9660E0C2-7B4B-4600-8744-376B29BB2E29}"/>
                </a:ext>
              </a:extLst>
            </p:cNvPr>
            <p:cNvSpPr/>
            <p:nvPr/>
          </p:nvSpPr>
          <p:spPr bwMode="ltGray">
            <a:xfrm>
              <a:off x="7256296" y="1219295"/>
              <a:ext cx="174875" cy="174875"/>
            </a:xfrm>
            <a:custGeom>
              <a:avLst/>
              <a:gdLst>
                <a:gd name="connsiteX0" fmla="*/ 87606 w 174874"/>
                <a:gd name="connsiteY0" fmla="*/ 168215 h 174874"/>
                <a:gd name="connsiteX1" fmla="*/ 7006 w 174874"/>
                <a:gd name="connsiteY1" fmla="*/ 87606 h 174874"/>
                <a:gd name="connsiteX2" fmla="*/ 87606 w 174874"/>
                <a:gd name="connsiteY2" fmla="*/ 7006 h 174874"/>
                <a:gd name="connsiteX3" fmla="*/ 168205 w 174874"/>
                <a:gd name="connsiteY3" fmla="*/ 87606 h 174874"/>
                <a:gd name="connsiteX4" fmla="*/ 87606 w 174874"/>
                <a:gd name="connsiteY4" fmla="*/ 168215 h 17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74874">
                  <a:moveTo>
                    <a:pt x="87606" y="168215"/>
                  </a:moveTo>
                  <a:cubicBezTo>
                    <a:pt x="43093" y="168215"/>
                    <a:pt x="7006" y="132119"/>
                    <a:pt x="7006" y="87606"/>
                  </a:cubicBezTo>
                  <a:cubicBezTo>
                    <a:pt x="7006" y="43093"/>
                    <a:pt x="43093" y="7006"/>
                    <a:pt x="87606" y="7006"/>
                  </a:cubicBezTo>
                  <a:cubicBezTo>
                    <a:pt x="132118" y="7006"/>
                    <a:pt x="168205" y="43093"/>
                    <a:pt x="168205" y="87606"/>
                  </a:cubicBezTo>
                  <a:cubicBezTo>
                    <a:pt x="168205" y="132119"/>
                    <a:pt x="132118" y="168215"/>
                    <a:pt x="87606" y="16821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5" name="Freeform: Shape 13364">
              <a:extLst>
                <a:ext uri="{FF2B5EF4-FFF2-40B4-BE49-F238E27FC236}">
                  <a16:creationId xmlns:a16="http://schemas.microsoft.com/office/drawing/2014/main" id="{873F306F-20D9-4121-8479-3DAC08ACC7EA}"/>
                </a:ext>
              </a:extLst>
            </p:cNvPr>
            <p:cNvSpPr/>
            <p:nvPr/>
          </p:nvSpPr>
          <p:spPr bwMode="ltGray">
            <a:xfrm>
              <a:off x="8252439" y="2239587"/>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7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79" y="24363"/>
                    <a:pt x="84579" y="45783"/>
                  </a:cubicBezTo>
                  <a:cubicBezTo>
                    <a:pt x="8457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6" name="Freeform: Shape 13365">
              <a:extLst>
                <a:ext uri="{FF2B5EF4-FFF2-40B4-BE49-F238E27FC236}">
                  <a16:creationId xmlns:a16="http://schemas.microsoft.com/office/drawing/2014/main" id="{E02548BD-4FA2-42A8-B7F3-1ED3B43E7F14}"/>
                </a:ext>
              </a:extLst>
            </p:cNvPr>
            <p:cNvSpPr/>
            <p:nvPr/>
          </p:nvSpPr>
          <p:spPr bwMode="ltGray">
            <a:xfrm>
              <a:off x="8355309" y="3100398"/>
              <a:ext cx="89679" cy="89679"/>
            </a:xfrm>
            <a:custGeom>
              <a:avLst/>
              <a:gdLst>
                <a:gd name="connsiteX0" fmla="*/ 45792 w 89679"/>
                <a:gd name="connsiteY0" fmla="*/ 84579 h 89679"/>
                <a:gd name="connsiteX1" fmla="*/ 7006 w 89679"/>
                <a:gd name="connsiteY1" fmla="*/ 45793 h 89679"/>
                <a:gd name="connsiteX2" fmla="*/ 45792 w 89679"/>
                <a:gd name="connsiteY2" fmla="*/ 7006 h 89679"/>
                <a:gd name="connsiteX3" fmla="*/ 84579 w 89679"/>
                <a:gd name="connsiteY3" fmla="*/ 45793 h 89679"/>
                <a:gd name="connsiteX4" fmla="*/ 45792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2" y="84579"/>
                  </a:moveTo>
                  <a:cubicBezTo>
                    <a:pt x="24372" y="84579"/>
                    <a:pt x="7006" y="67213"/>
                    <a:pt x="7006" y="45793"/>
                  </a:cubicBezTo>
                  <a:cubicBezTo>
                    <a:pt x="7006" y="24372"/>
                    <a:pt x="24372" y="7006"/>
                    <a:pt x="45792" y="7006"/>
                  </a:cubicBezTo>
                  <a:cubicBezTo>
                    <a:pt x="67213" y="7006"/>
                    <a:pt x="84579" y="24372"/>
                    <a:pt x="84579" y="45793"/>
                  </a:cubicBezTo>
                  <a:cubicBezTo>
                    <a:pt x="84579" y="67213"/>
                    <a:pt x="67213" y="84579"/>
                    <a:pt x="45792"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7" name="Freeform: Shape 13366">
              <a:extLst>
                <a:ext uri="{FF2B5EF4-FFF2-40B4-BE49-F238E27FC236}">
                  <a16:creationId xmlns:a16="http://schemas.microsoft.com/office/drawing/2014/main" id="{E08963D8-41DD-45A7-BBE8-D7CA6CF7B577}"/>
                </a:ext>
              </a:extLst>
            </p:cNvPr>
            <p:cNvSpPr/>
            <p:nvPr/>
          </p:nvSpPr>
          <p:spPr bwMode="ltGray">
            <a:xfrm>
              <a:off x="3918358" y="2776487"/>
              <a:ext cx="654660" cy="654660"/>
            </a:xfrm>
            <a:custGeom>
              <a:avLst/>
              <a:gdLst>
                <a:gd name="connsiteX0" fmla="*/ 327526 w 654659"/>
                <a:gd name="connsiteY0" fmla="*/ 648065 h 654660"/>
                <a:gd name="connsiteX1" fmla="*/ 110521 w 654659"/>
                <a:gd name="connsiteY1" fmla="*/ 563225 h 654660"/>
                <a:gd name="connsiteX2" fmla="*/ 544541 w 654659"/>
                <a:gd name="connsiteY2" fmla="*/ 563225 h 654660"/>
                <a:gd name="connsiteX3" fmla="*/ 327526 w 654659"/>
                <a:gd name="connsiteY3" fmla="*/ 648065 h 654660"/>
                <a:gd name="connsiteX4" fmla="*/ 561553 w 654659"/>
                <a:gd name="connsiteY4" fmla="*/ 546344 h 654660"/>
                <a:gd name="connsiteX5" fmla="*/ 394198 w 654659"/>
                <a:gd name="connsiteY5" fmla="*/ 546344 h 654660"/>
                <a:gd name="connsiteX6" fmla="*/ 554182 w 654659"/>
                <a:gd name="connsiteY6" fmla="*/ 358279 h 654660"/>
                <a:gd name="connsiteX7" fmla="*/ 583403 w 654659"/>
                <a:gd name="connsiteY7" fmla="*/ 358279 h 654660"/>
                <a:gd name="connsiteX8" fmla="*/ 583403 w 654659"/>
                <a:gd name="connsiteY8" fmla="*/ 352646 h 654660"/>
                <a:gd name="connsiteX9" fmla="*/ 554873 w 654659"/>
                <a:gd name="connsiteY9" fmla="*/ 352646 h 654660"/>
                <a:gd name="connsiteX10" fmla="*/ 556247 w 654659"/>
                <a:gd name="connsiteY10" fmla="*/ 327536 h 654660"/>
                <a:gd name="connsiteX11" fmla="*/ 327526 w 654659"/>
                <a:gd name="connsiteY11" fmla="*/ 98815 h 654660"/>
                <a:gd name="connsiteX12" fmla="*/ 98816 w 654659"/>
                <a:gd name="connsiteY12" fmla="*/ 327536 h 654660"/>
                <a:gd name="connsiteX13" fmla="*/ 260855 w 654659"/>
                <a:gd name="connsiteY13" fmla="*/ 546344 h 654660"/>
                <a:gd name="connsiteX14" fmla="*/ 93510 w 654659"/>
                <a:gd name="connsiteY14" fmla="*/ 546344 h 654660"/>
                <a:gd name="connsiteX15" fmla="*/ 8464 w 654659"/>
                <a:gd name="connsiteY15" fmla="*/ 358279 h 654660"/>
                <a:gd name="connsiteX16" fmla="*/ 43111 w 654659"/>
                <a:gd name="connsiteY16" fmla="*/ 358279 h 654660"/>
                <a:gd name="connsiteX17" fmla="*/ 43111 w 654659"/>
                <a:gd name="connsiteY17" fmla="*/ 352646 h 654660"/>
                <a:gd name="connsiteX18" fmla="*/ 7978 w 654659"/>
                <a:gd name="connsiteY18" fmla="*/ 352646 h 654660"/>
                <a:gd name="connsiteX19" fmla="*/ 7006 w 654659"/>
                <a:gd name="connsiteY19" fmla="*/ 327536 h 654660"/>
                <a:gd name="connsiteX20" fmla="*/ 57731 w 654659"/>
                <a:gd name="connsiteY20" fmla="*/ 154650 h 654660"/>
                <a:gd name="connsiteX21" fmla="*/ 128167 w 654659"/>
                <a:gd name="connsiteY21" fmla="*/ 84215 h 654660"/>
                <a:gd name="connsiteX22" fmla="*/ 124178 w 654659"/>
                <a:gd name="connsiteY22" fmla="*/ 80235 h 654660"/>
                <a:gd name="connsiteX23" fmla="*/ 78619 w 654659"/>
                <a:gd name="connsiteY23" fmla="*/ 125794 h 654660"/>
                <a:gd name="connsiteX24" fmla="*/ 140349 w 654659"/>
                <a:gd name="connsiteY24" fmla="*/ 67474 h 654660"/>
                <a:gd name="connsiteX25" fmla="*/ 138704 w 654659"/>
                <a:gd name="connsiteY25" fmla="*/ 75218 h 654660"/>
                <a:gd name="connsiteX26" fmla="*/ 157724 w 654659"/>
                <a:gd name="connsiteY26" fmla="*/ 94238 h 654660"/>
                <a:gd name="connsiteX27" fmla="*/ 176753 w 654659"/>
                <a:gd name="connsiteY27" fmla="*/ 75218 h 654660"/>
                <a:gd name="connsiteX28" fmla="*/ 157724 w 654659"/>
                <a:gd name="connsiteY28" fmla="*/ 56199 h 654660"/>
                <a:gd name="connsiteX29" fmla="*/ 157033 w 654659"/>
                <a:gd name="connsiteY29" fmla="*/ 56208 h 654660"/>
                <a:gd name="connsiteX30" fmla="*/ 327526 w 654659"/>
                <a:gd name="connsiteY30" fmla="*/ 7006 h 654660"/>
                <a:gd name="connsiteX31" fmla="*/ 648056 w 654659"/>
                <a:gd name="connsiteY31" fmla="*/ 327536 h 654660"/>
                <a:gd name="connsiteX32" fmla="*/ 561553 w 654659"/>
                <a:gd name="connsiteY32" fmla="*/ 546344 h 654660"/>
                <a:gd name="connsiteX33" fmla="*/ 367294 w 654659"/>
                <a:gd name="connsiteY33" fmla="*/ 56199 h 654660"/>
                <a:gd name="connsiteX34" fmla="*/ 348274 w 654659"/>
                <a:gd name="connsiteY34" fmla="*/ 75218 h 654660"/>
                <a:gd name="connsiteX35" fmla="*/ 367294 w 654659"/>
                <a:gd name="connsiteY35" fmla="*/ 94238 h 654660"/>
                <a:gd name="connsiteX36" fmla="*/ 386313 w 654659"/>
                <a:gd name="connsiteY36" fmla="*/ 75218 h 654660"/>
                <a:gd name="connsiteX37" fmla="*/ 367294 w 654659"/>
                <a:gd name="connsiteY37" fmla="*/ 56199 h 654660"/>
                <a:gd name="connsiteX38" fmla="*/ 297437 w 654659"/>
                <a:gd name="connsiteY38" fmla="*/ 56199 h 654660"/>
                <a:gd name="connsiteX39" fmla="*/ 278418 w 654659"/>
                <a:gd name="connsiteY39" fmla="*/ 75218 h 654660"/>
                <a:gd name="connsiteX40" fmla="*/ 297437 w 654659"/>
                <a:gd name="connsiteY40" fmla="*/ 94238 h 654660"/>
                <a:gd name="connsiteX41" fmla="*/ 316457 w 654659"/>
                <a:gd name="connsiteY41" fmla="*/ 75218 h 654660"/>
                <a:gd name="connsiteX42" fmla="*/ 297437 w 654659"/>
                <a:gd name="connsiteY42" fmla="*/ 56199 h 654660"/>
                <a:gd name="connsiteX43" fmla="*/ 227580 w 654659"/>
                <a:gd name="connsiteY43" fmla="*/ 56199 h 654660"/>
                <a:gd name="connsiteX44" fmla="*/ 208561 w 654659"/>
                <a:gd name="connsiteY44" fmla="*/ 75218 h 654660"/>
                <a:gd name="connsiteX45" fmla="*/ 227580 w 654659"/>
                <a:gd name="connsiteY45" fmla="*/ 94238 h 654660"/>
                <a:gd name="connsiteX46" fmla="*/ 246600 w 654659"/>
                <a:gd name="connsiteY46" fmla="*/ 75218 h 654660"/>
                <a:gd name="connsiteX47" fmla="*/ 227580 w 654659"/>
                <a:gd name="connsiteY47" fmla="*/ 56199 h 6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54659" h="654660">
                  <a:moveTo>
                    <a:pt x="327526" y="648065"/>
                  </a:moveTo>
                  <a:cubicBezTo>
                    <a:pt x="243891" y="648065"/>
                    <a:pt x="167645" y="615874"/>
                    <a:pt x="110521" y="563225"/>
                  </a:cubicBezTo>
                  <a:lnTo>
                    <a:pt x="544541" y="563225"/>
                  </a:lnTo>
                  <a:cubicBezTo>
                    <a:pt x="487408" y="615874"/>
                    <a:pt x="411162" y="648065"/>
                    <a:pt x="327526" y="648065"/>
                  </a:cubicBezTo>
                  <a:close/>
                  <a:moveTo>
                    <a:pt x="561553" y="546344"/>
                  </a:moveTo>
                  <a:lnTo>
                    <a:pt x="394198" y="546344"/>
                  </a:lnTo>
                  <a:cubicBezTo>
                    <a:pt x="478403" y="520636"/>
                    <a:pt x="542141" y="447538"/>
                    <a:pt x="554182" y="358279"/>
                  </a:cubicBezTo>
                  <a:lnTo>
                    <a:pt x="583403" y="358279"/>
                  </a:lnTo>
                  <a:lnTo>
                    <a:pt x="583403" y="352646"/>
                  </a:lnTo>
                  <a:lnTo>
                    <a:pt x="554873" y="352646"/>
                  </a:lnTo>
                  <a:cubicBezTo>
                    <a:pt x="555779" y="344397"/>
                    <a:pt x="556247" y="336018"/>
                    <a:pt x="556247" y="327536"/>
                  </a:cubicBezTo>
                  <a:cubicBezTo>
                    <a:pt x="556247" y="201414"/>
                    <a:pt x="453648" y="98815"/>
                    <a:pt x="327526" y="98815"/>
                  </a:cubicBezTo>
                  <a:cubicBezTo>
                    <a:pt x="201415" y="98815"/>
                    <a:pt x="98816" y="201414"/>
                    <a:pt x="98816" y="327536"/>
                  </a:cubicBezTo>
                  <a:cubicBezTo>
                    <a:pt x="98816" y="430462"/>
                    <a:pt x="167168" y="517731"/>
                    <a:pt x="260855" y="546344"/>
                  </a:cubicBezTo>
                  <a:lnTo>
                    <a:pt x="93510" y="546344"/>
                  </a:lnTo>
                  <a:cubicBezTo>
                    <a:pt x="46456" y="496049"/>
                    <a:pt x="15376" y="430639"/>
                    <a:pt x="8464" y="358279"/>
                  </a:cubicBezTo>
                  <a:lnTo>
                    <a:pt x="43111" y="358279"/>
                  </a:lnTo>
                  <a:lnTo>
                    <a:pt x="43111" y="352646"/>
                  </a:lnTo>
                  <a:lnTo>
                    <a:pt x="7978" y="352646"/>
                  </a:lnTo>
                  <a:cubicBezTo>
                    <a:pt x="7333" y="344360"/>
                    <a:pt x="7006" y="335980"/>
                    <a:pt x="7006" y="327536"/>
                  </a:cubicBezTo>
                  <a:cubicBezTo>
                    <a:pt x="7006" y="263910"/>
                    <a:pt x="25634" y="204563"/>
                    <a:pt x="57731" y="154650"/>
                  </a:cubicBezTo>
                  <a:lnTo>
                    <a:pt x="128167" y="84215"/>
                  </a:lnTo>
                  <a:lnTo>
                    <a:pt x="124178" y="80235"/>
                  </a:lnTo>
                  <a:lnTo>
                    <a:pt x="78619" y="125794"/>
                  </a:lnTo>
                  <a:cubicBezTo>
                    <a:pt x="96518" y="103757"/>
                    <a:pt x="117303" y="84112"/>
                    <a:pt x="140349" y="67474"/>
                  </a:cubicBezTo>
                  <a:cubicBezTo>
                    <a:pt x="139293" y="69838"/>
                    <a:pt x="138704" y="72463"/>
                    <a:pt x="138704" y="75218"/>
                  </a:cubicBezTo>
                  <a:cubicBezTo>
                    <a:pt x="138704" y="85728"/>
                    <a:pt x="147224" y="94238"/>
                    <a:pt x="157724" y="94238"/>
                  </a:cubicBezTo>
                  <a:cubicBezTo>
                    <a:pt x="168233" y="94238"/>
                    <a:pt x="176753" y="85728"/>
                    <a:pt x="176753" y="75218"/>
                  </a:cubicBezTo>
                  <a:cubicBezTo>
                    <a:pt x="176753" y="64719"/>
                    <a:pt x="168233" y="56199"/>
                    <a:pt x="157724" y="56199"/>
                  </a:cubicBezTo>
                  <a:cubicBezTo>
                    <a:pt x="157490" y="56199"/>
                    <a:pt x="157257" y="56208"/>
                    <a:pt x="157033" y="56208"/>
                  </a:cubicBezTo>
                  <a:cubicBezTo>
                    <a:pt x="206440" y="25054"/>
                    <a:pt x="264919" y="7006"/>
                    <a:pt x="327526" y="7006"/>
                  </a:cubicBezTo>
                  <a:cubicBezTo>
                    <a:pt x="504261" y="7006"/>
                    <a:pt x="648056" y="150792"/>
                    <a:pt x="648056" y="327536"/>
                  </a:cubicBezTo>
                  <a:cubicBezTo>
                    <a:pt x="648056" y="412040"/>
                    <a:pt x="615183" y="489015"/>
                    <a:pt x="561553" y="546344"/>
                  </a:cubicBezTo>
                  <a:close/>
                  <a:moveTo>
                    <a:pt x="367294" y="56199"/>
                  </a:moveTo>
                  <a:cubicBezTo>
                    <a:pt x="356784" y="56199"/>
                    <a:pt x="348274" y="64719"/>
                    <a:pt x="348274" y="75218"/>
                  </a:cubicBezTo>
                  <a:cubicBezTo>
                    <a:pt x="348274" y="85728"/>
                    <a:pt x="356784" y="94238"/>
                    <a:pt x="367294" y="94238"/>
                  </a:cubicBezTo>
                  <a:cubicBezTo>
                    <a:pt x="377794" y="94238"/>
                    <a:pt x="386313" y="85728"/>
                    <a:pt x="386313" y="75218"/>
                  </a:cubicBezTo>
                  <a:cubicBezTo>
                    <a:pt x="386313" y="64719"/>
                    <a:pt x="377794" y="56199"/>
                    <a:pt x="367294" y="56199"/>
                  </a:cubicBezTo>
                  <a:close/>
                  <a:moveTo>
                    <a:pt x="297437" y="56199"/>
                  </a:moveTo>
                  <a:cubicBezTo>
                    <a:pt x="286928" y="56199"/>
                    <a:pt x="278418" y="64719"/>
                    <a:pt x="278418" y="75218"/>
                  </a:cubicBezTo>
                  <a:cubicBezTo>
                    <a:pt x="278418" y="85728"/>
                    <a:pt x="286928" y="94238"/>
                    <a:pt x="297437" y="94238"/>
                  </a:cubicBezTo>
                  <a:cubicBezTo>
                    <a:pt x="307937" y="94238"/>
                    <a:pt x="316457" y="85728"/>
                    <a:pt x="316457" y="75218"/>
                  </a:cubicBezTo>
                  <a:cubicBezTo>
                    <a:pt x="316457" y="64719"/>
                    <a:pt x="307937" y="56199"/>
                    <a:pt x="297437" y="56199"/>
                  </a:cubicBezTo>
                  <a:close/>
                  <a:moveTo>
                    <a:pt x="227580" y="56199"/>
                  </a:moveTo>
                  <a:cubicBezTo>
                    <a:pt x="217081" y="56199"/>
                    <a:pt x="208561" y="64719"/>
                    <a:pt x="208561" y="75218"/>
                  </a:cubicBezTo>
                  <a:cubicBezTo>
                    <a:pt x="208561" y="85728"/>
                    <a:pt x="217081" y="94238"/>
                    <a:pt x="227580" y="94238"/>
                  </a:cubicBezTo>
                  <a:cubicBezTo>
                    <a:pt x="238080" y="94238"/>
                    <a:pt x="246600" y="85728"/>
                    <a:pt x="246600" y="75218"/>
                  </a:cubicBezTo>
                  <a:cubicBezTo>
                    <a:pt x="246600" y="64719"/>
                    <a:pt x="238080" y="56199"/>
                    <a:pt x="227580" y="5619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8" name="Freeform: Shape 13367">
              <a:extLst>
                <a:ext uri="{FF2B5EF4-FFF2-40B4-BE49-F238E27FC236}">
                  <a16:creationId xmlns:a16="http://schemas.microsoft.com/office/drawing/2014/main" id="{8344BF1C-6BEB-4867-A149-B5E5B25B65DC}"/>
                </a:ext>
              </a:extLst>
            </p:cNvPr>
            <p:cNvSpPr/>
            <p:nvPr/>
          </p:nvSpPr>
          <p:spPr bwMode="ltGray">
            <a:xfrm>
              <a:off x="4050056" y="2825680"/>
              <a:ext cx="51566" cy="51566"/>
            </a:xfrm>
            <a:custGeom>
              <a:avLst/>
              <a:gdLst>
                <a:gd name="connsiteX0" fmla="*/ 26026 w 51565"/>
                <a:gd name="connsiteY0" fmla="*/ 45045 h 51565"/>
                <a:gd name="connsiteX1" fmla="*/ 7006 w 51565"/>
                <a:gd name="connsiteY1" fmla="*/ 26026 h 51565"/>
                <a:gd name="connsiteX2" fmla="*/ 8651 w 51565"/>
                <a:gd name="connsiteY2" fmla="*/ 18282 h 51565"/>
                <a:gd name="connsiteX3" fmla="*/ 25335 w 51565"/>
                <a:gd name="connsiteY3" fmla="*/ 7016 h 51565"/>
                <a:gd name="connsiteX4" fmla="*/ 26026 w 51565"/>
                <a:gd name="connsiteY4" fmla="*/ 7006 h 51565"/>
                <a:gd name="connsiteX5" fmla="*/ 45055 w 51565"/>
                <a:gd name="connsiteY5" fmla="*/ 26026 h 51565"/>
                <a:gd name="connsiteX6" fmla="*/ 26026 w 51565"/>
                <a:gd name="connsiteY6" fmla="*/ 45045 h 5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51565">
                  <a:moveTo>
                    <a:pt x="26026" y="45045"/>
                  </a:moveTo>
                  <a:cubicBezTo>
                    <a:pt x="15526" y="45045"/>
                    <a:pt x="7006" y="36535"/>
                    <a:pt x="7006" y="26026"/>
                  </a:cubicBezTo>
                  <a:cubicBezTo>
                    <a:pt x="7006" y="23270"/>
                    <a:pt x="7595" y="20645"/>
                    <a:pt x="8651" y="18282"/>
                  </a:cubicBezTo>
                  <a:cubicBezTo>
                    <a:pt x="14087" y="14358"/>
                    <a:pt x="19646" y="10603"/>
                    <a:pt x="25335" y="7016"/>
                  </a:cubicBezTo>
                  <a:cubicBezTo>
                    <a:pt x="25559" y="7016"/>
                    <a:pt x="25792" y="7006"/>
                    <a:pt x="26026" y="7006"/>
                  </a:cubicBezTo>
                  <a:cubicBezTo>
                    <a:pt x="36535" y="7006"/>
                    <a:pt x="45055" y="15526"/>
                    <a:pt x="45055" y="26026"/>
                  </a:cubicBezTo>
                  <a:cubicBezTo>
                    <a:pt x="45055" y="36535"/>
                    <a:pt x="3653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9" name="Freeform: Shape 13368">
              <a:extLst>
                <a:ext uri="{FF2B5EF4-FFF2-40B4-BE49-F238E27FC236}">
                  <a16:creationId xmlns:a16="http://schemas.microsoft.com/office/drawing/2014/main" id="{353450B1-037A-463E-93A9-204F588D3F15}"/>
                </a:ext>
              </a:extLst>
            </p:cNvPr>
            <p:cNvSpPr/>
            <p:nvPr/>
          </p:nvSpPr>
          <p:spPr bwMode="ltGray">
            <a:xfrm>
              <a:off x="4119913"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26" y="45045"/>
                    <a:pt x="7006" y="36535"/>
                    <a:pt x="7006" y="26026"/>
                  </a:cubicBezTo>
                  <a:cubicBezTo>
                    <a:pt x="7006" y="15526"/>
                    <a:pt x="1552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0" name="Freeform: Shape 13369">
              <a:extLst>
                <a:ext uri="{FF2B5EF4-FFF2-40B4-BE49-F238E27FC236}">
                  <a16:creationId xmlns:a16="http://schemas.microsoft.com/office/drawing/2014/main" id="{B61AE524-7871-4E1A-B6C5-BEC6D5344BC0}"/>
                </a:ext>
              </a:extLst>
            </p:cNvPr>
            <p:cNvSpPr/>
            <p:nvPr/>
          </p:nvSpPr>
          <p:spPr bwMode="ltGray">
            <a:xfrm>
              <a:off x="4189770"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1" name="Freeform: Shape 13370">
              <a:extLst>
                <a:ext uri="{FF2B5EF4-FFF2-40B4-BE49-F238E27FC236}">
                  <a16:creationId xmlns:a16="http://schemas.microsoft.com/office/drawing/2014/main" id="{E61EEAB4-D2A5-4AA3-B09A-915DF29011D6}"/>
                </a:ext>
              </a:extLst>
            </p:cNvPr>
            <p:cNvSpPr/>
            <p:nvPr/>
          </p:nvSpPr>
          <p:spPr bwMode="ltGray">
            <a:xfrm>
              <a:off x="4259626"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6" y="7006"/>
                    <a:pt x="45045" y="15526"/>
                    <a:pt x="45045" y="26026"/>
                  </a:cubicBezTo>
                  <a:cubicBezTo>
                    <a:pt x="45045" y="36535"/>
                    <a:pt x="36526"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2" name="Freeform: Shape 13371">
              <a:extLst>
                <a:ext uri="{FF2B5EF4-FFF2-40B4-BE49-F238E27FC236}">
                  <a16:creationId xmlns:a16="http://schemas.microsoft.com/office/drawing/2014/main" id="{5F500D42-2782-4F01-A8D3-0E688767F665}"/>
                </a:ext>
              </a:extLst>
            </p:cNvPr>
            <p:cNvSpPr/>
            <p:nvPr/>
          </p:nvSpPr>
          <p:spPr bwMode="ltGray">
            <a:xfrm>
              <a:off x="3969083" y="2849716"/>
              <a:ext cx="82953" cy="87437"/>
            </a:xfrm>
            <a:custGeom>
              <a:avLst/>
              <a:gdLst>
                <a:gd name="connsiteX0" fmla="*/ 7006 w 82953"/>
                <a:gd name="connsiteY0" fmla="*/ 81422 h 87437"/>
                <a:gd name="connsiteX1" fmla="*/ 27894 w 82953"/>
                <a:gd name="connsiteY1" fmla="*/ 52565 h 87437"/>
                <a:gd name="connsiteX2" fmla="*/ 73453 w 82953"/>
                <a:gd name="connsiteY2" fmla="*/ 7006 h 87437"/>
                <a:gd name="connsiteX3" fmla="*/ 77442 w 82953"/>
                <a:gd name="connsiteY3" fmla="*/ 10986 h 87437"/>
                <a:gd name="connsiteX4" fmla="*/ 7006 w 82953"/>
                <a:gd name="connsiteY4" fmla="*/ 81422 h 87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87437">
                  <a:moveTo>
                    <a:pt x="7006" y="81422"/>
                  </a:moveTo>
                  <a:cubicBezTo>
                    <a:pt x="13443" y="71407"/>
                    <a:pt x="20421" y="61776"/>
                    <a:pt x="27894" y="52565"/>
                  </a:cubicBezTo>
                  <a:lnTo>
                    <a:pt x="73453" y="7006"/>
                  </a:lnTo>
                  <a:lnTo>
                    <a:pt x="77442" y="10986"/>
                  </a:lnTo>
                  <a:lnTo>
                    <a:pt x="7006" y="81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3" name="Freeform: Shape 13372">
              <a:extLst>
                <a:ext uri="{FF2B5EF4-FFF2-40B4-BE49-F238E27FC236}">
                  <a16:creationId xmlns:a16="http://schemas.microsoft.com/office/drawing/2014/main" id="{6114D7B7-92F2-4ACF-A9EB-E20F84463FE0}"/>
                </a:ext>
              </a:extLst>
            </p:cNvPr>
            <p:cNvSpPr/>
            <p:nvPr/>
          </p:nvSpPr>
          <p:spPr bwMode="ltGray">
            <a:xfrm>
              <a:off x="4004862" y="3315825"/>
              <a:ext cx="482027" cy="29146"/>
            </a:xfrm>
            <a:custGeom>
              <a:avLst/>
              <a:gdLst>
                <a:gd name="connsiteX0" fmla="*/ 458038 w 482027"/>
                <a:gd name="connsiteY0" fmla="*/ 23887 h 29145"/>
                <a:gd name="connsiteX1" fmla="*/ 24017 w 482027"/>
                <a:gd name="connsiteY1" fmla="*/ 23887 h 29145"/>
                <a:gd name="connsiteX2" fmla="*/ 7006 w 482027"/>
                <a:gd name="connsiteY2" fmla="*/ 7006 h 29145"/>
                <a:gd name="connsiteX3" fmla="*/ 174352 w 482027"/>
                <a:gd name="connsiteY3" fmla="*/ 7006 h 29145"/>
                <a:gd name="connsiteX4" fmla="*/ 241023 w 482027"/>
                <a:gd name="connsiteY4" fmla="*/ 16918 h 29145"/>
                <a:gd name="connsiteX5" fmla="*/ 307694 w 482027"/>
                <a:gd name="connsiteY5" fmla="*/ 7006 h 29145"/>
                <a:gd name="connsiteX6" fmla="*/ 475049 w 482027"/>
                <a:gd name="connsiteY6" fmla="*/ 7006 h 29145"/>
                <a:gd name="connsiteX7" fmla="*/ 458038 w 482027"/>
                <a:gd name="connsiteY7" fmla="*/ 23887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027" h="29145">
                  <a:moveTo>
                    <a:pt x="458038" y="23887"/>
                  </a:moveTo>
                  <a:lnTo>
                    <a:pt x="24017" y="23887"/>
                  </a:lnTo>
                  <a:cubicBezTo>
                    <a:pt x="18141" y="18478"/>
                    <a:pt x="12462" y="12835"/>
                    <a:pt x="7006" y="7006"/>
                  </a:cubicBezTo>
                  <a:lnTo>
                    <a:pt x="174352" y="7006"/>
                  </a:lnTo>
                  <a:cubicBezTo>
                    <a:pt x="195455" y="13452"/>
                    <a:pt x="217837" y="16918"/>
                    <a:pt x="241023" y="16918"/>
                  </a:cubicBezTo>
                  <a:cubicBezTo>
                    <a:pt x="264209" y="16918"/>
                    <a:pt x="286591" y="13452"/>
                    <a:pt x="307694" y="7006"/>
                  </a:cubicBezTo>
                  <a:lnTo>
                    <a:pt x="475049" y="7006"/>
                  </a:lnTo>
                  <a:cubicBezTo>
                    <a:pt x="469594" y="12835"/>
                    <a:pt x="463914" y="18478"/>
                    <a:pt x="458038" y="238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4" name="Freeform: Shape 13373">
              <a:extLst>
                <a:ext uri="{FF2B5EF4-FFF2-40B4-BE49-F238E27FC236}">
                  <a16:creationId xmlns:a16="http://schemas.microsoft.com/office/drawing/2014/main" id="{EEDAF40D-0DD6-48FB-8358-B6B263A6201C}"/>
                </a:ext>
              </a:extLst>
            </p:cNvPr>
            <p:cNvSpPr/>
            <p:nvPr/>
          </p:nvSpPr>
          <p:spPr bwMode="ltGray">
            <a:xfrm>
              <a:off x="4465534" y="3122127"/>
              <a:ext cx="42598" cy="17936"/>
            </a:xfrm>
            <a:custGeom>
              <a:avLst/>
              <a:gdLst>
                <a:gd name="connsiteX0" fmla="*/ 36227 w 42597"/>
                <a:gd name="connsiteY0" fmla="*/ 12639 h 17935"/>
                <a:gd name="connsiteX1" fmla="*/ 7006 w 42597"/>
                <a:gd name="connsiteY1" fmla="*/ 12639 h 17935"/>
                <a:gd name="connsiteX2" fmla="*/ 7698 w 42597"/>
                <a:gd name="connsiteY2" fmla="*/ 7006 h 17935"/>
                <a:gd name="connsiteX3" fmla="*/ 36227 w 42597"/>
                <a:gd name="connsiteY3" fmla="*/ 7006 h 17935"/>
                <a:gd name="connsiteX4" fmla="*/ 36227 w 42597"/>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17935">
                  <a:moveTo>
                    <a:pt x="36227" y="12639"/>
                  </a:moveTo>
                  <a:lnTo>
                    <a:pt x="7006" y="12639"/>
                  </a:lnTo>
                  <a:cubicBezTo>
                    <a:pt x="7259" y="10771"/>
                    <a:pt x="7492" y="8884"/>
                    <a:pt x="7698" y="7006"/>
                  </a:cubicBezTo>
                  <a:lnTo>
                    <a:pt x="36227" y="7006"/>
                  </a:lnTo>
                  <a:lnTo>
                    <a:pt x="36227"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5" name="Freeform: Shape 13374">
              <a:extLst>
                <a:ext uri="{FF2B5EF4-FFF2-40B4-BE49-F238E27FC236}">
                  <a16:creationId xmlns:a16="http://schemas.microsoft.com/office/drawing/2014/main" id="{D75F7643-8B49-488B-BC61-3449A920961B}"/>
                </a:ext>
              </a:extLst>
            </p:cNvPr>
            <p:cNvSpPr/>
            <p:nvPr/>
          </p:nvSpPr>
          <p:spPr bwMode="ltGray">
            <a:xfrm>
              <a:off x="3919330" y="3122127"/>
              <a:ext cx="47082" cy="17936"/>
            </a:xfrm>
            <a:custGeom>
              <a:avLst/>
              <a:gdLst>
                <a:gd name="connsiteX0" fmla="*/ 42140 w 47081"/>
                <a:gd name="connsiteY0" fmla="*/ 12639 h 17935"/>
                <a:gd name="connsiteX1" fmla="*/ 7492 w 47081"/>
                <a:gd name="connsiteY1" fmla="*/ 12639 h 17935"/>
                <a:gd name="connsiteX2" fmla="*/ 7006 w 47081"/>
                <a:gd name="connsiteY2" fmla="*/ 7006 h 17935"/>
                <a:gd name="connsiteX3" fmla="*/ 42140 w 47081"/>
                <a:gd name="connsiteY3" fmla="*/ 7006 h 17935"/>
                <a:gd name="connsiteX4" fmla="*/ 42140 w 47081"/>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17935">
                  <a:moveTo>
                    <a:pt x="42140" y="12639"/>
                  </a:moveTo>
                  <a:lnTo>
                    <a:pt x="7492" y="12639"/>
                  </a:lnTo>
                  <a:cubicBezTo>
                    <a:pt x="7314" y="10761"/>
                    <a:pt x="7156" y="8893"/>
                    <a:pt x="7006" y="7006"/>
                  </a:cubicBezTo>
                  <a:lnTo>
                    <a:pt x="42140" y="7006"/>
                  </a:lnTo>
                  <a:lnTo>
                    <a:pt x="42140"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6" name="Freeform: Shape 13375">
              <a:extLst>
                <a:ext uri="{FF2B5EF4-FFF2-40B4-BE49-F238E27FC236}">
                  <a16:creationId xmlns:a16="http://schemas.microsoft.com/office/drawing/2014/main" id="{1EE62D92-C13E-4544-98C6-EB5B35F91B1F}"/>
                </a:ext>
              </a:extLst>
            </p:cNvPr>
            <p:cNvSpPr/>
            <p:nvPr/>
          </p:nvSpPr>
          <p:spPr bwMode="ltGray">
            <a:xfrm>
              <a:off x="578618" y="2372929"/>
              <a:ext cx="2674690" cy="304910"/>
            </a:xfrm>
            <a:custGeom>
              <a:avLst/>
              <a:gdLst>
                <a:gd name="connsiteX0" fmla="*/ 2375125 w 2674689"/>
                <a:gd name="connsiteY0" fmla="*/ 299660 h 304910"/>
                <a:gd name="connsiteX1" fmla="*/ 1962786 w 2674689"/>
                <a:gd name="connsiteY1" fmla="*/ 299660 h 304910"/>
                <a:gd name="connsiteX2" fmla="*/ 1921048 w 2674689"/>
                <a:gd name="connsiteY2" fmla="*/ 227366 h 304910"/>
                <a:gd name="connsiteX3" fmla="*/ 1475518 w 2674689"/>
                <a:gd name="connsiteY3" fmla="*/ 227366 h 304910"/>
                <a:gd name="connsiteX4" fmla="*/ 1433780 w 2674689"/>
                <a:gd name="connsiteY4" fmla="*/ 299660 h 304910"/>
                <a:gd name="connsiteX5" fmla="*/ 691485 w 2674689"/>
                <a:gd name="connsiteY5" fmla="*/ 299660 h 304910"/>
                <a:gd name="connsiteX6" fmla="*/ 569344 w 2674689"/>
                <a:gd name="connsiteY6" fmla="*/ 235708 h 304910"/>
                <a:gd name="connsiteX7" fmla="*/ 447193 w 2674689"/>
                <a:gd name="connsiteY7" fmla="*/ 299660 h 304910"/>
                <a:gd name="connsiteX8" fmla="*/ 7006 w 2674689"/>
                <a:gd name="connsiteY8" fmla="*/ 299660 h 304910"/>
                <a:gd name="connsiteX9" fmla="*/ 121777 w 2674689"/>
                <a:gd name="connsiteY9" fmla="*/ 184889 h 304910"/>
                <a:gd name="connsiteX10" fmla="*/ 2327585 w 2674689"/>
                <a:gd name="connsiteY10" fmla="*/ 184889 h 304910"/>
                <a:gd name="connsiteX11" fmla="*/ 2481825 w 2674689"/>
                <a:gd name="connsiteY11" fmla="*/ 30650 h 304910"/>
                <a:gd name="connsiteX12" fmla="*/ 2535231 w 2674689"/>
                <a:gd name="connsiteY12" fmla="*/ 30650 h 304910"/>
                <a:gd name="connsiteX13" fmla="*/ 2558875 w 2674689"/>
                <a:gd name="connsiteY13" fmla="*/ 7006 h 304910"/>
                <a:gd name="connsiteX14" fmla="*/ 2667770 w 2674689"/>
                <a:gd name="connsiteY14" fmla="*/ 7006 h 304910"/>
                <a:gd name="connsiteX15" fmla="*/ 2375125 w 2674689"/>
                <a:gd name="connsiteY15" fmla="*/ 299660 h 304910"/>
                <a:gd name="connsiteX16" fmla="*/ 1943514 w 2674689"/>
                <a:gd name="connsiteY16" fmla="*/ 299660 h 304910"/>
                <a:gd name="connsiteX17" fmla="*/ 1453042 w 2674689"/>
                <a:gd name="connsiteY17" fmla="*/ 299660 h 304910"/>
                <a:gd name="connsiteX18" fmla="*/ 1485149 w 2674689"/>
                <a:gd name="connsiteY18" fmla="*/ 244050 h 304910"/>
                <a:gd name="connsiteX19" fmla="*/ 1911407 w 2674689"/>
                <a:gd name="connsiteY19" fmla="*/ 244050 h 304910"/>
                <a:gd name="connsiteX20" fmla="*/ 1943514 w 2674689"/>
                <a:gd name="connsiteY20" fmla="*/ 299660 h 304910"/>
                <a:gd name="connsiteX21" fmla="*/ 655025 w 2674689"/>
                <a:gd name="connsiteY21" fmla="*/ 299660 h 304910"/>
                <a:gd name="connsiteX22" fmla="*/ 483653 w 2674689"/>
                <a:gd name="connsiteY22" fmla="*/ 299660 h 304910"/>
                <a:gd name="connsiteX23" fmla="*/ 569344 w 2674689"/>
                <a:gd name="connsiteY23" fmla="*/ 263845 h 304910"/>
                <a:gd name="connsiteX24" fmla="*/ 655025 w 2674689"/>
                <a:gd name="connsiteY24" fmla="*/ 299660 h 30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74689" h="304910">
                  <a:moveTo>
                    <a:pt x="2375125" y="299660"/>
                  </a:moveTo>
                  <a:lnTo>
                    <a:pt x="1962786" y="299660"/>
                  </a:lnTo>
                  <a:lnTo>
                    <a:pt x="1921048" y="227366"/>
                  </a:lnTo>
                  <a:lnTo>
                    <a:pt x="1475518" y="227366"/>
                  </a:lnTo>
                  <a:lnTo>
                    <a:pt x="1433780" y="299660"/>
                  </a:lnTo>
                  <a:lnTo>
                    <a:pt x="691485" y="299660"/>
                  </a:lnTo>
                  <a:cubicBezTo>
                    <a:pt x="664591" y="261033"/>
                    <a:pt x="619872" y="235708"/>
                    <a:pt x="569344" y="235708"/>
                  </a:cubicBezTo>
                  <a:cubicBezTo>
                    <a:pt x="518805" y="235708"/>
                    <a:pt x="474087" y="261033"/>
                    <a:pt x="447193" y="299660"/>
                  </a:cubicBezTo>
                  <a:lnTo>
                    <a:pt x="7006" y="299660"/>
                  </a:lnTo>
                  <a:lnTo>
                    <a:pt x="121777" y="184889"/>
                  </a:lnTo>
                  <a:lnTo>
                    <a:pt x="2327585" y="184889"/>
                  </a:lnTo>
                  <a:lnTo>
                    <a:pt x="2481825" y="30650"/>
                  </a:lnTo>
                  <a:lnTo>
                    <a:pt x="2535231" y="30650"/>
                  </a:lnTo>
                  <a:lnTo>
                    <a:pt x="2558875" y="7006"/>
                  </a:lnTo>
                  <a:lnTo>
                    <a:pt x="2667770" y="7006"/>
                  </a:lnTo>
                  <a:lnTo>
                    <a:pt x="2375125" y="299660"/>
                  </a:lnTo>
                  <a:close/>
                  <a:moveTo>
                    <a:pt x="1943514" y="299660"/>
                  </a:moveTo>
                  <a:lnTo>
                    <a:pt x="1453042" y="299660"/>
                  </a:lnTo>
                  <a:lnTo>
                    <a:pt x="1485149" y="244050"/>
                  </a:lnTo>
                  <a:lnTo>
                    <a:pt x="1911407" y="244050"/>
                  </a:lnTo>
                  <a:lnTo>
                    <a:pt x="1943514" y="299660"/>
                  </a:lnTo>
                  <a:close/>
                  <a:moveTo>
                    <a:pt x="655025" y="299660"/>
                  </a:moveTo>
                  <a:lnTo>
                    <a:pt x="483653" y="299660"/>
                  </a:lnTo>
                  <a:cubicBezTo>
                    <a:pt x="505531" y="277558"/>
                    <a:pt x="535863" y="263845"/>
                    <a:pt x="569344" y="263845"/>
                  </a:cubicBezTo>
                  <a:cubicBezTo>
                    <a:pt x="602815" y="263845"/>
                    <a:pt x="633156" y="277558"/>
                    <a:pt x="655025" y="2996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7" name="Freeform: Shape 13376">
              <a:extLst>
                <a:ext uri="{FF2B5EF4-FFF2-40B4-BE49-F238E27FC236}">
                  <a16:creationId xmlns:a16="http://schemas.microsoft.com/office/drawing/2014/main" id="{1DD531D3-AA17-4197-A220-38C03F891F4B}"/>
                </a:ext>
              </a:extLst>
            </p:cNvPr>
            <p:cNvSpPr/>
            <p:nvPr/>
          </p:nvSpPr>
          <p:spPr bwMode="ltGray">
            <a:xfrm>
              <a:off x="2005391" y="2593288"/>
              <a:ext cx="542561" cy="85195"/>
            </a:xfrm>
            <a:custGeom>
              <a:avLst/>
              <a:gdLst>
                <a:gd name="connsiteX0" fmla="*/ 536013 w 542560"/>
                <a:gd name="connsiteY0" fmla="*/ 79301 h 85195"/>
                <a:gd name="connsiteX1" fmla="*/ 516741 w 542560"/>
                <a:gd name="connsiteY1" fmla="*/ 79301 h 85195"/>
                <a:gd name="connsiteX2" fmla="*/ 484634 w 542560"/>
                <a:gd name="connsiteY2" fmla="*/ 23690 h 85195"/>
                <a:gd name="connsiteX3" fmla="*/ 58376 w 542560"/>
                <a:gd name="connsiteY3" fmla="*/ 23690 h 85195"/>
                <a:gd name="connsiteX4" fmla="*/ 26269 w 542560"/>
                <a:gd name="connsiteY4" fmla="*/ 79301 h 85195"/>
                <a:gd name="connsiteX5" fmla="*/ 7006 w 542560"/>
                <a:gd name="connsiteY5" fmla="*/ 79301 h 85195"/>
                <a:gd name="connsiteX6" fmla="*/ 48745 w 542560"/>
                <a:gd name="connsiteY6" fmla="*/ 7006 h 85195"/>
                <a:gd name="connsiteX7" fmla="*/ 494274 w 542560"/>
                <a:gd name="connsiteY7" fmla="*/ 7006 h 85195"/>
                <a:gd name="connsiteX8" fmla="*/ 536013 w 542560"/>
                <a:gd name="connsiteY8" fmla="*/ 79301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560" h="85195">
                  <a:moveTo>
                    <a:pt x="536013" y="79301"/>
                  </a:moveTo>
                  <a:lnTo>
                    <a:pt x="516741" y="79301"/>
                  </a:lnTo>
                  <a:lnTo>
                    <a:pt x="484634" y="23690"/>
                  </a:lnTo>
                  <a:lnTo>
                    <a:pt x="58376" y="23690"/>
                  </a:lnTo>
                  <a:lnTo>
                    <a:pt x="26269" y="79301"/>
                  </a:lnTo>
                  <a:lnTo>
                    <a:pt x="7006" y="79301"/>
                  </a:lnTo>
                  <a:lnTo>
                    <a:pt x="48745" y="7006"/>
                  </a:lnTo>
                  <a:lnTo>
                    <a:pt x="494274" y="7006"/>
                  </a:lnTo>
                  <a:lnTo>
                    <a:pt x="536013" y="7930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8" name="Freeform: Shape 13377">
              <a:extLst>
                <a:ext uri="{FF2B5EF4-FFF2-40B4-BE49-F238E27FC236}">
                  <a16:creationId xmlns:a16="http://schemas.microsoft.com/office/drawing/2014/main" id="{819B8437-E4A0-4C74-A40B-1B7AA88C28AF}"/>
                </a:ext>
              </a:extLst>
            </p:cNvPr>
            <p:cNvSpPr/>
            <p:nvPr/>
          </p:nvSpPr>
          <p:spPr bwMode="ltGray">
            <a:xfrm>
              <a:off x="1018804" y="2601630"/>
              <a:ext cx="257828" cy="76228"/>
            </a:xfrm>
            <a:custGeom>
              <a:avLst/>
              <a:gdLst>
                <a:gd name="connsiteX0" fmla="*/ 251299 w 257828"/>
                <a:gd name="connsiteY0" fmla="*/ 70959 h 76227"/>
                <a:gd name="connsiteX1" fmla="*/ 214839 w 257828"/>
                <a:gd name="connsiteY1" fmla="*/ 70959 h 76227"/>
                <a:gd name="connsiteX2" fmla="*/ 129157 w 257828"/>
                <a:gd name="connsiteY2" fmla="*/ 35143 h 76227"/>
                <a:gd name="connsiteX3" fmla="*/ 43467 w 257828"/>
                <a:gd name="connsiteY3" fmla="*/ 70959 h 76227"/>
                <a:gd name="connsiteX4" fmla="*/ 7006 w 257828"/>
                <a:gd name="connsiteY4" fmla="*/ 70959 h 76227"/>
                <a:gd name="connsiteX5" fmla="*/ 129157 w 257828"/>
                <a:gd name="connsiteY5" fmla="*/ 7006 h 76227"/>
                <a:gd name="connsiteX6" fmla="*/ 251299 w 257828"/>
                <a:gd name="connsiteY6" fmla="*/ 70959 h 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828" h="76227">
                  <a:moveTo>
                    <a:pt x="251299" y="70959"/>
                  </a:moveTo>
                  <a:lnTo>
                    <a:pt x="214839" y="70959"/>
                  </a:lnTo>
                  <a:cubicBezTo>
                    <a:pt x="192970" y="48857"/>
                    <a:pt x="162628" y="35143"/>
                    <a:pt x="129157" y="35143"/>
                  </a:cubicBezTo>
                  <a:cubicBezTo>
                    <a:pt x="95677" y="35143"/>
                    <a:pt x="65345" y="48857"/>
                    <a:pt x="43467" y="70959"/>
                  </a:cubicBezTo>
                  <a:lnTo>
                    <a:pt x="7006" y="70959"/>
                  </a:lnTo>
                  <a:cubicBezTo>
                    <a:pt x="33901" y="32331"/>
                    <a:pt x="78619" y="7006"/>
                    <a:pt x="129157" y="7006"/>
                  </a:cubicBezTo>
                  <a:cubicBezTo>
                    <a:pt x="179686" y="7006"/>
                    <a:pt x="224404" y="32331"/>
                    <a:pt x="251299" y="7095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9" name="Freeform: Shape 13378">
              <a:extLst>
                <a:ext uri="{FF2B5EF4-FFF2-40B4-BE49-F238E27FC236}">
                  <a16:creationId xmlns:a16="http://schemas.microsoft.com/office/drawing/2014/main" id="{154D122E-91B5-4DD2-A9F8-0DCA982FABEC}"/>
                </a:ext>
              </a:extLst>
            </p:cNvPr>
            <p:cNvSpPr/>
            <p:nvPr/>
          </p:nvSpPr>
          <p:spPr bwMode="ltGray">
            <a:xfrm>
              <a:off x="3061909" y="2372929"/>
              <a:ext cx="69502" cy="29146"/>
            </a:xfrm>
            <a:custGeom>
              <a:avLst/>
              <a:gdLst>
                <a:gd name="connsiteX0" fmla="*/ 48436 w 69501"/>
                <a:gd name="connsiteY0" fmla="*/ 22186 h 29145"/>
                <a:gd name="connsiteX1" fmla="*/ 7006 w 69501"/>
                <a:gd name="connsiteY1" fmla="*/ 22186 h 29145"/>
                <a:gd name="connsiteX2" fmla="*/ 22177 w 69501"/>
                <a:gd name="connsiteY2" fmla="*/ 7006 h 29145"/>
                <a:gd name="connsiteX3" fmla="*/ 63607 w 69501"/>
                <a:gd name="connsiteY3" fmla="*/ 7006 h 29145"/>
                <a:gd name="connsiteX4" fmla="*/ 48436 w 69501"/>
                <a:gd name="connsiteY4" fmla="*/ 221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9145">
                  <a:moveTo>
                    <a:pt x="48436" y="22186"/>
                  </a:moveTo>
                  <a:lnTo>
                    <a:pt x="7006" y="22186"/>
                  </a:lnTo>
                  <a:lnTo>
                    <a:pt x="22177" y="7006"/>
                  </a:lnTo>
                  <a:lnTo>
                    <a:pt x="63607" y="7006"/>
                  </a:lnTo>
                  <a:lnTo>
                    <a:pt x="48436" y="2218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0" name="Freeform: Shape 13379">
              <a:extLst>
                <a:ext uri="{FF2B5EF4-FFF2-40B4-BE49-F238E27FC236}">
                  <a16:creationId xmlns:a16="http://schemas.microsoft.com/office/drawing/2014/main" id="{4D300360-7DC5-4827-84D4-25100870E5BF}"/>
                </a:ext>
              </a:extLst>
            </p:cNvPr>
            <p:cNvSpPr/>
            <p:nvPr/>
          </p:nvSpPr>
          <p:spPr bwMode="ltGray">
            <a:xfrm>
              <a:off x="3053437" y="2372929"/>
              <a:ext cx="89679" cy="35872"/>
            </a:xfrm>
            <a:custGeom>
              <a:avLst/>
              <a:gdLst>
                <a:gd name="connsiteX0" fmla="*/ 60412 w 89679"/>
                <a:gd name="connsiteY0" fmla="*/ 30650 h 35871"/>
                <a:gd name="connsiteX1" fmla="*/ 7006 w 89679"/>
                <a:gd name="connsiteY1" fmla="*/ 30650 h 35871"/>
                <a:gd name="connsiteX2" fmla="*/ 15479 w 89679"/>
                <a:gd name="connsiteY2" fmla="*/ 22186 h 35871"/>
                <a:gd name="connsiteX3" fmla="*/ 56909 w 89679"/>
                <a:gd name="connsiteY3" fmla="*/ 22186 h 35871"/>
                <a:gd name="connsiteX4" fmla="*/ 72080 w 89679"/>
                <a:gd name="connsiteY4" fmla="*/ 7006 h 35871"/>
                <a:gd name="connsiteX5" fmla="*/ 84056 w 89679"/>
                <a:gd name="connsiteY5" fmla="*/ 7006 h 35871"/>
                <a:gd name="connsiteX6" fmla="*/ 60412 w 89679"/>
                <a:gd name="connsiteY6" fmla="*/ 30650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79" h="35871">
                  <a:moveTo>
                    <a:pt x="60412" y="30650"/>
                  </a:moveTo>
                  <a:lnTo>
                    <a:pt x="7006" y="30650"/>
                  </a:lnTo>
                  <a:lnTo>
                    <a:pt x="15479" y="22186"/>
                  </a:lnTo>
                  <a:lnTo>
                    <a:pt x="56909" y="22186"/>
                  </a:lnTo>
                  <a:lnTo>
                    <a:pt x="72080" y="7006"/>
                  </a:lnTo>
                  <a:lnTo>
                    <a:pt x="84056" y="7006"/>
                  </a:lnTo>
                  <a:lnTo>
                    <a:pt x="60412" y="3065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1" name="Freeform: Shape 13380">
              <a:extLst>
                <a:ext uri="{FF2B5EF4-FFF2-40B4-BE49-F238E27FC236}">
                  <a16:creationId xmlns:a16="http://schemas.microsoft.com/office/drawing/2014/main" id="{521CB059-D7E6-4CD2-866F-D5547DB5AA6B}"/>
                </a:ext>
              </a:extLst>
            </p:cNvPr>
            <p:cNvSpPr/>
            <p:nvPr/>
          </p:nvSpPr>
          <p:spPr bwMode="ltGray">
            <a:xfrm>
              <a:off x="-2860" y="2550812"/>
              <a:ext cx="701742" cy="127793"/>
            </a:xfrm>
            <a:custGeom>
              <a:avLst/>
              <a:gdLst>
                <a:gd name="connsiteX0" fmla="*/ 580525 w 701741"/>
                <a:gd name="connsiteY0" fmla="*/ 121777 h 127793"/>
                <a:gd name="connsiteX1" fmla="*/ 7006 w 701741"/>
                <a:gd name="connsiteY1" fmla="*/ 121777 h 127793"/>
                <a:gd name="connsiteX2" fmla="*/ 7006 w 701741"/>
                <a:gd name="connsiteY2" fmla="*/ 7006 h 127793"/>
                <a:gd name="connsiteX3" fmla="*/ 695287 w 701741"/>
                <a:gd name="connsiteY3" fmla="*/ 7006 h 127793"/>
                <a:gd name="connsiteX4" fmla="*/ 580525 w 701741"/>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741" h="127793">
                  <a:moveTo>
                    <a:pt x="580525" y="121777"/>
                  </a:moveTo>
                  <a:lnTo>
                    <a:pt x="7006" y="121777"/>
                  </a:lnTo>
                  <a:lnTo>
                    <a:pt x="7006" y="7006"/>
                  </a:lnTo>
                  <a:lnTo>
                    <a:pt x="695287" y="7006"/>
                  </a:lnTo>
                  <a:lnTo>
                    <a:pt x="580525" y="12177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2" name="Freeform: Shape 13381">
              <a:extLst>
                <a:ext uri="{FF2B5EF4-FFF2-40B4-BE49-F238E27FC236}">
                  <a16:creationId xmlns:a16="http://schemas.microsoft.com/office/drawing/2014/main" id="{618DDA9A-4E3F-453D-A856-4F7B4F4DE546}"/>
                </a:ext>
              </a:extLst>
            </p:cNvPr>
            <p:cNvSpPr/>
            <p:nvPr/>
          </p:nvSpPr>
          <p:spPr bwMode="ltGray">
            <a:xfrm>
              <a:off x="570659" y="2550812"/>
              <a:ext cx="134519" cy="127793"/>
            </a:xfrm>
            <a:custGeom>
              <a:avLst/>
              <a:gdLst>
                <a:gd name="connsiteX0" fmla="*/ 14965 w 134519"/>
                <a:gd name="connsiteY0" fmla="*/ 121777 h 127793"/>
                <a:gd name="connsiteX1" fmla="*/ 7006 w 134519"/>
                <a:gd name="connsiteY1" fmla="*/ 121777 h 127793"/>
                <a:gd name="connsiteX2" fmla="*/ 121768 w 134519"/>
                <a:gd name="connsiteY2" fmla="*/ 7006 h 127793"/>
                <a:gd name="connsiteX3" fmla="*/ 129736 w 134519"/>
                <a:gd name="connsiteY3" fmla="*/ 7006 h 127793"/>
                <a:gd name="connsiteX4" fmla="*/ 14965 w 134519"/>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27793">
                  <a:moveTo>
                    <a:pt x="14965" y="121777"/>
                  </a:moveTo>
                  <a:lnTo>
                    <a:pt x="7006" y="121777"/>
                  </a:lnTo>
                  <a:lnTo>
                    <a:pt x="121768" y="7006"/>
                  </a:lnTo>
                  <a:lnTo>
                    <a:pt x="129736" y="7006"/>
                  </a:lnTo>
                  <a:lnTo>
                    <a:pt x="14965" y="12177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3" name="Freeform: Shape 13382">
              <a:extLst>
                <a:ext uri="{FF2B5EF4-FFF2-40B4-BE49-F238E27FC236}">
                  <a16:creationId xmlns:a16="http://schemas.microsoft.com/office/drawing/2014/main" id="{63AA2DA8-84C5-4CD6-B25E-772B274DB0B7}"/>
                </a:ext>
              </a:extLst>
            </p:cNvPr>
            <p:cNvSpPr/>
            <p:nvPr/>
          </p:nvSpPr>
          <p:spPr bwMode="ltGray">
            <a:xfrm>
              <a:off x="3111504" y="2113839"/>
              <a:ext cx="791421" cy="237651"/>
            </a:xfrm>
            <a:custGeom>
              <a:avLst/>
              <a:gdLst>
                <a:gd name="connsiteX0" fmla="*/ 169317 w 791421"/>
                <a:gd name="connsiteY0" fmla="*/ 231672 h 237650"/>
                <a:gd name="connsiteX1" fmla="*/ 60412 w 791421"/>
                <a:gd name="connsiteY1" fmla="*/ 231672 h 237650"/>
                <a:gd name="connsiteX2" fmla="*/ 85233 w 791421"/>
                <a:gd name="connsiteY2" fmla="*/ 206851 h 237650"/>
                <a:gd name="connsiteX3" fmla="*/ 194128 w 791421"/>
                <a:gd name="connsiteY3" fmla="*/ 206851 h 237650"/>
                <a:gd name="connsiteX4" fmla="*/ 169317 w 791421"/>
                <a:gd name="connsiteY4" fmla="*/ 231672 h 237650"/>
                <a:gd name="connsiteX5" fmla="*/ 48446 w 791421"/>
                <a:gd name="connsiteY5" fmla="*/ 231672 h 237650"/>
                <a:gd name="connsiteX6" fmla="*/ 7006 w 791421"/>
                <a:gd name="connsiteY6" fmla="*/ 231672 h 237650"/>
                <a:gd name="connsiteX7" fmla="*/ 231672 w 791421"/>
                <a:gd name="connsiteY7" fmla="*/ 7006 h 237650"/>
                <a:gd name="connsiteX8" fmla="*/ 785126 w 791421"/>
                <a:gd name="connsiteY8" fmla="*/ 7006 h 237650"/>
                <a:gd name="connsiteX9" fmla="*/ 670364 w 791421"/>
                <a:gd name="connsiteY9" fmla="*/ 121768 h 237650"/>
                <a:gd name="connsiteX10" fmla="*/ 279212 w 791421"/>
                <a:gd name="connsiteY10" fmla="*/ 121768 h 237650"/>
                <a:gd name="connsiteX11" fmla="*/ 202592 w 791421"/>
                <a:gd name="connsiteY11" fmla="*/ 198388 h 237650"/>
                <a:gd name="connsiteX12" fmla="*/ 81721 w 791421"/>
                <a:gd name="connsiteY12" fmla="*/ 198388 h 237650"/>
                <a:gd name="connsiteX13" fmla="*/ 48446 w 791421"/>
                <a:gd name="connsiteY13" fmla="*/ 231672 h 23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1421" h="237650">
                  <a:moveTo>
                    <a:pt x="169317" y="231672"/>
                  </a:moveTo>
                  <a:lnTo>
                    <a:pt x="60412" y="231672"/>
                  </a:lnTo>
                  <a:lnTo>
                    <a:pt x="85233" y="206851"/>
                  </a:lnTo>
                  <a:lnTo>
                    <a:pt x="194128" y="206851"/>
                  </a:lnTo>
                  <a:lnTo>
                    <a:pt x="169317" y="231672"/>
                  </a:lnTo>
                  <a:close/>
                  <a:moveTo>
                    <a:pt x="48446" y="231672"/>
                  </a:moveTo>
                  <a:lnTo>
                    <a:pt x="7006" y="231672"/>
                  </a:lnTo>
                  <a:lnTo>
                    <a:pt x="231672" y="7006"/>
                  </a:lnTo>
                  <a:lnTo>
                    <a:pt x="785126" y="7006"/>
                  </a:lnTo>
                  <a:lnTo>
                    <a:pt x="670364" y="121768"/>
                  </a:lnTo>
                  <a:lnTo>
                    <a:pt x="279212" y="121768"/>
                  </a:lnTo>
                  <a:lnTo>
                    <a:pt x="202592" y="198388"/>
                  </a:lnTo>
                  <a:lnTo>
                    <a:pt x="81721" y="198388"/>
                  </a:lnTo>
                  <a:lnTo>
                    <a:pt x="48446" y="23167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4" name="Freeform: Shape 13383">
              <a:extLst>
                <a:ext uri="{FF2B5EF4-FFF2-40B4-BE49-F238E27FC236}">
                  <a16:creationId xmlns:a16="http://schemas.microsoft.com/office/drawing/2014/main" id="{C8CC7498-168D-437B-9DD5-574502937340}"/>
                </a:ext>
              </a:extLst>
            </p:cNvPr>
            <p:cNvSpPr/>
            <p:nvPr/>
          </p:nvSpPr>
          <p:spPr bwMode="ltGray">
            <a:xfrm>
              <a:off x="3152943" y="2305221"/>
              <a:ext cx="168149" cy="47082"/>
            </a:xfrm>
            <a:custGeom>
              <a:avLst/>
              <a:gdLst>
                <a:gd name="connsiteX0" fmla="*/ 18973 w 168148"/>
                <a:gd name="connsiteY0" fmla="*/ 40290 h 47081"/>
                <a:gd name="connsiteX1" fmla="*/ 7006 w 168148"/>
                <a:gd name="connsiteY1" fmla="*/ 40290 h 47081"/>
                <a:gd name="connsiteX2" fmla="*/ 40281 w 168148"/>
                <a:gd name="connsiteY2" fmla="*/ 7006 h 47081"/>
                <a:gd name="connsiteX3" fmla="*/ 161152 w 168148"/>
                <a:gd name="connsiteY3" fmla="*/ 7006 h 47081"/>
                <a:gd name="connsiteX4" fmla="*/ 152689 w 168148"/>
                <a:gd name="connsiteY4" fmla="*/ 15470 h 47081"/>
                <a:gd name="connsiteX5" fmla="*/ 43794 w 168148"/>
                <a:gd name="connsiteY5" fmla="*/ 15470 h 47081"/>
                <a:gd name="connsiteX6" fmla="*/ 18973 w 168148"/>
                <a:gd name="connsiteY6" fmla="*/ 4029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148" h="47081">
                  <a:moveTo>
                    <a:pt x="18973" y="40290"/>
                  </a:moveTo>
                  <a:lnTo>
                    <a:pt x="7006" y="40290"/>
                  </a:lnTo>
                  <a:lnTo>
                    <a:pt x="40281" y="7006"/>
                  </a:lnTo>
                  <a:lnTo>
                    <a:pt x="161152" y="7006"/>
                  </a:lnTo>
                  <a:lnTo>
                    <a:pt x="152689" y="15470"/>
                  </a:lnTo>
                  <a:lnTo>
                    <a:pt x="43794" y="15470"/>
                  </a:lnTo>
                  <a:lnTo>
                    <a:pt x="18973" y="402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5" name="Freeform: Shape 13384">
              <a:extLst>
                <a:ext uri="{FF2B5EF4-FFF2-40B4-BE49-F238E27FC236}">
                  <a16:creationId xmlns:a16="http://schemas.microsoft.com/office/drawing/2014/main" id="{2A4A8CC7-8CBD-47CF-B2D9-29212E8C0ABB}"/>
                </a:ext>
              </a:extLst>
            </p:cNvPr>
            <p:cNvSpPr/>
            <p:nvPr/>
          </p:nvSpPr>
          <p:spPr bwMode="ltGray">
            <a:xfrm>
              <a:off x="3791079" y="2113839"/>
              <a:ext cx="459607" cy="127793"/>
            </a:xfrm>
            <a:custGeom>
              <a:avLst/>
              <a:gdLst>
                <a:gd name="connsiteX0" fmla="*/ 454806 w 459607"/>
                <a:gd name="connsiteY0" fmla="*/ 121768 h 127793"/>
                <a:gd name="connsiteX1" fmla="*/ 7006 w 459607"/>
                <a:gd name="connsiteY1" fmla="*/ 121768 h 127793"/>
                <a:gd name="connsiteX2" fmla="*/ 121777 w 459607"/>
                <a:gd name="connsiteY2" fmla="*/ 7006 h 127793"/>
                <a:gd name="connsiteX3" fmla="*/ 454806 w 459607"/>
                <a:gd name="connsiteY3" fmla="*/ 7006 h 127793"/>
                <a:gd name="connsiteX4" fmla="*/ 454806 w 459607"/>
                <a:gd name="connsiteY4" fmla="*/ 121768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607" h="127793">
                  <a:moveTo>
                    <a:pt x="454806" y="121768"/>
                  </a:moveTo>
                  <a:lnTo>
                    <a:pt x="7006" y="121768"/>
                  </a:lnTo>
                  <a:lnTo>
                    <a:pt x="121777" y="7006"/>
                  </a:lnTo>
                  <a:lnTo>
                    <a:pt x="454806" y="7006"/>
                  </a:lnTo>
                  <a:lnTo>
                    <a:pt x="454806" y="1217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6" name="Freeform: Shape 13385">
              <a:extLst>
                <a:ext uri="{FF2B5EF4-FFF2-40B4-BE49-F238E27FC236}">
                  <a16:creationId xmlns:a16="http://schemas.microsoft.com/office/drawing/2014/main" id="{B19B7CB1-BCFF-4B6A-915D-B52BAC4BA615}"/>
                </a:ext>
              </a:extLst>
            </p:cNvPr>
            <p:cNvSpPr/>
            <p:nvPr/>
          </p:nvSpPr>
          <p:spPr bwMode="ltGray">
            <a:xfrm>
              <a:off x="5673153" y="1612773"/>
              <a:ext cx="2008820" cy="627756"/>
            </a:xfrm>
            <a:custGeom>
              <a:avLst/>
              <a:gdLst>
                <a:gd name="connsiteX0" fmla="*/ 822605 w 2008819"/>
                <a:gd name="connsiteY0" fmla="*/ 622834 h 627756"/>
                <a:gd name="connsiteX1" fmla="*/ 7006 w 2008819"/>
                <a:gd name="connsiteY1" fmla="*/ 622834 h 627756"/>
                <a:gd name="connsiteX2" fmla="*/ 7006 w 2008819"/>
                <a:gd name="connsiteY2" fmla="*/ 508072 h 627756"/>
                <a:gd name="connsiteX3" fmla="*/ 775065 w 2008819"/>
                <a:gd name="connsiteY3" fmla="*/ 508072 h 627756"/>
                <a:gd name="connsiteX4" fmla="*/ 1276121 w 2008819"/>
                <a:gd name="connsiteY4" fmla="*/ 7006 h 627756"/>
                <a:gd name="connsiteX5" fmla="*/ 2003777 w 2008819"/>
                <a:gd name="connsiteY5" fmla="*/ 7006 h 627756"/>
                <a:gd name="connsiteX6" fmla="*/ 2003777 w 2008819"/>
                <a:gd name="connsiteY6" fmla="*/ 121768 h 627756"/>
                <a:gd name="connsiteX7" fmla="*/ 1323670 w 2008819"/>
                <a:gd name="connsiteY7" fmla="*/ 121768 h 627756"/>
                <a:gd name="connsiteX8" fmla="*/ 822605 w 2008819"/>
                <a:gd name="connsiteY8" fmla="*/ 622834 h 62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819" h="627756">
                  <a:moveTo>
                    <a:pt x="822605" y="622834"/>
                  </a:moveTo>
                  <a:lnTo>
                    <a:pt x="7006" y="622834"/>
                  </a:lnTo>
                  <a:lnTo>
                    <a:pt x="7006" y="508072"/>
                  </a:lnTo>
                  <a:lnTo>
                    <a:pt x="775065" y="508072"/>
                  </a:lnTo>
                  <a:lnTo>
                    <a:pt x="1276121" y="7006"/>
                  </a:lnTo>
                  <a:lnTo>
                    <a:pt x="2003777" y="7006"/>
                  </a:lnTo>
                  <a:lnTo>
                    <a:pt x="2003777" y="121768"/>
                  </a:lnTo>
                  <a:lnTo>
                    <a:pt x="1323670" y="121768"/>
                  </a:lnTo>
                  <a:lnTo>
                    <a:pt x="822605" y="622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7" name="Freeform: Shape 13386">
              <a:extLst>
                <a:ext uri="{FF2B5EF4-FFF2-40B4-BE49-F238E27FC236}">
                  <a16:creationId xmlns:a16="http://schemas.microsoft.com/office/drawing/2014/main" id="{5C8E0ED5-4229-48CF-A2AD-CF00A1B8D2EC}"/>
                </a:ext>
              </a:extLst>
            </p:cNvPr>
            <p:cNvSpPr/>
            <p:nvPr/>
          </p:nvSpPr>
          <p:spPr bwMode="ltGray">
            <a:xfrm>
              <a:off x="8496180" y="1641471"/>
              <a:ext cx="838503" cy="69502"/>
            </a:xfrm>
            <a:custGeom>
              <a:avLst/>
              <a:gdLst>
                <a:gd name="connsiteX0" fmla="*/ 7006 w 838502"/>
                <a:gd name="connsiteY0" fmla="*/ 7006 h 69501"/>
                <a:gd name="connsiteX1" fmla="*/ 833263 w 838502"/>
                <a:gd name="connsiteY1" fmla="*/ 7006 h 69501"/>
                <a:gd name="connsiteX2" fmla="*/ 833263 w 838502"/>
                <a:gd name="connsiteY2" fmla="*/ 64382 h 69501"/>
                <a:gd name="connsiteX3" fmla="*/ 7006 w 838502"/>
                <a:gd name="connsiteY3" fmla="*/ 64382 h 69501"/>
              </a:gdLst>
              <a:ahLst/>
              <a:cxnLst>
                <a:cxn ang="0">
                  <a:pos x="connsiteX0" y="connsiteY0"/>
                </a:cxn>
                <a:cxn ang="0">
                  <a:pos x="connsiteX1" y="connsiteY1"/>
                </a:cxn>
                <a:cxn ang="0">
                  <a:pos x="connsiteX2" y="connsiteY2"/>
                </a:cxn>
                <a:cxn ang="0">
                  <a:pos x="connsiteX3" y="connsiteY3"/>
                </a:cxn>
              </a:cxnLst>
              <a:rect l="l" t="t" r="r" b="b"/>
              <a:pathLst>
                <a:path w="838502" h="69501">
                  <a:moveTo>
                    <a:pt x="7006" y="7006"/>
                  </a:moveTo>
                  <a:lnTo>
                    <a:pt x="833263" y="7006"/>
                  </a:lnTo>
                  <a:lnTo>
                    <a:pt x="833263" y="64382"/>
                  </a:lnTo>
                  <a:lnTo>
                    <a:pt x="7006" y="6438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8" name="Freeform: Shape 13387">
              <a:extLst>
                <a:ext uri="{FF2B5EF4-FFF2-40B4-BE49-F238E27FC236}">
                  <a16:creationId xmlns:a16="http://schemas.microsoft.com/office/drawing/2014/main" id="{1F458A76-3D5E-4E82-9DE6-A72E798188F3}"/>
                </a:ext>
              </a:extLst>
            </p:cNvPr>
            <p:cNvSpPr/>
            <p:nvPr/>
          </p:nvSpPr>
          <p:spPr bwMode="ltGray">
            <a:xfrm>
              <a:off x="4308688" y="3988832"/>
              <a:ext cx="1618714" cy="69502"/>
            </a:xfrm>
            <a:custGeom>
              <a:avLst/>
              <a:gdLst>
                <a:gd name="connsiteX0" fmla="*/ 1612466 w 1618714"/>
                <a:gd name="connsiteY0" fmla="*/ 64392 h 69501"/>
                <a:gd name="connsiteX1" fmla="*/ 1095296 w 1618714"/>
                <a:gd name="connsiteY1" fmla="*/ 64392 h 69501"/>
                <a:gd name="connsiteX2" fmla="*/ 1062161 w 1618714"/>
                <a:gd name="connsiteY2" fmla="*/ 7006 h 69501"/>
                <a:gd name="connsiteX3" fmla="*/ 1612466 w 1618714"/>
                <a:gd name="connsiteY3" fmla="*/ 7006 h 69501"/>
                <a:gd name="connsiteX4" fmla="*/ 1612466 w 1618714"/>
                <a:gd name="connsiteY4" fmla="*/ 64392 h 69501"/>
                <a:gd name="connsiteX5" fmla="*/ 1049802 w 1618714"/>
                <a:gd name="connsiteY5" fmla="*/ 64392 h 69501"/>
                <a:gd name="connsiteX6" fmla="*/ 610802 w 1618714"/>
                <a:gd name="connsiteY6" fmla="*/ 64392 h 69501"/>
                <a:gd name="connsiteX7" fmla="*/ 647495 w 1618714"/>
                <a:gd name="connsiteY7" fmla="*/ 7324 h 69501"/>
                <a:gd name="connsiteX8" fmla="*/ 647495 w 1618714"/>
                <a:gd name="connsiteY8" fmla="*/ 7006 h 69501"/>
                <a:gd name="connsiteX9" fmla="*/ 1016676 w 1618714"/>
                <a:gd name="connsiteY9" fmla="*/ 7006 h 69501"/>
                <a:gd name="connsiteX10" fmla="*/ 1049802 w 1618714"/>
                <a:gd name="connsiteY10" fmla="*/ 64392 h 69501"/>
                <a:gd name="connsiteX11" fmla="*/ 558694 w 1618714"/>
                <a:gd name="connsiteY11" fmla="*/ 64392 h 69501"/>
                <a:gd name="connsiteX12" fmla="*/ 233242 w 1618714"/>
                <a:gd name="connsiteY12" fmla="*/ 64392 h 69501"/>
                <a:gd name="connsiteX13" fmla="*/ 290618 w 1618714"/>
                <a:gd name="connsiteY13" fmla="*/ 7006 h 69501"/>
                <a:gd name="connsiteX14" fmla="*/ 522010 w 1618714"/>
                <a:gd name="connsiteY14" fmla="*/ 7006 h 69501"/>
                <a:gd name="connsiteX15" fmla="*/ 522010 w 1618714"/>
                <a:gd name="connsiteY15" fmla="*/ 7324 h 69501"/>
                <a:gd name="connsiteX16" fmla="*/ 558694 w 1618714"/>
                <a:gd name="connsiteY16" fmla="*/ 64392 h 69501"/>
                <a:gd name="connsiteX17" fmla="*/ 217323 w 1618714"/>
                <a:gd name="connsiteY17" fmla="*/ 64392 h 69501"/>
                <a:gd name="connsiteX18" fmla="*/ 64392 w 1618714"/>
                <a:gd name="connsiteY18" fmla="*/ 64392 h 69501"/>
                <a:gd name="connsiteX19" fmla="*/ 7006 w 1618714"/>
                <a:gd name="connsiteY19" fmla="*/ 7006 h 69501"/>
                <a:gd name="connsiteX20" fmla="*/ 274700 w 1618714"/>
                <a:gd name="connsiteY20" fmla="*/ 7006 h 69501"/>
                <a:gd name="connsiteX21" fmla="*/ 217323 w 1618714"/>
                <a:gd name="connsiteY21" fmla="*/ 64392 h 69501"/>
                <a:gd name="connsiteX22" fmla="*/ 584748 w 1618714"/>
                <a:gd name="connsiteY22" fmla="*/ 36283 h 69501"/>
                <a:gd name="connsiteX23" fmla="*/ 555779 w 1618714"/>
                <a:gd name="connsiteY23" fmla="*/ 7324 h 69501"/>
                <a:gd name="connsiteX24" fmla="*/ 555789 w 1618714"/>
                <a:gd name="connsiteY24" fmla="*/ 7006 h 69501"/>
                <a:gd name="connsiteX25" fmla="*/ 565738 w 1618714"/>
                <a:gd name="connsiteY25" fmla="*/ 7006 h 69501"/>
                <a:gd name="connsiteX26" fmla="*/ 565738 w 1618714"/>
                <a:gd name="connsiteY26" fmla="*/ 7324 h 69501"/>
                <a:gd name="connsiteX27" fmla="*/ 584748 w 1618714"/>
                <a:gd name="connsiteY27" fmla="*/ 26334 h 69501"/>
                <a:gd name="connsiteX28" fmla="*/ 603768 w 1618714"/>
                <a:gd name="connsiteY28" fmla="*/ 7324 h 69501"/>
                <a:gd name="connsiteX29" fmla="*/ 603768 w 1618714"/>
                <a:gd name="connsiteY29" fmla="*/ 7006 h 69501"/>
                <a:gd name="connsiteX30" fmla="*/ 613726 w 1618714"/>
                <a:gd name="connsiteY30" fmla="*/ 7006 h 69501"/>
                <a:gd name="connsiteX31" fmla="*/ 613726 w 1618714"/>
                <a:gd name="connsiteY31" fmla="*/ 7324 h 69501"/>
                <a:gd name="connsiteX32" fmla="*/ 584748 w 1618714"/>
                <a:gd name="connsiteY32" fmla="*/ 36283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8714" h="69501">
                  <a:moveTo>
                    <a:pt x="1612466" y="64392"/>
                  </a:moveTo>
                  <a:lnTo>
                    <a:pt x="1095296" y="64392"/>
                  </a:lnTo>
                  <a:lnTo>
                    <a:pt x="1062161" y="7006"/>
                  </a:lnTo>
                  <a:lnTo>
                    <a:pt x="1612466" y="7006"/>
                  </a:lnTo>
                  <a:lnTo>
                    <a:pt x="1612466" y="64392"/>
                  </a:lnTo>
                  <a:close/>
                  <a:moveTo>
                    <a:pt x="1049802" y="64392"/>
                  </a:moveTo>
                  <a:lnTo>
                    <a:pt x="610802" y="64392"/>
                  </a:lnTo>
                  <a:cubicBezTo>
                    <a:pt x="632437" y="54480"/>
                    <a:pt x="647495" y="32621"/>
                    <a:pt x="647495" y="7324"/>
                  </a:cubicBezTo>
                  <a:lnTo>
                    <a:pt x="647495" y="7006"/>
                  </a:lnTo>
                  <a:lnTo>
                    <a:pt x="1016676" y="7006"/>
                  </a:lnTo>
                  <a:lnTo>
                    <a:pt x="1049802" y="64392"/>
                  </a:lnTo>
                  <a:close/>
                  <a:moveTo>
                    <a:pt x="558694" y="64392"/>
                  </a:moveTo>
                  <a:lnTo>
                    <a:pt x="233242" y="64392"/>
                  </a:lnTo>
                  <a:lnTo>
                    <a:pt x="290618" y="7006"/>
                  </a:lnTo>
                  <a:lnTo>
                    <a:pt x="522010" y="7006"/>
                  </a:lnTo>
                  <a:lnTo>
                    <a:pt x="522010" y="7324"/>
                  </a:lnTo>
                  <a:cubicBezTo>
                    <a:pt x="522010" y="32621"/>
                    <a:pt x="537068" y="54480"/>
                    <a:pt x="558694" y="64392"/>
                  </a:cubicBezTo>
                  <a:close/>
                  <a:moveTo>
                    <a:pt x="217323" y="64392"/>
                  </a:moveTo>
                  <a:lnTo>
                    <a:pt x="64392" y="64392"/>
                  </a:lnTo>
                  <a:lnTo>
                    <a:pt x="7006" y="7006"/>
                  </a:lnTo>
                  <a:lnTo>
                    <a:pt x="274700" y="7006"/>
                  </a:lnTo>
                  <a:lnTo>
                    <a:pt x="217323" y="64392"/>
                  </a:lnTo>
                  <a:close/>
                  <a:moveTo>
                    <a:pt x="584748" y="36283"/>
                  </a:moveTo>
                  <a:cubicBezTo>
                    <a:pt x="568783" y="36283"/>
                    <a:pt x="555779" y="23298"/>
                    <a:pt x="555779" y="7324"/>
                  </a:cubicBezTo>
                  <a:cubicBezTo>
                    <a:pt x="555779" y="7221"/>
                    <a:pt x="555779" y="7109"/>
                    <a:pt x="555789" y="7006"/>
                  </a:cubicBezTo>
                  <a:lnTo>
                    <a:pt x="565738" y="7006"/>
                  </a:lnTo>
                  <a:lnTo>
                    <a:pt x="565738" y="7324"/>
                  </a:lnTo>
                  <a:cubicBezTo>
                    <a:pt x="565738" y="17824"/>
                    <a:pt x="574239" y="26334"/>
                    <a:pt x="584748" y="26334"/>
                  </a:cubicBezTo>
                  <a:cubicBezTo>
                    <a:pt x="595257" y="26334"/>
                    <a:pt x="603768" y="17824"/>
                    <a:pt x="603768" y="7324"/>
                  </a:cubicBezTo>
                  <a:lnTo>
                    <a:pt x="603768" y="7006"/>
                  </a:lnTo>
                  <a:lnTo>
                    <a:pt x="613726" y="7006"/>
                  </a:lnTo>
                  <a:lnTo>
                    <a:pt x="613726" y="7324"/>
                  </a:lnTo>
                  <a:cubicBezTo>
                    <a:pt x="613726" y="23298"/>
                    <a:pt x="600731" y="36283"/>
                    <a:pt x="584748" y="3628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9" name="Freeform: Shape 13388">
              <a:extLst>
                <a:ext uri="{FF2B5EF4-FFF2-40B4-BE49-F238E27FC236}">
                  <a16:creationId xmlns:a16="http://schemas.microsoft.com/office/drawing/2014/main" id="{1A9486F3-3701-426A-979A-045121CA9053}"/>
                </a:ext>
              </a:extLst>
            </p:cNvPr>
            <p:cNvSpPr/>
            <p:nvPr/>
          </p:nvSpPr>
          <p:spPr bwMode="ltGray">
            <a:xfrm>
              <a:off x="5318358" y="3988832"/>
              <a:ext cx="91921" cy="69502"/>
            </a:xfrm>
            <a:custGeom>
              <a:avLst/>
              <a:gdLst>
                <a:gd name="connsiteX0" fmla="*/ 85625 w 91921"/>
                <a:gd name="connsiteY0" fmla="*/ 64392 h 69501"/>
                <a:gd name="connsiteX1" fmla="*/ 40132 w 91921"/>
                <a:gd name="connsiteY1" fmla="*/ 64392 h 69501"/>
                <a:gd name="connsiteX2" fmla="*/ 7006 w 91921"/>
                <a:gd name="connsiteY2" fmla="*/ 7006 h 69501"/>
                <a:gd name="connsiteX3" fmla="*/ 52491 w 91921"/>
                <a:gd name="connsiteY3" fmla="*/ 7006 h 69501"/>
                <a:gd name="connsiteX4" fmla="*/ 85625 w 91921"/>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69501">
                  <a:moveTo>
                    <a:pt x="85625" y="64392"/>
                  </a:moveTo>
                  <a:lnTo>
                    <a:pt x="40132" y="64392"/>
                  </a:lnTo>
                  <a:lnTo>
                    <a:pt x="7006" y="7006"/>
                  </a:lnTo>
                  <a:lnTo>
                    <a:pt x="52491" y="7006"/>
                  </a:lnTo>
                  <a:lnTo>
                    <a:pt x="85625"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0" name="Freeform: Shape 13389">
              <a:extLst>
                <a:ext uri="{FF2B5EF4-FFF2-40B4-BE49-F238E27FC236}">
                  <a16:creationId xmlns:a16="http://schemas.microsoft.com/office/drawing/2014/main" id="{7A1DEFC6-6182-487B-AC24-2B3B4938DA77}"/>
                </a:ext>
              </a:extLst>
            </p:cNvPr>
            <p:cNvSpPr/>
            <p:nvPr/>
          </p:nvSpPr>
          <p:spPr bwMode="ltGray">
            <a:xfrm>
              <a:off x="4823692" y="3988832"/>
              <a:ext cx="139003" cy="69502"/>
            </a:xfrm>
            <a:custGeom>
              <a:avLst/>
              <a:gdLst>
                <a:gd name="connsiteX0" fmla="*/ 95798 w 139003"/>
                <a:gd name="connsiteY0" fmla="*/ 64392 h 69501"/>
                <a:gd name="connsiteX1" fmla="*/ 43691 w 139003"/>
                <a:gd name="connsiteY1" fmla="*/ 64392 h 69501"/>
                <a:gd name="connsiteX2" fmla="*/ 7006 w 139003"/>
                <a:gd name="connsiteY2" fmla="*/ 7324 h 69501"/>
                <a:gd name="connsiteX3" fmla="*/ 7006 w 139003"/>
                <a:gd name="connsiteY3" fmla="*/ 7006 h 69501"/>
                <a:gd name="connsiteX4" fmla="*/ 40786 w 139003"/>
                <a:gd name="connsiteY4" fmla="*/ 7006 h 69501"/>
                <a:gd name="connsiteX5" fmla="*/ 40776 w 139003"/>
                <a:gd name="connsiteY5" fmla="*/ 7324 h 69501"/>
                <a:gd name="connsiteX6" fmla="*/ 69745 w 139003"/>
                <a:gd name="connsiteY6" fmla="*/ 36283 h 69501"/>
                <a:gd name="connsiteX7" fmla="*/ 98722 w 139003"/>
                <a:gd name="connsiteY7" fmla="*/ 7324 h 69501"/>
                <a:gd name="connsiteX8" fmla="*/ 98722 w 139003"/>
                <a:gd name="connsiteY8" fmla="*/ 7006 h 69501"/>
                <a:gd name="connsiteX9" fmla="*/ 132492 w 139003"/>
                <a:gd name="connsiteY9" fmla="*/ 7006 h 69501"/>
                <a:gd name="connsiteX10" fmla="*/ 132492 w 139003"/>
                <a:gd name="connsiteY10" fmla="*/ 7324 h 69501"/>
                <a:gd name="connsiteX11" fmla="*/ 95798 w 139003"/>
                <a:gd name="connsiteY11"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003" h="69501">
                  <a:moveTo>
                    <a:pt x="95798" y="64392"/>
                  </a:moveTo>
                  <a:lnTo>
                    <a:pt x="43691" y="64392"/>
                  </a:lnTo>
                  <a:cubicBezTo>
                    <a:pt x="22065" y="54480"/>
                    <a:pt x="7006" y="32621"/>
                    <a:pt x="7006" y="7324"/>
                  </a:cubicBezTo>
                  <a:lnTo>
                    <a:pt x="7006" y="7006"/>
                  </a:lnTo>
                  <a:lnTo>
                    <a:pt x="40786" y="7006"/>
                  </a:lnTo>
                  <a:cubicBezTo>
                    <a:pt x="40776" y="7109"/>
                    <a:pt x="40776" y="7221"/>
                    <a:pt x="40776" y="7324"/>
                  </a:cubicBezTo>
                  <a:cubicBezTo>
                    <a:pt x="40776" y="23298"/>
                    <a:pt x="53780" y="36283"/>
                    <a:pt x="69745" y="36283"/>
                  </a:cubicBezTo>
                  <a:cubicBezTo>
                    <a:pt x="85728" y="36283"/>
                    <a:pt x="98722" y="23298"/>
                    <a:pt x="98722" y="7324"/>
                  </a:cubicBezTo>
                  <a:lnTo>
                    <a:pt x="98722" y="7006"/>
                  </a:lnTo>
                  <a:lnTo>
                    <a:pt x="132492" y="7006"/>
                  </a:lnTo>
                  <a:lnTo>
                    <a:pt x="132492" y="7324"/>
                  </a:lnTo>
                  <a:cubicBezTo>
                    <a:pt x="132492" y="32621"/>
                    <a:pt x="117433" y="54480"/>
                    <a:pt x="95798" y="64392"/>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1" name="Freeform: Shape 13390">
              <a:extLst>
                <a:ext uri="{FF2B5EF4-FFF2-40B4-BE49-F238E27FC236}">
                  <a16:creationId xmlns:a16="http://schemas.microsoft.com/office/drawing/2014/main" id="{B27A7712-ECAC-42A5-AF86-7A7A28A3AA0D}"/>
                </a:ext>
              </a:extLst>
            </p:cNvPr>
            <p:cNvSpPr/>
            <p:nvPr/>
          </p:nvSpPr>
          <p:spPr bwMode="ltGray">
            <a:xfrm>
              <a:off x="4867420" y="3988832"/>
              <a:ext cx="51566" cy="31388"/>
            </a:xfrm>
            <a:custGeom>
              <a:avLst/>
              <a:gdLst>
                <a:gd name="connsiteX0" fmla="*/ 26016 w 51565"/>
                <a:gd name="connsiteY0" fmla="*/ 26334 h 31387"/>
                <a:gd name="connsiteX1" fmla="*/ 7006 w 51565"/>
                <a:gd name="connsiteY1" fmla="*/ 7324 h 31387"/>
                <a:gd name="connsiteX2" fmla="*/ 7006 w 51565"/>
                <a:gd name="connsiteY2" fmla="*/ 7006 h 31387"/>
                <a:gd name="connsiteX3" fmla="*/ 45036 w 51565"/>
                <a:gd name="connsiteY3" fmla="*/ 7006 h 31387"/>
                <a:gd name="connsiteX4" fmla="*/ 45036 w 51565"/>
                <a:gd name="connsiteY4" fmla="*/ 7324 h 31387"/>
                <a:gd name="connsiteX5" fmla="*/ 26016 w 51565"/>
                <a:gd name="connsiteY5" fmla="*/ 26334 h 3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5" h="31387">
                  <a:moveTo>
                    <a:pt x="26016" y="26334"/>
                  </a:moveTo>
                  <a:cubicBezTo>
                    <a:pt x="15507" y="26334"/>
                    <a:pt x="7006" y="17824"/>
                    <a:pt x="7006" y="7324"/>
                  </a:cubicBezTo>
                  <a:lnTo>
                    <a:pt x="7006" y="7006"/>
                  </a:lnTo>
                  <a:lnTo>
                    <a:pt x="45036" y="7006"/>
                  </a:lnTo>
                  <a:lnTo>
                    <a:pt x="45036" y="7324"/>
                  </a:lnTo>
                  <a:cubicBezTo>
                    <a:pt x="45036" y="17824"/>
                    <a:pt x="36525" y="26334"/>
                    <a:pt x="26016" y="2633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2" name="Freeform: Shape 13391">
              <a:extLst>
                <a:ext uri="{FF2B5EF4-FFF2-40B4-BE49-F238E27FC236}">
                  <a16:creationId xmlns:a16="http://schemas.microsoft.com/office/drawing/2014/main" id="{461ADA6F-177B-4E82-87BD-5B150AD5430C}"/>
                </a:ext>
              </a:extLst>
            </p:cNvPr>
            <p:cNvSpPr/>
            <p:nvPr/>
          </p:nvSpPr>
          <p:spPr bwMode="ltGray">
            <a:xfrm>
              <a:off x="4519006" y="3988832"/>
              <a:ext cx="85195" cy="69502"/>
            </a:xfrm>
            <a:custGeom>
              <a:avLst/>
              <a:gdLst>
                <a:gd name="connsiteX0" fmla="*/ 22924 w 85195"/>
                <a:gd name="connsiteY0" fmla="*/ 64392 h 69501"/>
                <a:gd name="connsiteX1" fmla="*/ 7006 w 85195"/>
                <a:gd name="connsiteY1" fmla="*/ 64392 h 69501"/>
                <a:gd name="connsiteX2" fmla="*/ 64382 w 85195"/>
                <a:gd name="connsiteY2" fmla="*/ 7006 h 69501"/>
                <a:gd name="connsiteX3" fmla="*/ 80301 w 85195"/>
                <a:gd name="connsiteY3" fmla="*/ 7006 h 69501"/>
                <a:gd name="connsiteX4" fmla="*/ 22924 w 85195"/>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95" h="69501">
                  <a:moveTo>
                    <a:pt x="22924" y="64392"/>
                  </a:moveTo>
                  <a:lnTo>
                    <a:pt x="7006" y="64392"/>
                  </a:lnTo>
                  <a:lnTo>
                    <a:pt x="64382" y="7006"/>
                  </a:lnTo>
                  <a:lnTo>
                    <a:pt x="80301" y="7006"/>
                  </a:lnTo>
                  <a:lnTo>
                    <a:pt x="2292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3" name="Freeform: Shape 13392">
              <a:extLst>
                <a:ext uri="{FF2B5EF4-FFF2-40B4-BE49-F238E27FC236}">
                  <a16:creationId xmlns:a16="http://schemas.microsoft.com/office/drawing/2014/main" id="{BC3BFE1F-3A0E-4016-9B7D-AAD20DFC7D11}"/>
                </a:ext>
              </a:extLst>
            </p:cNvPr>
            <p:cNvSpPr/>
            <p:nvPr/>
          </p:nvSpPr>
          <p:spPr bwMode="ltGray">
            <a:xfrm>
              <a:off x="3619408" y="3769501"/>
              <a:ext cx="726404" cy="289216"/>
            </a:xfrm>
            <a:custGeom>
              <a:avLst/>
              <a:gdLst>
                <a:gd name="connsiteX0" fmla="*/ 721210 w 726403"/>
                <a:gd name="connsiteY0" fmla="*/ 283724 h 289216"/>
                <a:gd name="connsiteX1" fmla="*/ 243143 w 726403"/>
                <a:gd name="connsiteY1" fmla="*/ 283724 h 289216"/>
                <a:gd name="connsiteX2" fmla="*/ 102954 w 726403"/>
                <a:gd name="connsiteY2" fmla="*/ 143525 h 289216"/>
                <a:gd name="connsiteX3" fmla="*/ 120030 w 726403"/>
                <a:gd name="connsiteY3" fmla="*/ 143525 h 289216"/>
                <a:gd name="connsiteX4" fmla="*/ 120030 w 726403"/>
                <a:gd name="connsiteY4" fmla="*/ 137910 h 289216"/>
                <a:gd name="connsiteX5" fmla="*/ 97330 w 726403"/>
                <a:gd name="connsiteY5" fmla="*/ 137910 h 289216"/>
                <a:gd name="connsiteX6" fmla="*/ 7006 w 726403"/>
                <a:gd name="connsiteY6" fmla="*/ 47577 h 289216"/>
                <a:gd name="connsiteX7" fmla="*/ 10014 w 726403"/>
                <a:gd name="connsiteY7" fmla="*/ 44569 h 289216"/>
                <a:gd name="connsiteX8" fmla="*/ 85149 w 726403"/>
                <a:gd name="connsiteY8" fmla="*/ 44569 h 289216"/>
                <a:gd name="connsiteX9" fmla="*/ 266918 w 726403"/>
                <a:gd name="connsiteY9" fmla="*/ 226338 h 289216"/>
                <a:gd name="connsiteX10" fmla="*/ 663834 w 726403"/>
                <a:gd name="connsiteY10" fmla="*/ 226338 h 289216"/>
                <a:gd name="connsiteX11" fmla="*/ 721210 w 726403"/>
                <a:gd name="connsiteY11" fmla="*/ 283724 h 289216"/>
                <a:gd name="connsiteX12" fmla="*/ 79516 w 726403"/>
                <a:gd name="connsiteY12" fmla="*/ 38945 h 289216"/>
                <a:gd name="connsiteX13" fmla="*/ 15647 w 726403"/>
                <a:gd name="connsiteY13" fmla="*/ 38945 h 289216"/>
                <a:gd name="connsiteX14" fmla="*/ 47586 w 726403"/>
                <a:gd name="connsiteY14" fmla="*/ 7006 h 289216"/>
                <a:gd name="connsiteX15" fmla="*/ 79516 w 726403"/>
                <a:gd name="connsiteY15" fmla="*/ 38945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403" h="289216">
                  <a:moveTo>
                    <a:pt x="721210" y="283724"/>
                  </a:moveTo>
                  <a:lnTo>
                    <a:pt x="243143" y="283724"/>
                  </a:lnTo>
                  <a:lnTo>
                    <a:pt x="102954" y="143525"/>
                  </a:lnTo>
                  <a:lnTo>
                    <a:pt x="120030" y="143525"/>
                  </a:lnTo>
                  <a:lnTo>
                    <a:pt x="120030" y="137910"/>
                  </a:lnTo>
                  <a:lnTo>
                    <a:pt x="97330" y="137910"/>
                  </a:lnTo>
                  <a:lnTo>
                    <a:pt x="7006" y="47577"/>
                  </a:lnTo>
                  <a:lnTo>
                    <a:pt x="10014" y="44569"/>
                  </a:lnTo>
                  <a:lnTo>
                    <a:pt x="85149" y="44569"/>
                  </a:lnTo>
                  <a:lnTo>
                    <a:pt x="266918" y="226338"/>
                  </a:lnTo>
                  <a:lnTo>
                    <a:pt x="663834" y="226338"/>
                  </a:lnTo>
                  <a:lnTo>
                    <a:pt x="721210" y="283724"/>
                  </a:lnTo>
                  <a:close/>
                  <a:moveTo>
                    <a:pt x="79516" y="38945"/>
                  </a:moveTo>
                  <a:lnTo>
                    <a:pt x="15647" y="38945"/>
                  </a:lnTo>
                  <a:lnTo>
                    <a:pt x="47586" y="7006"/>
                  </a:lnTo>
                  <a:lnTo>
                    <a:pt x="79516" y="3894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4" name="Freeform: Shape 13393">
              <a:extLst>
                <a:ext uri="{FF2B5EF4-FFF2-40B4-BE49-F238E27FC236}">
                  <a16:creationId xmlns:a16="http://schemas.microsoft.com/office/drawing/2014/main" id="{E2C31AB4-07B5-403F-846E-0AD5D0368AB5}"/>
                </a:ext>
              </a:extLst>
            </p:cNvPr>
            <p:cNvSpPr/>
            <p:nvPr/>
          </p:nvSpPr>
          <p:spPr bwMode="ltGray">
            <a:xfrm>
              <a:off x="3622416" y="3801440"/>
              <a:ext cx="87437" cy="17936"/>
            </a:xfrm>
            <a:custGeom>
              <a:avLst/>
              <a:gdLst>
                <a:gd name="connsiteX0" fmla="*/ 82141 w 87437"/>
                <a:gd name="connsiteY0" fmla="*/ 12630 h 17935"/>
                <a:gd name="connsiteX1" fmla="*/ 7006 w 87437"/>
                <a:gd name="connsiteY1" fmla="*/ 12630 h 17935"/>
                <a:gd name="connsiteX2" fmla="*/ 12639 w 87437"/>
                <a:gd name="connsiteY2" fmla="*/ 7006 h 17935"/>
                <a:gd name="connsiteX3" fmla="*/ 76508 w 87437"/>
                <a:gd name="connsiteY3" fmla="*/ 7006 h 17935"/>
                <a:gd name="connsiteX4" fmla="*/ 82141 w 87437"/>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37" h="17935">
                  <a:moveTo>
                    <a:pt x="82141" y="12630"/>
                  </a:moveTo>
                  <a:lnTo>
                    <a:pt x="7006" y="12630"/>
                  </a:lnTo>
                  <a:lnTo>
                    <a:pt x="12639" y="7006"/>
                  </a:lnTo>
                  <a:lnTo>
                    <a:pt x="76508" y="7006"/>
                  </a:lnTo>
                  <a:lnTo>
                    <a:pt x="82141"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5" name="Freeform: Shape 13394">
              <a:extLst>
                <a:ext uri="{FF2B5EF4-FFF2-40B4-BE49-F238E27FC236}">
                  <a16:creationId xmlns:a16="http://schemas.microsoft.com/office/drawing/2014/main" id="{D6D62B0A-8EBB-4060-924C-B30DF499232C}"/>
                </a:ext>
              </a:extLst>
            </p:cNvPr>
            <p:cNvSpPr/>
            <p:nvPr/>
          </p:nvSpPr>
          <p:spPr bwMode="ltGray">
            <a:xfrm>
              <a:off x="3709732" y="3900405"/>
              <a:ext cx="35872" cy="17936"/>
            </a:xfrm>
            <a:custGeom>
              <a:avLst/>
              <a:gdLst>
                <a:gd name="connsiteX0" fmla="*/ 29707 w 35871"/>
                <a:gd name="connsiteY0" fmla="*/ 12621 h 17935"/>
                <a:gd name="connsiteX1" fmla="*/ 12630 w 35871"/>
                <a:gd name="connsiteY1" fmla="*/ 12621 h 17935"/>
                <a:gd name="connsiteX2" fmla="*/ 7006 w 35871"/>
                <a:gd name="connsiteY2" fmla="*/ 7006 h 17935"/>
                <a:gd name="connsiteX3" fmla="*/ 29707 w 35871"/>
                <a:gd name="connsiteY3" fmla="*/ 7006 h 17935"/>
                <a:gd name="connsiteX4" fmla="*/ 29707 w 35871"/>
                <a:gd name="connsiteY4" fmla="*/ 12621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1" h="17935">
                  <a:moveTo>
                    <a:pt x="29707" y="12621"/>
                  </a:moveTo>
                  <a:lnTo>
                    <a:pt x="12630" y="12621"/>
                  </a:lnTo>
                  <a:lnTo>
                    <a:pt x="7006" y="7006"/>
                  </a:lnTo>
                  <a:lnTo>
                    <a:pt x="29707" y="7006"/>
                  </a:lnTo>
                  <a:lnTo>
                    <a:pt x="29707"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6" name="Freeform: Shape 13395">
              <a:extLst>
                <a:ext uri="{FF2B5EF4-FFF2-40B4-BE49-F238E27FC236}">
                  <a16:creationId xmlns:a16="http://schemas.microsoft.com/office/drawing/2014/main" id="{DB7478A8-1A93-449C-B8FB-35443C002605}"/>
                </a:ext>
              </a:extLst>
            </p:cNvPr>
            <p:cNvSpPr/>
            <p:nvPr/>
          </p:nvSpPr>
          <p:spPr bwMode="ltGray">
            <a:xfrm>
              <a:off x="2735261" y="3313985"/>
              <a:ext cx="912488" cy="484269"/>
            </a:xfrm>
            <a:custGeom>
              <a:avLst/>
              <a:gdLst>
                <a:gd name="connsiteX0" fmla="*/ 866809 w 912488"/>
                <a:gd name="connsiteY0" fmla="*/ 478748 h 484269"/>
                <a:gd name="connsiteX1" fmla="*/ 729001 w 912488"/>
                <a:gd name="connsiteY1" fmla="*/ 340941 h 484269"/>
                <a:gd name="connsiteX2" fmla="*/ 769572 w 912488"/>
                <a:gd name="connsiteY2" fmla="*/ 300361 h 484269"/>
                <a:gd name="connsiteX3" fmla="*/ 907380 w 912488"/>
                <a:gd name="connsiteY3" fmla="*/ 438178 h 484269"/>
                <a:gd name="connsiteX4" fmla="*/ 866809 w 912488"/>
                <a:gd name="connsiteY4" fmla="*/ 478748 h 484269"/>
                <a:gd name="connsiteX5" fmla="*/ 720883 w 912488"/>
                <a:gd name="connsiteY5" fmla="*/ 332823 h 484269"/>
                <a:gd name="connsiteX6" fmla="*/ 679472 w 912488"/>
                <a:gd name="connsiteY6" fmla="*/ 291412 h 484269"/>
                <a:gd name="connsiteX7" fmla="*/ 291412 w 912488"/>
                <a:gd name="connsiteY7" fmla="*/ 291412 h 484269"/>
                <a:gd name="connsiteX8" fmla="*/ 199771 w 912488"/>
                <a:gd name="connsiteY8" fmla="*/ 199761 h 484269"/>
                <a:gd name="connsiteX9" fmla="*/ 240341 w 912488"/>
                <a:gd name="connsiteY9" fmla="*/ 159190 h 484269"/>
                <a:gd name="connsiteX10" fmla="*/ 315186 w 912488"/>
                <a:gd name="connsiteY10" fmla="*/ 234035 h 484269"/>
                <a:gd name="connsiteX11" fmla="*/ 703246 w 912488"/>
                <a:gd name="connsiteY11" fmla="*/ 234035 h 484269"/>
                <a:gd name="connsiteX12" fmla="*/ 761463 w 912488"/>
                <a:gd name="connsiteY12" fmla="*/ 292253 h 484269"/>
                <a:gd name="connsiteX13" fmla="*/ 720883 w 912488"/>
                <a:gd name="connsiteY13" fmla="*/ 332823 h 484269"/>
                <a:gd name="connsiteX14" fmla="*/ 191812 w 912488"/>
                <a:gd name="connsiteY14" fmla="*/ 191811 h 484269"/>
                <a:gd name="connsiteX15" fmla="*/ 147121 w 912488"/>
                <a:gd name="connsiteY15" fmla="*/ 147112 h 484269"/>
                <a:gd name="connsiteX16" fmla="*/ 189411 w 912488"/>
                <a:gd name="connsiteY16" fmla="*/ 147112 h 484269"/>
                <a:gd name="connsiteX17" fmla="*/ 189411 w 912488"/>
                <a:gd name="connsiteY17" fmla="*/ 108260 h 484269"/>
                <a:gd name="connsiteX18" fmla="*/ 232382 w 912488"/>
                <a:gd name="connsiteY18" fmla="*/ 151231 h 484269"/>
                <a:gd name="connsiteX19" fmla="*/ 191812 w 912488"/>
                <a:gd name="connsiteY19" fmla="*/ 191811 h 484269"/>
                <a:gd name="connsiteX20" fmla="*/ 183236 w 912488"/>
                <a:gd name="connsiteY20" fmla="*/ 102085 h 484269"/>
                <a:gd name="connsiteX21" fmla="*/ 102085 w 912488"/>
                <a:gd name="connsiteY21" fmla="*/ 102085 h 484269"/>
                <a:gd name="connsiteX22" fmla="*/ 7006 w 912488"/>
                <a:gd name="connsiteY22" fmla="*/ 7006 h 484269"/>
                <a:gd name="connsiteX23" fmla="*/ 88157 w 912488"/>
                <a:gd name="connsiteY23" fmla="*/ 7006 h 484269"/>
                <a:gd name="connsiteX24" fmla="*/ 183236 w 912488"/>
                <a:gd name="connsiteY24" fmla="*/ 102085 h 48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2488" h="484269">
                  <a:moveTo>
                    <a:pt x="866809" y="478748"/>
                  </a:moveTo>
                  <a:lnTo>
                    <a:pt x="729001" y="340941"/>
                  </a:lnTo>
                  <a:lnTo>
                    <a:pt x="769572" y="300361"/>
                  </a:lnTo>
                  <a:lnTo>
                    <a:pt x="907380" y="438178"/>
                  </a:lnTo>
                  <a:lnTo>
                    <a:pt x="866809" y="478748"/>
                  </a:lnTo>
                  <a:close/>
                  <a:moveTo>
                    <a:pt x="720883" y="332823"/>
                  </a:moveTo>
                  <a:lnTo>
                    <a:pt x="679472" y="291412"/>
                  </a:lnTo>
                  <a:lnTo>
                    <a:pt x="291412" y="291412"/>
                  </a:lnTo>
                  <a:lnTo>
                    <a:pt x="199771" y="199761"/>
                  </a:lnTo>
                  <a:lnTo>
                    <a:pt x="240341" y="159190"/>
                  </a:lnTo>
                  <a:lnTo>
                    <a:pt x="315186" y="234035"/>
                  </a:lnTo>
                  <a:lnTo>
                    <a:pt x="703246" y="234035"/>
                  </a:lnTo>
                  <a:lnTo>
                    <a:pt x="761463" y="292253"/>
                  </a:lnTo>
                  <a:lnTo>
                    <a:pt x="720883" y="332823"/>
                  </a:lnTo>
                  <a:close/>
                  <a:moveTo>
                    <a:pt x="191812" y="191811"/>
                  </a:moveTo>
                  <a:lnTo>
                    <a:pt x="147121" y="147112"/>
                  </a:lnTo>
                  <a:lnTo>
                    <a:pt x="189411" y="147112"/>
                  </a:lnTo>
                  <a:lnTo>
                    <a:pt x="189411" y="108260"/>
                  </a:lnTo>
                  <a:lnTo>
                    <a:pt x="232382" y="151231"/>
                  </a:lnTo>
                  <a:lnTo>
                    <a:pt x="191812" y="191811"/>
                  </a:lnTo>
                  <a:close/>
                  <a:moveTo>
                    <a:pt x="183236" y="102085"/>
                  </a:moveTo>
                  <a:lnTo>
                    <a:pt x="102085" y="102085"/>
                  </a:lnTo>
                  <a:lnTo>
                    <a:pt x="7006" y="7006"/>
                  </a:lnTo>
                  <a:lnTo>
                    <a:pt x="88157" y="7006"/>
                  </a:lnTo>
                  <a:lnTo>
                    <a:pt x="183236" y="10208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7" name="Freeform: Shape 13396">
              <a:extLst>
                <a:ext uri="{FF2B5EF4-FFF2-40B4-BE49-F238E27FC236}">
                  <a16:creationId xmlns:a16="http://schemas.microsoft.com/office/drawing/2014/main" id="{FCEAD551-8BAF-43B6-AB2C-28128B65BD75}"/>
                </a:ext>
              </a:extLst>
            </p:cNvPr>
            <p:cNvSpPr/>
            <p:nvPr/>
          </p:nvSpPr>
          <p:spPr bwMode="ltGray">
            <a:xfrm>
              <a:off x="2830340" y="3409063"/>
              <a:ext cx="100889" cy="58292"/>
            </a:xfrm>
            <a:custGeom>
              <a:avLst/>
              <a:gdLst>
                <a:gd name="connsiteX0" fmla="*/ 94332 w 100889"/>
                <a:gd name="connsiteY0" fmla="*/ 52033 h 58291"/>
                <a:gd name="connsiteX1" fmla="*/ 52042 w 100889"/>
                <a:gd name="connsiteY1" fmla="*/ 52033 h 58291"/>
                <a:gd name="connsiteX2" fmla="*/ 7006 w 100889"/>
                <a:gd name="connsiteY2" fmla="*/ 7006 h 58291"/>
                <a:gd name="connsiteX3" fmla="*/ 88157 w 100889"/>
                <a:gd name="connsiteY3" fmla="*/ 7006 h 58291"/>
                <a:gd name="connsiteX4" fmla="*/ 94332 w 100889"/>
                <a:gd name="connsiteY4" fmla="*/ 13181 h 58291"/>
                <a:gd name="connsiteX5" fmla="*/ 94332 w 100889"/>
                <a:gd name="connsiteY5" fmla="*/ 52033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9" h="58291">
                  <a:moveTo>
                    <a:pt x="94332" y="52033"/>
                  </a:moveTo>
                  <a:lnTo>
                    <a:pt x="52042" y="52033"/>
                  </a:lnTo>
                  <a:lnTo>
                    <a:pt x="7006" y="7006"/>
                  </a:lnTo>
                  <a:lnTo>
                    <a:pt x="88157" y="7006"/>
                  </a:lnTo>
                  <a:lnTo>
                    <a:pt x="94332" y="13181"/>
                  </a:lnTo>
                  <a:lnTo>
                    <a:pt x="94332"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8" name="Freeform: Shape 13397">
              <a:extLst>
                <a:ext uri="{FF2B5EF4-FFF2-40B4-BE49-F238E27FC236}">
                  <a16:creationId xmlns:a16="http://schemas.microsoft.com/office/drawing/2014/main" id="{5B7D0DFD-606F-4F12-B378-5E83EBCBEA8B}"/>
                </a:ext>
              </a:extLst>
            </p:cNvPr>
            <p:cNvSpPr/>
            <p:nvPr/>
          </p:nvSpPr>
          <p:spPr bwMode="ltGray">
            <a:xfrm>
              <a:off x="2920066" y="3458210"/>
              <a:ext cx="60534" cy="60534"/>
            </a:xfrm>
            <a:custGeom>
              <a:avLst/>
              <a:gdLst>
                <a:gd name="connsiteX0" fmla="*/ 14965 w 60533"/>
                <a:gd name="connsiteY0" fmla="*/ 55536 h 60533"/>
                <a:gd name="connsiteX1" fmla="*/ 7006 w 60533"/>
                <a:gd name="connsiteY1" fmla="*/ 47586 h 60533"/>
                <a:gd name="connsiteX2" fmla="*/ 47577 w 60533"/>
                <a:gd name="connsiteY2" fmla="*/ 7006 h 60533"/>
                <a:gd name="connsiteX3" fmla="*/ 55536 w 60533"/>
                <a:gd name="connsiteY3" fmla="*/ 14965 h 60533"/>
                <a:gd name="connsiteX4" fmla="*/ 14965 w 60533"/>
                <a:gd name="connsiteY4" fmla="*/ 55536 h 6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60533">
                  <a:moveTo>
                    <a:pt x="14965" y="55536"/>
                  </a:moveTo>
                  <a:lnTo>
                    <a:pt x="7006" y="47586"/>
                  </a:lnTo>
                  <a:lnTo>
                    <a:pt x="47577" y="7006"/>
                  </a:lnTo>
                  <a:lnTo>
                    <a:pt x="55536" y="14965"/>
                  </a:lnTo>
                  <a:lnTo>
                    <a:pt x="14965" y="555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9" name="Freeform: Shape 13398">
              <a:extLst>
                <a:ext uri="{FF2B5EF4-FFF2-40B4-BE49-F238E27FC236}">
                  <a16:creationId xmlns:a16="http://schemas.microsoft.com/office/drawing/2014/main" id="{1A4C3DF0-356E-4F88-9F9E-321DF219553F}"/>
                </a:ext>
              </a:extLst>
            </p:cNvPr>
            <p:cNvSpPr/>
            <p:nvPr/>
          </p:nvSpPr>
          <p:spPr bwMode="ltGray">
            <a:xfrm>
              <a:off x="-2860" y="3068319"/>
              <a:ext cx="2797999" cy="224199"/>
            </a:xfrm>
            <a:custGeom>
              <a:avLst/>
              <a:gdLst>
                <a:gd name="connsiteX0" fmla="*/ 2791854 w 2797998"/>
                <a:gd name="connsiteY0" fmla="*/ 218248 h 224198"/>
                <a:gd name="connsiteX1" fmla="*/ 2710704 w 2797998"/>
                <a:gd name="connsiteY1" fmla="*/ 218248 h 224198"/>
                <a:gd name="connsiteX2" fmla="*/ 2682016 w 2797998"/>
                <a:gd name="connsiteY2" fmla="*/ 189560 h 224198"/>
                <a:gd name="connsiteX3" fmla="*/ 2763166 w 2797998"/>
                <a:gd name="connsiteY3" fmla="*/ 189560 h 224198"/>
                <a:gd name="connsiteX4" fmla="*/ 2791854 w 2797998"/>
                <a:gd name="connsiteY4" fmla="*/ 218248 h 224198"/>
                <a:gd name="connsiteX5" fmla="*/ 2740214 w 2797998"/>
                <a:gd name="connsiteY5" fmla="*/ 166598 h 224198"/>
                <a:gd name="connsiteX6" fmla="*/ 2659063 w 2797998"/>
                <a:gd name="connsiteY6" fmla="*/ 166598 h 224198"/>
                <a:gd name="connsiteX7" fmla="*/ 2609983 w 2797998"/>
                <a:gd name="connsiteY7" fmla="*/ 117527 h 224198"/>
                <a:gd name="connsiteX8" fmla="*/ 2639689 w 2797998"/>
                <a:gd name="connsiteY8" fmla="*/ 66083 h 224198"/>
                <a:gd name="connsiteX9" fmla="*/ 2740214 w 2797998"/>
                <a:gd name="connsiteY9" fmla="*/ 166598 h 224198"/>
                <a:gd name="connsiteX10" fmla="*/ 2597773 w 2797998"/>
                <a:gd name="connsiteY10" fmla="*/ 105317 h 224198"/>
                <a:gd name="connsiteX11" fmla="*/ 2556847 w 2797998"/>
                <a:gd name="connsiteY11" fmla="*/ 64392 h 224198"/>
                <a:gd name="connsiteX12" fmla="*/ 1938115 w 2797998"/>
                <a:gd name="connsiteY12" fmla="*/ 64392 h 224198"/>
                <a:gd name="connsiteX13" fmla="*/ 1904989 w 2797998"/>
                <a:gd name="connsiteY13" fmla="*/ 7006 h 224198"/>
                <a:gd name="connsiteX14" fmla="*/ 2580622 w 2797998"/>
                <a:gd name="connsiteY14" fmla="*/ 7006 h 224198"/>
                <a:gd name="connsiteX15" fmla="*/ 2627479 w 2797998"/>
                <a:gd name="connsiteY15" fmla="*/ 53864 h 224198"/>
                <a:gd name="connsiteX16" fmla="*/ 2597773 w 2797998"/>
                <a:gd name="connsiteY16" fmla="*/ 105317 h 224198"/>
                <a:gd name="connsiteX17" fmla="*/ 1918852 w 2797998"/>
                <a:gd name="connsiteY17" fmla="*/ 64392 h 224198"/>
                <a:gd name="connsiteX18" fmla="*/ 1659202 w 2797998"/>
                <a:gd name="connsiteY18" fmla="*/ 64392 h 224198"/>
                <a:gd name="connsiteX19" fmla="*/ 1601816 w 2797998"/>
                <a:gd name="connsiteY19" fmla="*/ 7006 h 224198"/>
                <a:gd name="connsiteX20" fmla="*/ 1885727 w 2797998"/>
                <a:gd name="connsiteY20" fmla="*/ 7006 h 224198"/>
                <a:gd name="connsiteX21" fmla="*/ 1918852 w 2797998"/>
                <a:gd name="connsiteY21" fmla="*/ 64392 h 224198"/>
                <a:gd name="connsiteX22" fmla="*/ 1651336 w 2797998"/>
                <a:gd name="connsiteY22" fmla="*/ 64392 h 224198"/>
                <a:gd name="connsiteX23" fmla="*/ 1481534 w 2797998"/>
                <a:gd name="connsiteY23" fmla="*/ 64392 h 224198"/>
                <a:gd name="connsiteX24" fmla="*/ 1481534 w 2797998"/>
                <a:gd name="connsiteY24" fmla="*/ 63626 h 224198"/>
                <a:gd name="connsiteX25" fmla="*/ 1359598 w 2797998"/>
                <a:gd name="connsiteY25" fmla="*/ 63626 h 224198"/>
                <a:gd name="connsiteX26" fmla="*/ 1359598 w 2797998"/>
                <a:gd name="connsiteY26" fmla="*/ 64392 h 224198"/>
                <a:gd name="connsiteX27" fmla="*/ 1327182 w 2797998"/>
                <a:gd name="connsiteY27" fmla="*/ 64392 h 224198"/>
                <a:gd name="connsiteX28" fmla="*/ 1282529 w 2797998"/>
                <a:gd name="connsiteY28" fmla="*/ 29024 h 224198"/>
                <a:gd name="connsiteX29" fmla="*/ 1237886 w 2797998"/>
                <a:gd name="connsiteY29" fmla="*/ 64392 h 224198"/>
                <a:gd name="connsiteX30" fmla="*/ 793169 w 2797998"/>
                <a:gd name="connsiteY30" fmla="*/ 64392 h 224198"/>
                <a:gd name="connsiteX31" fmla="*/ 749683 w 2797998"/>
                <a:gd name="connsiteY31" fmla="*/ 30155 h 224198"/>
                <a:gd name="connsiteX32" fmla="*/ 706189 w 2797998"/>
                <a:gd name="connsiteY32" fmla="*/ 64392 h 224198"/>
                <a:gd name="connsiteX33" fmla="*/ 444969 w 2797998"/>
                <a:gd name="connsiteY33" fmla="*/ 64392 h 224198"/>
                <a:gd name="connsiteX34" fmla="*/ 502355 w 2797998"/>
                <a:gd name="connsiteY34" fmla="*/ 7006 h 224198"/>
                <a:gd name="connsiteX35" fmla="*/ 1593960 w 2797998"/>
                <a:gd name="connsiteY35" fmla="*/ 7006 h 224198"/>
                <a:gd name="connsiteX36" fmla="*/ 1651336 w 2797998"/>
                <a:gd name="connsiteY36" fmla="*/ 64392 h 224198"/>
                <a:gd name="connsiteX37" fmla="*/ 784406 w 2797998"/>
                <a:gd name="connsiteY37" fmla="*/ 64392 h 224198"/>
                <a:gd name="connsiteX38" fmla="*/ 714961 w 2797998"/>
                <a:gd name="connsiteY38" fmla="*/ 64392 h 224198"/>
                <a:gd name="connsiteX39" fmla="*/ 749683 w 2797998"/>
                <a:gd name="connsiteY39" fmla="*/ 38618 h 224198"/>
                <a:gd name="connsiteX40" fmla="*/ 784406 w 2797998"/>
                <a:gd name="connsiteY40" fmla="*/ 64392 h 224198"/>
                <a:gd name="connsiteX41" fmla="*/ 421372 w 2797998"/>
                <a:gd name="connsiteY41" fmla="*/ 64392 h 224198"/>
                <a:gd name="connsiteX42" fmla="*/ 358634 w 2797998"/>
                <a:gd name="connsiteY42" fmla="*/ 64392 h 224198"/>
                <a:gd name="connsiteX43" fmla="*/ 416010 w 2797998"/>
                <a:gd name="connsiteY43" fmla="*/ 7006 h 224198"/>
                <a:gd name="connsiteX44" fmla="*/ 478758 w 2797998"/>
                <a:gd name="connsiteY44" fmla="*/ 7006 h 224198"/>
                <a:gd name="connsiteX45" fmla="*/ 421372 w 2797998"/>
                <a:gd name="connsiteY45" fmla="*/ 64392 h 224198"/>
                <a:gd name="connsiteX46" fmla="*/ 350768 w 2797998"/>
                <a:gd name="connsiteY46" fmla="*/ 64392 h 224198"/>
                <a:gd name="connsiteX47" fmla="*/ 7006 w 2797998"/>
                <a:gd name="connsiteY47" fmla="*/ 64392 h 224198"/>
                <a:gd name="connsiteX48" fmla="*/ 7006 w 2797998"/>
                <a:gd name="connsiteY48" fmla="*/ 7006 h 224198"/>
                <a:gd name="connsiteX49" fmla="*/ 408145 w 2797998"/>
                <a:gd name="connsiteY49" fmla="*/ 7006 h 224198"/>
                <a:gd name="connsiteX50" fmla="*/ 350768 w 2797998"/>
                <a:gd name="connsiteY50" fmla="*/ 64392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97998" h="224198">
                  <a:moveTo>
                    <a:pt x="2791854" y="218248"/>
                  </a:moveTo>
                  <a:lnTo>
                    <a:pt x="2710704" y="218248"/>
                  </a:lnTo>
                  <a:lnTo>
                    <a:pt x="2682016" y="189560"/>
                  </a:lnTo>
                  <a:lnTo>
                    <a:pt x="2763166" y="189560"/>
                  </a:lnTo>
                  <a:lnTo>
                    <a:pt x="2791854" y="218248"/>
                  </a:lnTo>
                  <a:close/>
                  <a:moveTo>
                    <a:pt x="2740214" y="166598"/>
                  </a:moveTo>
                  <a:lnTo>
                    <a:pt x="2659063" y="166598"/>
                  </a:lnTo>
                  <a:lnTo>
                    <a:pt x="2609983" y="117527"/>
                  </a:lnTo>
                  <a:lnTo>
                    <a:pt x="2639689" y="66083"/>
                  </a:lnTo>
                  <a:lnTo>
                    <a:pt x="2740214" y="166598"/>
                  </a:lnTo>
                  <a:close/>
                  <a:moveTo>
                    <a:pt x="2597773" y="105317"/>
                  </a:moveTo>
                  <a:lnTo>
                    <a:pt x="2556847" y="64392"/>
                  </a:lnTo>
                  <a:lnTo>
                    <a:pt x="1938115" y="64392"/>
                  </a:lnTo>
                  <a:lnTo>
                    <a:pt x="1904989" y="7006"/>
                  </a:lnTo>
                  <a:lnTo>
                    <a:pt x="2580622" y="7006"/>
                  </a:lnTo>
                  <a:lnTo>
                    <a:pt x="2627479" y="53864"/>
                  </a:lnTo>
                  <a:lnTo>
                    <a:pt x="2597773" y="105317"/>
                  </a:lnTo>
                  <a:close/>
                  <a:moveTo>
                    <a:pt x="1918852" y="64392"/>
                  </a:moveTo>
                  <a:lnTo>
                    <a:pt x="1659202" y="64392"/>
                  </a:lnTo>
                  <a:lnTo>
                    <a:pt x="1601816" y="7006"/>
                  </a:lnTo>
                  <a:lnTo>
                    <a:pt x="1885727" y="7006"/>
                  </a:lnTo>
                  <a:lnTo>
                    <a:pt x="1918852" y="64392"/>
                  </a:lnTo>
                  <a:close/>
                  <a:moveTo>
                    <a:pt x="1651336" y="64392"/>
                  </a:moveTo>
                  <a:lnTo>
                    <a:pt x="1481534" y="64392"/>
                  </a:lnTo>
                  <a:lnTo>
                    <a:pt x="1481534" y="63626"/>
                  </a:lnTo>
                  <a:lnTo>
                    <a:pt x="1359598" y="63626"/>
                  </a:lnTo>
                  <a:lnTo>
                    <a:pt x="1359598" y="64392"/>
                  </a:lnTo>
                  <a:lnTo>
                    <a:pt x="1327182" y="64392"/>
                  </a:lnTo>
                  <a:cubicBezTo>
                    <a:pt x="1322437" y="44120"/>
                    <a:pt x="1304249" y="29024"/>
                    <a:pt x="1282529" y="29024"/>
                  </a:cubicBezTo>
                  <a:cubicBezTo>
                    <a:pt x="1260819" y="29024"/>
                    <a:pt x="1242631" y="44120"/>
                    <a:pt x="1237886" y="64392"/>
                  </a:cubicBezTo>
                  <a:lnTo>
                    <a:pt x="793169" y="64392"/>
                  </a:lnTo>
                  <a:cubicBezTo>
                    <a:pt x="788433" y="44774"/>
                    <a:pt x="770739" y="30155"/>
                    <a:pt x="749683" y="30155"/>
                  </a:cubicBezTo>
                  <a:cubicBezTo>
                    <a:pt x="728627" y="30155"/>
                    <a:pt x="710925" y="44774"/>
                    <a:pt x="706189" y="64392"/>
                  </a:cubicBezTo>
                  <a:lnTo>
                    <a:pt x="444969" y="64392"/>
                  </a:lnTo>
                  <a:lnTo>
                    <a:pt x="502355" y="7006"/>
                  </a:lnTo>
                  <a:lnTo>
                    <a:pt x="1593960" y="7006"/>
                  </a:lnTo>
                  <a:lnTo>
                    <a:pt x="1651336" y="64392"/>
                  </a:lnTo>
                  <a:close/>
                  <a:moveTo>
                    <a:pt x="784406" y="64392"/>
                  </a:moveTo>
                  <a:lnTo>
                    <a:pt x="714961" y="64392"/>
                  </a:lnTo>
                  <a:cubicBezTo>
                    <a:pt x="719473" y="49492"/>
                    <a:pt x="733326" y="38618"/>
                    <a:pt x="749683" y="38618"/>
                  </a:cubicBezTo>
                  <a:cubicBezTo>
                    <a:pt x="766031" y="38618"/>
                    <a:pt x="779894" y="49492"/>
                    <a:pt x="784406" y="64392"/>
                  </a:cubicBezTo>
                  <a:close/>
                  <a:moveTo>
                    <a:pt x="421372" y="64392"/>
                  </a:moveTo>
                  <a:lnTo>
                    <a:pt x="358634" y="64392"/>
                  </a:lnTo>
                  <a:lnTo>
                    <a:pt x="416010" y="7006"/>
                  </a:lnTo>
                  <a:lnTo>
                    <a:pt x="478758" y="7006"/>
                  </a:lnTo>
                  <a:lnTo>
                    <a:pt x="421372" y="64392"/>
                  </a:lnTo>
                  <a:close/>
                  <a:moveTo>
                    <a:pt x="350768" y="64392"/>
                  </a:moveTo>
                  <a:lnTo>
                    <a:pt x="7006" y="64392"/>
                  </a:lnTo>
                  <a:lnTo>
                    <a:pt x="7006" y="7006"/>
                  </a:lnTo>
                  <a:lnTo>
                    <a:pt x="408145" y="7006"/>
                  </a:lnTo>
                  <a:lnTo>
                    <a:pt x="350768" y="643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0" name="Freeform: Shape 13399">
              <a:extLst>
                <a:ext uri="{FF2B5EF4-FFF2-40B4-BE49-F238E27FC236}">
                  <a16:creationId xmlns:a16="http://schemas.microsoft.com/office/drawing/2014/main" id="{61BA5A21-DC05-440C-B9F0-15D240408CBE}"/>
                </a:ext>
              </a:extLst>
            </p:cNvPr>
            <p:cNvSpPr/>
            <p:nvPr/>
          </p:nvSpPr>
          <p:spPr bwMode="ltGray">
            <a:xfrm>
              <a:off x="1875860" y="3068319"/>
              <a:ext cx="766759" cy="123309"/>
            </a:xfrm>
            <a:custGeom>
              <a:avLst/>
              <a:gdLst>
                <a:gd name="connsiteX0" fmla="*/ 731262 w 766759"/>
                <a:gd name="connsiteY0" fmla="*/ 117527 h 123309"/>
                <a:gd name="connsiteX1" fmla="*/ 719052 w 766759"/>
                <a:gd name="connsiteY1" fmla="*/ 105317 h 123309"/>
                <a:gd name="connsiteX2" fmla="*/ 748759 w 766759"/>
                <a:gd name="connsiteY2" fmla="*/ 53864 h 123309"/>
                <a:gd name="connsiteX3" fmla="*/ 760968 w 766759"/>
                <a:gd name="connsiteY3" fmla="*/ 66083 h 123309"/>
                <a:gd name="connsiteX4" fmla="*/ 731262 w 766759"/>
                <a:gd name="connsiteY4" fmla="*/ 117527 h 123309"/>
                <a:gd name="connsiteX5" fmla="*/ 59394 w 766759"/>
                <a:gd name="connsiteY5" fmla="*/ 64392 h 123309"/>
                <a:gd name="connsiteX6" fmla="*/ 40131 w 766759"/>
                <a:gd name="connsiteY6" fmla="*/ 64392 h 123309"/>
                <a:gd name="connsiteX7" fmla="*/ 7006 w 766759"/>
                <a:gd name="connsiteY7" fmla="*/ 7006 h 123309"/>
                <a:gd name="connsiteX8" fmla="*/ 26269 w 766759"/>
                <a:gd name="connsiteY8" fmla="*/ 7006 h 123309"/>
                <a:gd name="connsiteX9" fmla="*/ 59394 w 766759"/>
                <a:gd name="connsiteY9" fmla="*/ 64392 h 12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123309">
                  <a:moveTo>
                    <a:pt x="731262" y="117527"/>
                  </a:moveTo>
                  <a:lnTo>
                    <a:pt x="719052" y="105317"/>
                  </a:lnTo>
                  <a:lnTo>
                    <a:pt x="748759" y="53864"/>
                  </a:lnTo>
                  <a:lnTo>
                    <a:pt x="760968" y="66083"/>
                  </a:lnTo>
                  <a:lnTo>
                    <a:pt x="731262" y="117527"/>
                  </a:lnTo>
                  <a:close/>
                  <a:moveTo>
                    <a:pt x="59394" y="64392"/>
                  </a:moveTo>
                  <a:lnTo>
                    <a:pt x="40131" y="64392"/>
                  </a:lnTo>
                  <a:lnTo>
                    <a:pt x="7006" y="7006"/>
                  </a:lnTo>
                  <a:lnTo>
                    <a:pt x="26269" y="7006"/>
                  </a:lnTo>
                  <a:lnTo>
                    <a:pt x="5939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1" name="Freeform: Shape 13400">
              <a:extLst>
                <a:ext uri="{FF2B5EF4-FFF2-40B4-BE49-F238E27FC236}">
                  <a16:creationId xmlns:a16="http://schemas.microsoft.com/office/drawing/2014/main" id="{D809BEB6-7EAE-4D48-96B4-775155B05A23}"/>
                </a:ext>
              </a:extLst>
            </p:cNvPr>
            <p:cNvSpPr/>
            <p:nvPr/>
          </p:nvSpPr>
          <p:spPr bwMode="ltGray">
            <a:xfrm>
              <a:off x="411506" y="3068319"/>
              <a:ext cx="94163" cy="69502"/>
            </a:xfrm>
            <a:custGeom>
              <a:avLst/>
              <a:gdLst>
                <a:gd name="connsiteX0" fmla="*/ 30603 w 94163"/>
                <a:gd name="connsiteY0" fmla="*/ 64392 h 69501"/>
                <a:gd name="connsiteX1" fmla="*/ 7006 w 94163"/>
                <a:gd name="connsiteY1" fmla="*/ 64392 h 69501"/>
                <a:gd name="connsiteX2" fmla="*/ 64392 w 94163"/>
                <a:gd name="connsiteY2" fmla="*/ 7006 h 69501"/>
                <a:gd name="connsiteX3" fmla="*/ 87989 w 94163"/>
                <a:gd name="connsiteY3" fmla="*/ 7006 h 69501"/>
                <a:gd name="connsiteX4" fmla="*/ 30603 w 94163"/>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63" h="69501">
                  <a:moveTo>
                    <a:pt x="30603" y="64392"/>
                  </a:moveTo>
                  <a:lnTo>
                    <a:pt x="7006" y="64392"/>
                  </a:lnTo>
                  <a:lnTo>
                    <a:pt x="64392" y="7006"/>
                  </a:lnTo>
                  <a:lnTo>
                    <a:pt x="87989" y="7006"/>
                  </a:lnTo>
                  <a:lnTo>
                    <a:pt x="30603"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2" name="Freeform: Shape 13401">
              <a:extLst>
                <a:ext uri="{FF2B5EF4-FFF2-40B4-BE49-F238E27FC236}">
                  <a16:creationId xmlns:a16="http://schemas.microsoft.com/office/drawing/2014/main" id="{8AC45C5D-DD47-4AB7-A971-B31AC0D5D452}"/>
                </a:ext>
              </a:extLst>
            </p:cNvPr>
            <p:cNvSpPr/>
            <p:nvPr/>
          </p:nvSpPr>
          <p:spPr bwMode="ltGray">
            <a:xfrm>
              <a:off x="340902" y="3068319"/>
              <a:ext cx="1320530" cy="69502"/>
            </a:xfrm>
            <a:custGeom>
              <a:avLst/>
              <a:gdLst>
                <a:gd name="connsiteX0" fmla="*/ 1315440 w 1320529"/>
                <a:gd name="connsiteY0" fmla="*/ 64392 h 69501"/>
                <a:gd name="connsiteX1" fmla="*/ 1307574 w 1320529"/>
                <a:gd name="connsiteY1" fmla="*/ 64392 h 69501"/>
                <a:gd name="connsiteX2" fmla="*/ 1250198 w 1320529"/>
                <a:gd name="connsiteY2" fmla="*/ 7006 h 69501"/>
                <a:gd name="connsiteX3" fmla="*/ 1258054 w 1320529"/>
                <a:gd name="connsiteY3" fmla="*/ 7006 h 69501"/>
                <a:gd name="connsiteX4" fmla="*/ 1315440 w 1320529"/>
                <a:gd name="connsiteY4" fmla="*/ 64392 h 69501"/>
                <a:gd name="connsiteX5" fmla="*/ 14872 w 1320529"/>
                <a:gd name="connsiteY5" fmla="*/ 64392 h 69501"/>
                <a:gd name="connsiteX6" fmla="*/ 7006 w 1320529"/>
                <a:gd name="connsiteY6" fmla="*/ 64392 h 69501"/>
                <a:gd name="connsiteX7" fmla="*/ 64382 w 1320529"/>
                <a:gd name="connsiteY7" fmla="*/ 7006 h 69501"/>
                <a:gd name="connsiteX8" fmla="*/ 72248 w 1320529"/>
                <a:gd name="connsiteY8" fmla="*/ 7006 h 69501"/>
                <a:gd name="connsiteX9" fmla="*/ 14872 w 1320529"/>
                <a:gd name="connsiteY9"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0529" h="69501">
                  <a:moveTo>
                    <a:pt x="1315440" y="64392"/>
                  </a:moveTo>
                  <a:lnTo>
                    <a:pt x="1307574" y="64392"/>
                  </a:lnTo>
                  <a:lnTo>
                    <a:pt x="1250198" y="7006"/>
                  </a:lnTo>
                  <a:lnTo>
                    <a:pt x="1258054" y="7006"/>
                  </a:lnTo>
                  <a:lnTo>
                    <a:pt x="1315440" y="64392"/>
                  </a:lnTo>
                  <a:close/>
                  <a:moveTo>
                    <a:pt x="14872" y="64392"/>
                  </a:moveTo>
                  <a:lnTo>
                    <a:pt x="7006" y="64392"/>
                  </a:lnTo>
                  <a:lnTo>
                    <a:pt x="64382" y="7006"/>
                  </a:lnTo>
                  <a:lnTo>
                    <a:pt x="72248" y="7006"/>
                  </a:lnTo>
                  <a:lnTo>
                    <a:pt x="14872"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3" name="Freeform: Shape 13402">
              <a:extLst>
                <a:ext uri="{FF2B5EF4-FFF2-40B4-BE49-F238E27FC236}">
                  <a16:creationId xmlns:a16="http://schemas.microsoft.com/office/drawing/2014/main" id="{FA7404B5-637C-4805-8507-5C2804A3B62D}"/>
                </a:ext>
              </a:extLst>
            </p:cNvPr>
            <p:cNvSpPr/>
            <p:nvPr/>
          </p:nvSpPr>
          <p:spPr bwMode="ltGray">
            <a:xfrm>
              <a:off x="696322" y="3091467"/>
              <a:ext cx="100889" cy="47082"/>
            </a:xfrm>
            <a:custGeom>
              <a:avLst/>
              <a:gdLst>
                <a:gd name="connsiteX0" fmla="*/ 93986 w 100889"/>
                <a:gd name="connsiteY0" fmla="*/ 41243 h 47081"/>
                <a:gd name="connsiteX1" fmla="*/ 85224 w 100889"/>
                <a:gd name="connsiteY1" fmla="*/ 41243 h 47081"/>
                <a:gd name="connsiteX2" fmla="*/ 50501 w 100889"/>
                <a:gd name="connsiteY2" fmla="*/ 15470 h 47081"/>
                <a:gd name="connsiteX3" fmla="*/ 15778 w 100889"/>
                <a:gd name="connsiteY3" fmla="*/ 41243 h 47081"/>
                <a:gd name="connsiteX4" fmla="*/ 7006 w 100889"/>
                <a:gd name="connsiteY4" fmla="*/ 41243 h 47081"/>
                <a:gd name="connsiteX5" fmla="*/ 50501 w 100889"/>
                <a:gd name="connsiteY5" fmla="*/ 7006 h 47081"/>
                <a:gd name="connsiteX6" fmla="*/ 93986 w 100889"/>
                <a:gd name="connsiteY6" fmla="*/ 41243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47081">
                  <a:moveTo>
                    <a:pt x="93986" y="41243"/>
                  </a:moveTo>
                  <a:lnTo>
                    <a:pt x="85224" y="41243"/>
                  </a:lnTo>
                  <a:cubicBezTo>
                    <a:pt x="80712" y="26343"/>
                    <a:pt x="66849" y="15470"/>
                    <a:pt x="50501" y="15470"/>
                  </a:cubicBezTo>
                  <a:cubicBezTo>
                    <a:pt x="34144" y="15470"/>
                    <a:pt x="20290" y="26343"/>
                    <a:pt x="15778" y="41243"/>
                  </a:cubicBezTo>
                  <a:lnTo>
                    <a:pt x="7006" y="41243"/>
                  </a:lnTo>
                  <a:cubicBezTo>
                    <a:pt x="11742" y="21626"/>
                    <a:pt x="29445" y="7006"/>
                    <a:pt x="50501" y="7006"/>
                  </a:cubicBezTo>
                  <a:cubicBezTo>
                    <a:pt x="71557" y="7006"/>
                    <a:pt x="89250" y="21626"/>
                    <a:pt x="93986" y="4124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4" name="Freeform: Shape 13403">
              <a:extLst>
                <a:ext uri="{FF2B5EF4-FFF2-40B4-BE49-F238E27FC236}">
                  <a16:creationId xmlns:a16="http://schemas.microsoft.com/office/drawing/2014/main" id="{CE67BDAD-AF60-4E28-8AA0-CFBCEEE27FD6}"/>
                </a:ext>
              </a:extLst>
            </p:cNvPr>
            <p:cNvSpPr/>
            <p:nvPr/>
          </p:nvSpPr>
          <p:spPr bwMode="ltGray">
            <a:xfrm>
              <a:off x="1228019" y="3090337"/>
              <a:ext cx="103131" cy="49324"/>
            </a:xfrm>
            <a:custGeom>
              <a:avLst/>
              <a:gdLst>
                <a:gd name="connsiteX0" fmla="*/ 96303 w 103131"/>
                <a:gd name="connsiteY0" fmla="*/ 42374 h 49323"/>
                <a:gd name="connsiteX1" fmla="*/ 7006 w 103131"/>
                <a:gd name="connsiteY1" fmla="*/ 42374 h 49323"/>
                <a:gd name="connsiteX2" fmla="*/ 51650 w 103131"/>
                <a:gd name="connsiteY2" fmla="*/ 7006 h 49323"/>
                <a:gd name="connsiteX3" fmla="*/ 96303 w 103131"/>
                <a:gd name="connsiteY3" fmla="*/ 42374 h 49323"/>
              </a:gdLst>
              <a:ahLst/>
              <a:cxnLst>
                <a:cxn ang="0">
                  <a:pos x="connsiteX0" y="connsiteY0"/>
                </a:cxn>
                <a:cxn ang="0">
                  <a:pos x="connsiteX1" y="connsiteY1"/>
                </a:cxn>
                <a:cxn ang="0">
                  <a:pos x="connsiteX2" y="connsiteY2"/>
                </a:cxn>
                <a:cxn ang="0">
                  <a:pos x="connsiteX3" y="connsiteY3"/>
                </a:cxn>
              </a:cxnLst>
              <a:rect l="l" t="t" r="r" b="b"/>
              <a:pathLst>
                <a:path w="103131" h="49323">
                  <a:moveTo>
                    <a:pt x="96303" y="42374"/>
                  </a:moveTo>
                  <a:lnTo>
                    <a:pt x="7006" y="42374"/>
                  </a:lnTo>
                  <a:cubicBezTo>
                    <a:pt x="11752" y="22102"/>
                    <a:pt x="29940" y="7006"/>
                    <a:pt x="51650" y="7006"/>
                  </a:cubicBezTo>
                  <a:cubicBezTo>
                    <a:pt x="73369" y="7006"/>
                    <a:pt x="91557" y="22102"/>
                    <a:pt x="96303" y="4237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5" name="Freeform: Shape 13404">
              <a:extLst>
                <a:ext uri="{FF2B5EF4-FFF2-40B4-BE49-F238E27FC236}">
                  <a16:creationId xmlns:a16="http://schemas.microsoft.com/office/drawing/2014/main" id="{5CA2392C-033C-4E8D-AC0C-8A0C75298136}"/>
                </a:ext>
              </a:extLst>
            </p:cNvPr>
            <p:cNvSpPr/>
            <p:nvPr/>
          </p:nvSpPr>
          <p:spPr bwMode="ltGray">
            <a:xfrm>
              <a:off x="1349731" y="3124938"/>
              <a:ext cx="134519" cy="13452"/>
            </a:xfrm>
            <a:custGeom>
              <a:avLst/>
              <a:gdLst>
                <a:gd name="connsiteX0" fmla="*/ 7006 w 134519"/>
                <a:gd name="connsiteY0" fmla="*/ 7006 h 13451"/>
                <a:gd name="connsiteX1" fmla="*/ 128942 w 134519"/>
                <a:gd name="connsiteY1" fmla="*/ 7006 h 13451"/>
                <a:gd name="connsiteX2" fmla="*/ 128942 w 134519"/>
                <a:gd name="connsiteY2" fmla="*/ 7772 h 13451"/>
                <a:gd name="connsiteX3" fmla="*/ 7006 w 134519"/>
                <a:gd name="connsiteY3" fmla="*/ 7772 h 13451"/>
              </a:gdLst>
              <a:ahLst/>
              <a:cxnLst>
                <a:cxn ang="0">
                  <a:pos x="connsiteX0" y="connsiteY0"/>
                </a:cxn>
                <a:cxn ang="0">
                  <a:pos x="connsiteX1" y="connsiteY1"/>
                </a:cxn>
                <a:cxn ang="0">
                  <a:pos x="connsiteX2" y="connsiteY2"/>
                </a:cxn>
                <a:cxn ang="0">
                  <a:pos x="connsiteX3" y="connsiteY3"/>
                </a:cxn>
              </a:cxnLst>
              <a:rect l="l" t="t" r="r" b="b"/>
              <a:pathLst>
                <a:path w="134519" h="13451">
                  <a:moveTo>
                    <a:pt x="7006" y="7006"/>
                  </a:moveTo>
                  <a:lnTo>
                    <a:pt x="128942" y="7006"/>
                  </a:lnTo>
                  <a:lnTo>
                    <a:pt x="128942" y="7772"/>
                  </a:lnTo>
                  <a:lnTo>
                    <a:pt x="7006" y="77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6" name="Freeform: Shape 13405">
              <a:extLst>
                <a:ext uri="{FF2B5EF4-FFF2-40B4-BE49-F238E27FC236}">
                  <a16:creationId xmlns:a16="http://schemas.microsoft.com/office/drawing/2014/main" id="{601D1245-A5AB-4607-8780-85711D9B4258}"/>
                </a:ext>
              </a:extLst>
            </p:cNvPr>
            <p:cNvSpPr/>
            <p:nvPr/>
          </p:nvSpPr>
          <p:spPr bwMode="ltGray">
            <a:xfrm>
              <a:off x="3297664" y="3093280"/>
              <a:ext cx="567223" cy="105373"/>
            </a:xfrm>
            <a:custGeom>
              <a:avLst/>
              <a:gdLst>
                <a:gd name="connsiteX0" fmla="*/ 562225 w 567222"/>
                <a:gd name="connsiteY0" fmla="*/ 98816 h 105373"/>
                <a:gd name="connsiteX1" fmla="*/ 366285 w 567222"/>
                <a:gd name="connsiteY1" fmla="*/ 98816 h 105373"/>
                <a:gd name="connsiteX2" fmla="*/ 274476 w 567222"/>
                <a:gd name="connsiteY2" fmla="*/ 7006 h 105373"/>
                <a:gd name="connsiteX3" fmla="*/ 387089 w 567222"/>
                <a:gd name="connsiteY3" fmla="*/ 7006 h 105373"/>
                <a:gd name="connsiteX4" fmla="*/ 387220 w 567222"/>
                <a:gd name="connsiteY4" fmla="*/ 7137 h 105373"/>
                <a:gd name="connsiteX5" fmla="*/ 509146 w 567222"/>
                <a:gd name="connsiteY5" fmla="*/ 7137 h 105373"/>
                <a:gd name="connsiteX6" fmla="*/ 509268 w 567222"/>
                <a:gd name="connsiteY6" fmla="*/ 7006 h 105373"/>
                <a:gd name="connsiteX7" fmla="*/ 562225 w 567222"/>
                <a:gd name="connsiteY7" fmla="*/ 7006 h 105373"/>
                <a:gd name="connsiteX8" fmla="*/ 562225 w 567222"/>
                <a:gd name="connsiteY8" fmla="*/ 98816 h 105373"/>
                <a:gd name="connsiteX9" fmla="*/ 461196 w 567222"/>
                <a:gd name="connsiteY9" fmla="*/ 35853 h 105373"/>
                <a:gd name="connsiteX10" fmla="*/ 461196 w 567222"/>
                <a:gd name="connsiteY10" fmla="*/ 41486 h 105373"/>
                <a:gd name="connsiteX11" fmla="*/ 528736 w 567222"/>
                <a:gd name="connsiteY11" fmla="*/ 41486 h 105373"/>
                <a:gd name="connsiteX12" fmla="*/ 528736 w 567222"/>
                <a:gd name="connsiteY12" fmla="*/ 35853 h 105373"/>
                <a:gd name="connsiteX13" fmla="*/ 461196 w 567222"/>
                <a:gd name="connsiteY13" fmla="*/ 35853 h 105373"/>
                <a:gd name="connsiteX14" fmla="*/ 326125 w 567222"/>
                <a:gd name="connsiteY14" fmla="*/ 35853 h 105373"/>
                <a:gd name="connsiteX15" fmla="*/ 326125 w 567222"/>
                <a:gd name="connsiteY15" fmla="*/ 41486 h 105373"/>
                <a:gd name="connsiteX16" fmla="*/ 393665 w 567222"/>
                <a:gd name="connsiteY16" fmla="*/ 41486 h 105373"/>
                <a:gd name="connsiteX17" fmla="*/ 393665 w 567222"/>
                <a:gd name="connsiteY17" fmla="*/ 35853 h 105373"/>
                <a:gd name="connsiteX18" fmla="*/ 326125 w 567222"/>
                <a:gd name="connsiteY18" fmla="*/ 35853 h 105373"/>
                <a:gd name="connsiteX19" fmla="*/ 342697 w 567222"/>
                <a:gd name="connsiteY19" fmla="*/ 98816 h 105373"/>
                <a:gd name="connsiteX20" fmla="*/ 171839 w 567222"/>
                <a:gd name="connsiteY20" fmla="*/ 98816 h 105373"/>
                <a:gd name="connsiteX21" fmla="*/ 151549 w 567222"/>
                <a:gd name="connsiteY21" fmla="*/ 78535 h 105373"/>
                <a:gd name="connsiteX22" fmla="*/ 7006 w 567222"/>
                <a:gd name="connsiteY22" fmla="*/ 78535 h 105373"/>
                <a:gd name="connsiteX23" fmla="*/ 78526 w 567222"/>
                <a:gd name="connsiteY23" fmla="*/ 7006 h 105373"/>
                <a:gd name="connsiteX24" fmla="*/ 250888 w 567222"/>
                <a:gd name="connsiteY24" fmla="*/ 7006 h 105373"/>
                <a:gd name="connsiteX25" fmla="*/ 342697 w 567222"/>
                <a:gd name="connsiteY25" fmla="*/ 98816 h 105373"/>
                <a:gd name="connsiteX26" fmla="*/ 191055 w 567222"/>
                <a:gd name="connsiteY26" fmla="*/ 35853 h 105373"/>
                <a:gd name="connsiteX27" fmla="*/ 191055 w 567222"/>
                <a:gd name="connsiteY27" fmla="*/ 41486 h 105373"/>
                <a:gd name="connsiteX28" fmla="*/ 258585 w 567222"/>
                <a:gd name="connsiteY28" fmla="*/ 41486 h 105373"/>
                <a:gd name="connsiteX29" fmla="*/ 258585 w 567222"/>
                <a:gd name="connsiteY29" fmla="*/ 35853 h 105373"/>
                <a:gd name="connsiteX30" fmla="*/ 191055 w 567222"/>
                <a:gd name="connsiteY30" fmla="*/ 35853 h 105373"/>
                <a:gd name="connsiteX31" fmla="*/ 55984 w 567222"/>
                <a:gd name="connsiteY31" fmla="*/ 35853 h 105373"/>
                <a:gd name="connsiteX32" fmla="*/ 55984 w 567222"/>
                <a:gd name="connsiteY32" fmla="*/ 41486 h 105373"/>
                <a:gd name="connsiteX33" fmla="*/ 123515 w 567222"/>
                <a:gd name="connsiteY33" fmla="*/ 41486 h 105373"/>
                <a:gd name="connsiteX34" fmla="*/ 123515 w 567222"/>
                <a:gd name="connsiteY34" fmla="*/ 35853 h 105373"/>
                <a:gd name="connsiteX35" fmla="*/ 55984 w 567222"/>
                <a:gd name="connsiteY35" fmla="*/ 35853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7222" h="105373">
                  <a:moveTo>
                    <a:pt x="562225" y="98816"/>
                  </a:moveTo>
                  <a:lnTo>
                    <a:pt x="366285" y="98816"/>
                  </a:lnTo>
                  <a:lnTo>
                    <a:pt x="274476" y="7006"/>
                  </a:lnTo>
                  <a:lnTo>
                    <a:pt x="387089" y="7006"/>
                  </a:lnTo>
                  <a:lnTo>
                    <a:pt x="387220" y="7137"/>
                  </a:lnTo>
                  <a:lnTo>
                    <a:pt x="509146" y="7137"/>
                  </a:lnTo>
                  <a:lnTo>
                    <a:pt x="509268" y="7006"/>
                  </a:lnTo>
                  <a:lnTo>
                    <a:pt x="562225" y="7006"/>
                  </a:lnTo>
                  <a:lnTo>
                    <a:pt x="562225" y="98816"/>
                  </a:lnTo>
                  <a:close/>
                  <a:moveTo>
                    <a:pt x="461196" y="35853"/>
                  </a:moveTo>
                  <a:lnTo>
                    <a:pt x="461196" y="41486"/>
                  </a:lnTo>
                  <a:lnTo>
                    <a:pt x="528736" y="41486"/>
                  </a:lnTo>
                  <a:lnTo>
                    <a:pt x="528736" y="35853"/>
                  </a:lnTo>
                  <a:lnTo>
                    <a:pt x="461196" y="35853"/>
                  </a:lnTo>
                  <a:close/>
                  <a:moveTo>
                    <a:pt x="326125" y="35853"/>
                  </a:moveTo>
                  <a:lnTo>
                    <a:pt x="326125" y="41486"/>
                  </a:lnTo>
                  <a:lnTo>
                    <a:pt x="393665" y="41486"/>
                  </a:lnTo>
                  <a:lnTo>
                    <a:pt x="393665" y="35853"/>
                  </a:lnTo>
                  <a:lnTo>
                    <a:pt x="326125" y="35853"/>
                  </a:lnTo>
                  <a:close/>
                  <a:moveTo>
                    <a:pt x="342697" y="98816"/>
                  </a:moveTo>
                  <a:lnTo>
                    <a:pt x="171839" y="98816"/>
                  </a:lnTo>
                  <a:lnTo>
                    <a:pt x="151549" y="78535"/>
                  </a:lnTo>
                  <a:lnTo>
                    <a:pt x="7006" y="78535"/>
                  </a:lnTo>
                  <a:lnTo>
                    <a:pt x="78526" y="7006"/>
                  </a:lnTo>
                  <a:lnTo>
                    <a:pt x="250888" y="7006"/>
                  </a:lnTo>
                  <a:lnTo>
                    <a:pt x="342697" y="98816"/>
                  </a:lnTo>
                  <a:close/>
                  <a:moveTo>
                    <a:pt x="191055" y="35853"/>
                  </a:moveTo>
                  <a:lnTo>
                    <a:pt x="191055" y="41486"/>
                  </a:lnTo>
                  <a:lnTo>
                    <a:pt x="258585" y="41486"/>
                  </a:lnTo>
                  <a:lnTo>
                    <a:pt x="258585" y="35853"/>
                  </a:lnTo>
                  <a:lnTo>
                    <a:pt x="191055" y="35853"/>
                  </a:lnTo>
                  <a:close/>
                  <a:moveTo>
                    <a:pt x="55984" y="35853"/>
                  </a:moveTo>
                  <a:lnTo>
                    <a:pt x="55984" y="41486"/>
                  </a:lnTo>
                  <a:lnTo>
                    <a:pt x="123515" y="41486"/>
                  </a:lnTo>
                  <a:lnTo>
                    <a:pt x="123515" y="35853"/>
                  </a:lnTo>
                  <a:lnTo>
                    <a:pt x="55984" y="3585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7" name="Freeform: Shape 13406">
              <a:extLst>
                <a:ext uri="{FF2B5EF4-FFF2-40B4-BE49-F238E27FC236}">
                  <a16:creationId xmlns:a16="http://schemas.microsoft.com/office/drawing/2014/main" id="{4ED71919-2702-46E0-91AF-12DD42E224E8}"/>
                </a:ext>
              </a:extLst>
            </p:cNvPr>
            <p:cNvSpPr/>
            <p:nvPr/>
          </p:nvSpPr>
          <p:spPr bwMode="ltGray">
            <a:xfrm>
              <a:off x="3541545" y="3093280"/>
              <a:ext cx="127793" cy="105373"/>
            </a:xfrm>
            <a:custGeom>
              <a:avLst/>
              <a:gdLst>
                <a:gd name="connsiteX0" fmla="*/ 122403 w 127793"/>
                <a:gd name="connsiteY0" fmla="*/ 98816 h 105373"/>
                <a:gd name="connsiteX1" fmla="*/ 98816 w 127793"/>
                <a:gd name="connsiteY1" fmla="*/ 98816 h 105373"/>
                <a:gd name="connsiteX2" fmla="*/ 7006 w 127793"/>
                <a:gd name="connsiteY2" fmla="*/ 7006 h 105373"/>
                <a:gd name="connsiteX3" fmla="*/ 30594 w 127793"/>
                <a:gd name="connsiteY3" fmla="*/ 7006 h 105373"/>
                <a:gd name="connsiteX4" fmla="*/ 122403 w 127793"/>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105373">
                  <a:moveTo>
                    <a:pt x="122403" y="98816"/>
                  </a:moveTo>
                  <a:lnTo>
                    <a:pt x="98816" y="98816"/>
                  </a:lnTo>
                  <a:lnTo>
                    <a:pt x="7006" y="7006"/>
                  </a:lnTo>
                  <a:lnTo>
                    <a:pt x="30594" y="7006"/>
                  </a:lnTo>
                  <a:lnTo>
                    <a:pt x="122403"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8" name="Freeform: Shape 13407">
              <a:extLst>
                <a:ext uri="{FF2B5EF4-FFF2-40B4-BE49-F238E27FC236}">
                  <a16:creationId xmlns:a16="http://schemas.microsoft.com/office/drawing/2014/main" id="{3AA3C661-A383-4F27-8E8B-DEB69AF02F38}"/>
                </a:ext>
              </a:extLst>
            </p:cNvPr>
            <p:cNvSpPr/>
            <p:nvPr/>
          </p:nvSpPr>
          <p:spPr bwMode="ltGray">
            <a:xfrm>
              <a:off x="3677746" y="3093280"/>
              <a:ext cx="134519" cy="13452"/>
            </a:xfrm>
            <a:custGeom>
              <a:avLst/>
              <a:gdLst>
                <a:gd name="connsiteX0" fmla="*/ 129064 w 134519"/>
                <a:gd name="connsiteY0" fmla="*/ 7137 h 13451"/>
                <a:gd name="connsiteX1" fmla="*/ 7137 w 134519"/>
                <a:gd name="connsiteY1" fmla="*/ 7137 h 13451"/>
                <a:gd name="connsiteX2" fmla="*/ 7006 w 134519"/>
                <a:gd name="connsiteY2" fmla="*/ 7006 h 13451"/>
                <a:gd name="connsiteX3" fmla="*/ 129185 w 134519"/>
                <a:gd name="connsiteY3" fmla="*/ 7006 h 13451"/>
                <a:gd name="connsiteX4" fmla="*/ 129064 w 134519"/>
                <a:gd name="connsiteY4" fmla="*/ 7137 h 13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3451">
                  <a:moveTo>
                    <a:pt x="129064" y="7137"/>
                  </a:moveTo>
                  <a:lnTo>
                    <a:pt x="7137" y="7137"/>
                  </a:lnTo>
                  <a:lnTo>
                    <a:pt x="7006" y="7006"/>
                  </a:lnTo>
                  <a:lnTo>
                    <a:pt x="129185" y="7006"/>
                  </a:lnTo>
                  <a:lnTo>
                    <a:pt x="129064" y="713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9" name="Freeform: Shape 13408">
              <a:extLst>
                <a:ext uri="{FF2B5EF4-FFF2-40B4-BE49-F238E27FC236}">
                  <a16:creationId xmlns:a16="http://schemas.microsoft.com/office/drawing/2014/main" id="{99EAC45B-D4F3-4CED-AA8F-755B856387A3}"/>
                </a:ext>
              </a:extLst>
            </p:cNvPr>
            <p:cNvSpPr/>
            <p:nvPr/>
          </p:nvSpPr>
          <p:spPr bwMode="ltGray">
            <a:xfrm>
              <a:off x="3277374" y="3181689"/>
              <a:ext cx="174875" cy="15694"/>
            </a:xfrm>
            <a:custGeom>
              <a:avLst/>
              <a:gdLst>
                <a:gd name="connsiteX0" fmla="*/ 168252 w 174874"/>
                <a:gd name="connsiteY0" fmla="*/ 10407 h 15693"/>
                <a:gd name="connsiteX1" fmla="*/ 7006 w 174874"/>
                <a:gd name="connsiteY1" fmla="*/ 10407 h 15693"/>
                <a:gd name="connsiteX2" fmla="*/ 10407 w 174874"/>
                <a:gd name="connsiteY2" fmla="*/ 7006 h 15693"/>
                <a:gd name="connsiteX3" fmla="*/ 164842 w 174874"/>
                <a:gd name="connsiteY3" fmla="*/ 7006 h 15693"/>
                <a:gd name="connsiteX4" fmla="*/ 168252 w 174874"/>
                <a:gd name="connsiteY4" fmla="*/ 10407 h 15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5693">
                  <a:moveTo>
                    <a:pt x="168252" y="10407"/>
                  </a:moveTo>
                  <a:lnTo>
                    <a:pt x="7006" y="10407"/>
                  </a:lnTo>
                  <a:lnTo>
                    <a:pt x="10407" y="7006"/>
                  </a:lnTo>
                  <a:lnTo>
                    <a:pt x="164842" y="7006"/>
                  </a:lnTo>
                  <a:lnTo>
                    <a:pt x="168252" y="10407"/>
                  </a:lnTo>
                  <a:close/>
                </a:path>
              </a:pathLst>
            </a:custGeom>
            <a:solidFill>
              <a:srgbClr val="1C1D20"/>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0" name="Freeform: Shape 13409">
              <a:extLst>
                <a:ext uri="{FF2B5EF4-FFF2-40B4-BE49-F238E27FC236}">
                  <a16:creationId xmlns:a16="http://schemas.microsoft.com/office/drawing/2014/main" id="{F58B21E5-6CDE-4112-98D3-DF7192C9ED1C}"/>
                </a:ext>
              </a:extLst>
            </p:cNvPr>
            <p:cNvSpPr/>
            <p:nvPr/>
          </p:nvSpPr>
          <p:spPr bwMode="ltGray">
            <a:xfrm>
              <a:off x="3280774" y="3164808"/>
              <a:ext cx="195053" cy="33630"/>
            </a:xfrm>
            <a:custGeom>
              <a:avLst/>
              <a:gdLst>
                <a:gd name="connsiteX0" fmla="*/ 188729 w 195052"/>
                <a:gd name="connsiteY0" fmla="*/ 27287 h 33629"/>
                <a:gd name="connsiteX1" fmla="*/ 164852 w 195052"/>
                <a:gd name="connsiteY1" fmla="*/ 27287 h 33629"/>
                <a:gd name="connsiteX2" fmla="*/ 161442 w 195052"/>
                <a:gd name="connsiteY2" fmla="*/ 23886 h 33629"/>
                <a:gd name="connsiteX3" fmla="*/ 7006 w 195052"/>
                <a:gd name="connsiteY3" fmla="*/ 23886 h 33629"/>
                <a:gd name="connsiteX4" fmla="*/ 23896 w 195052"/>
                <a:gd name="connsiteY4" fmla="*/ 7006 h 33629"/>
                <a:gd name="connsiteX5" fmla="*/ 168438 w 195052"/>
                <a:gd name="connsiteY5" fmla="*/ 7006 h 33629"/>
                <a:gd name="connsiteX6" fmla="*/ 188729 w 195052"/>
                <a:gd name="connsiteY6" fmla="*/ 27287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52" h="33629">
                  <a:moveTo>
                    <a:pt x="188729" y="27287"/>
                  </a:moveTo>
                  <a:lnTo>
                    <a:pt x="164852" y="27287"/>
                  </a:lnTo>
                  <a:lnTo>
                    <a:pt x="161442" y="23886"/>
                  </a:lnTo>
                  <a:lnTo>
                    <a:pt x="7006" y="23886"/>
                  </a:lnTo>
                  <a:lnTo>
                    <a:pt x="23896" y="7006"/>
                  </a:lnTo>
                  <a:lnTo>
                    <a:pt x="168438" y="7006"/>
                  </a:lnTo>
                  <a:lnTo>
                    <a:pt x="188729" y="272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1" name="Freeform: Shape 13410">
              <a:extLst>
                <a:ext uri="{FF2B5EF4-FFF2-40B4-BE49-F238E27FC236}">
                  <a16:creationId xmlns:a16="http://schemas.microsoft.com/office/drawing/2014/main" id="{E4D4F69B-1D8B-4B4F-A204-731089AB74FD}"/>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2" name="Freeform: Shape 13411">
              <a:extLst>
                <a:ext uri="{FF2B5EF4-FFF2-40B4-BE49-F238E27FC236}">
                  <a16:creationId xmlns:a16="http://schemas.microsoft.com/office/drawing/2014/main" id="{A6870F9B-22C2-47CC-9F24-23807B44E3ED}"/>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3" name="Freeform: Shape 13412">
              <a:extLst>
                <a:ext uri="{FF2B5EF4-FFF2-40B4-BE49-F238E27FC236}">
                  <a16:creationId xmlns:a16="http://schemas.microsoft.com/office/drawing/2014/main" id="{0CAFD6A4-3232-4EB6-A264-2F91238D320B}"/>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4" name="Freeform: Shape 13413">
              <a:extLst>
                <a:ext uri="{FF2B5EF4-FFF2-40B4-BE49-F238E27FC236}">
                  <a16:creationId xmlns:a16="http://schemas.microsoft.com/office/drawing/2014/main" id="{8064DD60-D0CC-4DC1-A3DE-B9BCC9341C55}"/>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5" name="Freeform: Shape 13414">
              <a:extLst>
                <a:ext uri="{FF2B5EF4-FFF2-40B4-BE49-F238E27FC236}">
                  <a16:creationId xmlns:a16="http://schemas.microsoft.com/office/drawing/2014/main" id="{F3CA9C4E-806E-4B41-8D4F-D0E281109B11}"/>
                </a:ext>
              </a:extLst>
            </p:cNvPr>
            <p:cNvSpPr/>
            <p:nvPr/>
          </p:nvSpPr>
          <p:spPr bwMode="ltGray">
            <a:xfrm>
              <a:off x="2770414" y="2931688"/>
              <a:ext cx="562739" cy="266796"/>
            </a:xfrm>
            <a:custGeom>
              <a:avLst/>
              <a:gdLst>
                <a:gd name="connsiteX0" fmla="*/ 465278 w 562738"/>
                <a:gd name="connsiteY0" fmla="*/ 260407 h 266796"/>
                <a:gd name="connsiteX1" fmla="*/ 248739 w 562738"/>
                <a:gd name="connsiteY1" fmla="*/ 260407 h 266796"/>
                <a:gd name="connsiteX2" fmla="*/ 245330 w 562738"/>
                <a:gd name="connsiteY2" fmla="*/ 257007 h 266796"/>
                <a:gd name="connsiteX3" fmla="*/ 468688 w 562738"/>
                <a:gd name="connsiteY3" fmla="*/ 257007 h 266796"/>
                <a:gd name="connsiteX4" fmla="*/ 465278 w 562738"/>
                <a:gd name="connsiteY4" fmla="*/ 260407 h 266796"/>
                <a:gd name="connsiteX5" fmla="*/ 485568 w 562738"/>
                <a:gd name="connsiteY5" fmla="*/ 240126 h 266796"/>
                <a:gd name="connsiteX6" fmla="*/ 228449 w 562738"/>
                <a:gd name="connsiteY6" fmla="*/ 240126 h 266796"/>
                <a:gd name="connsiteX7" fmla="*/ 191401 w 562738"/>
                <a:gd name="connsiteY7" fmla="*/ 203078 h 266796"/>
                <a:gd name="connsiteX8" fmla="*/ 245554 w 562738"/>
                <a:gd name="connsiteY8" fmla="*/ 203078 h 266796"/>
                <a:gd name="connsiteX9" fmla="*/ 245554 w 562738"/>
                <a:gd name="connsiteY9" fmla="*/ 197445 h 266796"/>
                <a:gd name="connsiteX10" fmla="*/ 185777 w 562738"/>
                <a:gd name="connsiteY10" fmla="*/ 197445 h 266796"/>
                <a:gd name="connsiteX11" fmla="*/ 51117 w 562738"/>
                <a:gd name="connsiteY11" fmla="*/ 62785 h 266796"/>
                <a:gd name="connsiteX12" fmla="*/ 180947 w 562738"/>
                <a:gd name="connsiteY12" fmla="*/ 62785 h 266796"/>
                <a:gd name="connsiteX13" fmla="*/ 286760 w 562738"/>
                <a:gd name="connsiteY13" fmla="*/ 168598 h 266796"/>
                <a:gd name="connsiteX14" fmla="*/ 557097 w 562738"/>
                <a:gd name="connsiteY14" fmla="*/ 168598 h 266796"/>
                <a:gd name="connsiteX15" fmla="*/ 485568 w 562738"/>
                <a:gd name="connsiteY15" fmla="*/ 240126 h 266796"/>
                <a:gd name="connsiteX16" fmla="*/ 448155 w 562738"/>
                <a:gd name="connsiteY16" fmla="*/ 197445 h 266796"/>
                <a:gd name="connsiteX17" fmla="*/ 448155 w 562738"/>
                <a:gd name="connsiteY17" fmla="*/ 203078 h 266796"/>
                <a:gd name="connsiteX18" fmla="*/ 515695 w 562738"/>
                <a:gd name="connsiteY18" fmla="*/ 203078 h 266796"/>
                <a:gd name="connsiteX19" fmla="*/ 515695 w 562738"/>
                <a:gd name="connsiteY19" fmla="*/ 197445 h 266796"/>
                <a:gd name="connsiteX20" fmla="*/ 448155 w 562738"/>
                <a:gd name="connsiteY20" fmla="*/ 197445 h 266796"/>
                <a:gd name="connsiteX21" fmla="*/ 313084 w 562738"/>
                <a:gd name="connsiteY21" fmla="*/ 197445 h 266796"/>
                <a:gd name="connsiteX22" fmla="*/ 313084 w 562738"/>
                <a:gd name="connsiteY22" fmla="*/ 203078 h 266796"/>
                <a:gd name="connsiteX23" fmla="*/ 380624 w 562738"/>
                <a:gd name="connsiteY23" fmla="*/ 203078 h 266796"/>
                <a:gd name="connsiteX24" fmla="*/ 380624 w 562738"/>
                <a:gd name="connsiteY24" fmla="*/ 197445 h 266796"/>
                <a:gd name="connsiteX25" fmla="*/ 313084 w 562738"/>
                <a:gd name="connsiteY25" fmla="*/ 197445 h 266796"/>
                <a:gd name="connsiteX26" fmla="*/ 41860 w 562738"/>
                <a:gd name="connsiteY26" fmla="*/ 53537 h 266796"/>
                <a:gd name="connsiteX27" fmla="*/ 7006 w 562738"/>
                <a:gd name="connsiteY27" fmla="*/ 18674 h 266796"/>
                <a:gd name="connsiteX28" fmla="*/ 18665 w 562738"/>
                <a:gd name="connsiteY28" fmla="*/ 7006 h 266796"/>
                <a:gd name="connsiteX29" fmla="*/ 125178 w 562738"/>
                <a:gd name="connsiteY29" fmla="*/ 7006 h 266796"/>
                <a:gd name="connsiteX30" fmla="*/ 164263 w 562738"/>
                <a:gd name="connsiteY30" fmla="*/ 46101 h 266796"/>
                <a:gd name="connsiteX31" fmla="*/ 41860 w 562738"/>
                <a:gd name="connsiteY31" fmla="*/ 46101 h 266796"/>
                <a:gd name="connsiteX32" fmla="*/ 41860 w 562738"/>
                <a:gd name="connsiteY32" fmla="*/ 53537 h 26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2738" h="266796">
                  <a:moveTo>
                    <a:pt x="465278" y="260407"/>
                  </a:moveTo>
                  <a:lnTo>
                    <a:pt x="248739" y="260407"/>
                  </a:lnTo>
                  <a:lnTo>
                    <a:pt x="245330" y="257007"/>
                  </a:lnTo>
                  <a:lnTo>
                    <a:pt x="468688" y="257007"/>
                  </a:lnTo>
                  <a:lnTo>
                    <a:pt x="465278" y="260407"/>
                  </a:lnTo>
                  <a:close/>
                  <a:moveTo>
                    <a:pt x="485568" y="240126"/>
                  </a:moveTo>
                  <a:lnTo>
                    <a:pt x="228449" y="240126"/>
                  </a:lnTo>
                  <a:lnTo>
                    <a:pt x="191401" y="203078"/>
                  </a:lnTo>
                  <a:lnTo>
                    <a:pt x="245554" y="203078"/>
                  </a:lnTo>
                  <a:lnTo>
                    <a:pt x="245554" y="197445"/>
                  </a:lnTo>
                  <a:lnTo>
                    <a:pt x="185777" y="197445"/>
                  </a:lnTo>
                  <a:lnTo>
                    <a:pt x="51117" y="62785"/>
                  </a:lnTo>
                  <a:lnTo>
                    <a:pt x="180947" y="62785"/>
                  </a:lnTo>
                  <a:lnTo>
                    <a:pt x="286760" y="168598"/>
                  </a:lnTo>
                  <a:lnTo>
                    <a:pt x="557097" y="168598"/>
                  </a:lnTo>
                  <a:lnTo>
                    <a:pt x="485568" y="240126"/>
                  </a:lnTo>
                  <a:close/>
                  <a:moveTo>
                    <a:pt x="448155" y="197445"/>
                  </a:moveTo>
                  <a:lnTo>
                    <a:pt x="448155" y="203078"/>
                  </a:lnTo>
                  <a:lnTo>
                    <a:pt x="515695" y="203078"/>
                  </a:lnTo>
                  <a:lnTo>
                    <a:pt x="515695" y="197445"/>
                  </a:lnTo>
                  <a:lnTo>
                    <a:pt x="448155" y="197445"/>
                  </a:lnTo>
                  <a:close/>
                  <a:moveTo>
                    <a:pt x="313084" y="197445"/>
                  </a:moveTo>
                  <a:lnTo>
                    <a:pt x="313084" y="203078"/>
                  </a:lnTo>
                  <a:lnTo>
                    <a:pt x="380624" y="203078"/>
                  </a:lnTo>
                  <a:lnTo>
                    <a:pt x="380624" y="197445"/>
                  </a:lnTo>
                  <a:lnTo>
                    <a:pt x="313084" y="197445"/>
                  </a:lnTo>
                  <a:close/>
                  <a:moveTo>
                    <a:pt x="41860" y="53537"/>
                  </a:moveTo>
                  <a:lnTo>
                    <a:pt x="7006" y="18674"/>
                  </a:lnTo>
                  <a:lnTo>
                    <a:pt x="18665" y="7006"/>
                  </a:lnTo>
                  <a:lnTo>
                    <a:pt x="125178" y="7006"/>
                  </a:lnTo>
                  <a:lnTo>
                    <a:pt x="164263" y="46101"/>
                  </a:lnTo>
                  <a:lnTo>
                    <a:pt x="41860" y="46101"/>
                  </a:lnTo>
                  <a:lnTo>
                    <a:pt x="41860" y="5353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6" name="Freeform: Shape 13415">
              <a:extLst>
                <a:ext uri="{FF2B5EF4-FFF2-40B4-BE49-F238E27FC236}">
                  <a16:creationId xmlns:a16="http://schemas.microsoft.com/office/drawing/2014/main" id="{06314DBA-124E-49CB-81D4-557C52418B3E}"/>
                </a:ext>
              </a:extLst>
            </p:cNvPr>
            <p:cNvSpPr/>
            <p:nvPr/>
          </p:nvSpPr>
          <p:spPr bwMode="ltGray">
            <a:xfrm>
              <a:off x="2805267" y="2970783"/>
              <a:ext cx="152455" cy="29146"/>
            </a:xfrm>
            <a:custGeom>
              <a:avLst/>
              <a:gdLst>
                <a:gd name="connsiteX0" fmla="*/ 146094 w 152455"/>
                <a:gd name="connsiteY0" fmla="*/ 23690 h 29145"/>
                <a:gd name="connsiteX1" fmla="*/ 16264 w 152455"/>
                <a:gd name="connsiteY1" fmla="*/ 23690 h 29145"/>
                <a:gd name="connsiteX2" fmla="*/ 7006 w 152455"/>
                <a:gd name="connsiteY2" fmla="*/ 14442 h 29145"/>
                <a:gd name="connsiteX3" fmla="*/ 7006 w 152455"/>
                <a:gd name="connsiteY3" fmla="*/ 7006 h 29145"/>
                <a:gd name="connsiteX4" fmla="*/ 129409 w 152455"/>
                <a:gd name="connsiteY4" fmla="*/ 7006 h 29145"/>
                <a:gd name="connsiteX5" fmla="*/ 146094 w 152455"/>
                <a:gd name="connsiteY5" fmla="*/ 23690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55" h="29145">
                  <a:moveTo>
                    <a:pt x="146094" y="23690"/>
                  </a:moveTo>
                  <a:lnTo>
                    <a:pt x="16264" y="23690"/>
                  </a:lnTo>
                  <a:lnTo>
                    <a:pt x="7006" y="14442"/>
                  </a:lnTo>
                  <a:lnTo>
                    <a:pt x="7006" y="7006"/>
                  </a:lnTo>
                  <a:lnTo>
                    <a:pt x="129409" y="7006"/>
                  </a:lnTo>
                  <a:lnTo>
                    <a:pt x="146094" y="236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7" name="Freeform: Shape 13416">
              <a:extLst>
                <a:ext uri="{FF2B5EF4-FFF2-40B4-BE49-F238E27FC236}">
                  <a16:creationId xmlns:a16="http://schemas.microsoft.com/office/drawing/2014/main" id="{FC07BC4C-2A01-48FA-93E3-1AE307550047}"/>
                </a:ext>
              </a:extLst>
            </p:cNvPr>
            <p:cNvSpPr/>
            <p:nvPr/>
          </p:nvSpPr>
          <p:spPr bwMode="ltGray">
            <a:xfrm>
              <a:off x="2782072" y="2878441"/>
              <a:ext cx="118825" cy="65018"/>
            </a:xfrm>
            <a:custGeom>
              <a:avLst/>
              <a:gdLst>
                <a:gd name="connsiteX0" fmla="*/ 113519 w 118825"/>
                <a:gd name="connsiteY0" fmla="*/ 60253 h 65017"/>
                <a:gd name="connsiteX1" fmla="*/ 7006 w 118825"/>
                <a:gd name="connsiteY1" fmla="*/ 60253 h 65017"/>
                <a:gd name="connsiteX2" fmla="*/ 60263 w 118825"/>
                <a:gd name="connsiteY2" fmla="*/ 7006 h 65017"/>
                <a:gd name="connsiteX3" fmla="*/ 113519 w 118825"/>
                <a:gd name="connsiteY3" fmla="*/ 60253 h 65017"/>
              </a:gdLst>
              <a:ahLst/>
              <a:cxnLst>
                <a:cxn ang="0">
                  <a:pos x="connsiteX0" y="connsiteY0"/>
                </a:cxn>
                <a:cxn ang="0">
                  <a:pos x="connsiteX1" y="connsiteY1"/>
                </a:cxn>
                <a:cxn ang="0">
                  <a:pos x="connsiteX2" y="connsiteY2"/>
                </a:cxn>
                <a:cxn ang="0">
                  <a:pos x="connsiteX3" y="connsiteY3"/>
                </a:cxn>
              </a:cxnLst>
              <a:rect l="l" t="t" r="r" b="b"/>
              <a:pathLst>
                <a:path w="118825" h="65017">
                  <a:moveTo>
                    <a:pt x="113519" y="60253"/>
                  </a:moveTo>
                  <a:lnTo>
                    <a:pt x="7006" y="60253"/>
                  </a:lnTo>
                  <a:lnTo>
                    <a:pt x="60263" y="7006"/>
                  </a:lnTo>
                  <a:lnTo>
                    <a:pt x="113519" y="602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8" name="Freeform: Shape 13417">
              <a:extLst>
                <a:ext uri="{FF2B5EF4-FFF2-40B4-BE49-F238E27FC236}">
                  <a16:creationId xmlns:a16="http://schemas.microsoft.com/office/drawing/2014/main" id="{BBB7FDCA-74FD-47BF-A57B-F7D0264FDC0B}"/>
                </a:ext>
              </a:extLst>
            </p:cNvPr>
            <p:cNvSpPr/>
            <p:nvPr/>
          </p:nvSpPr>
          <p:spPr bwMode="ltGray">
            <a:xfrm>
              <a:off x="2991857" y="3164808"/>
              <a:ext cx="269038" cy="29146"/>
            </a:xfrm>
            <a:custGeom>
              <a:avLst/>
              <a:gdLst>
                <a:gd name="connsiteX0" fmla="*/ 247245 w 269038"/>
                <a:gd name="connsiteY0" fmla="*/ 23886 h 29145"/>
                <a:gd name="connsiteX1" fmla="*/ 23887 w 269038"/>
                <a:gd name="connsiteY1" fmla="*/ 23886 h 29145"/>
                <a:gd name="connsiteX2" fmla="*/ 7006 w 269038"/>
                <a:gd name="connsiteY2" fmla="*/ 7006 h 29145"/>
                <a:gd name="connsiteX3" fmla="*/ 264125 w 269038"/>
                <a:gd name="connsiteY3" fmla="*/ 7006 h 29145"/>
                <a:gd name="connsiteX4" fmla="*/ 247245 w 269038"/>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38" h="29145">
                  <a:moveTo>
                    <a:pt x="247245" y="23886"/>
                  </a:moveTo>
                  <a:lnTo>
                    <a:pt x="23887" y="23886"/>
                  </a:lnTo>
                  <a:lnTo>
                    <a:pt x="7006" y="7006"/>
                  </a:lnTo>
                  <a:lnTo>
                    <a:pt x="264125" y="7006"/>
                  </a:lnTo>
                  <a:lnTo>
                    <a:pt x="24724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9" name="Freeform: Shape 13418">
              <a:extLst>
                <a:ext uri="{FF2B5EF4-FFF2-40B4-BE49-F238E27FC236}">
                  <a16:creationId xmlns:a16="http://schemas.microsoft.com/office/drawing/2014/main" id="{3108856E-5E4A-4ED8-8AF8-641E02BF657E}"/>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0" name="Freeform: Shape 13419">
              <a:extLst>
                <a:ext uri="{FF2B5EF4-FFF2-40B4-BE49-F238E27FC236}">
                  <a16:creationId xmlns:a16="http://schemas.microsoft.com/office/drawing/2014/main" id="{D117FD1C-BD12-4E50-9B2B-7013AEDA153F}"/>
                </a:ext>
              </a:extLst>
            </p:cNvPr>
            <p:cNvSpPr/>
            <p:nvPr/>
          </p:nvSpPr>
          <p:spPr bwMode="ltGray">
            <a:xfrm>
              <a:off x="2949184" y="3122127"/>
              <a:ext cx="71744" cy="17936"/>
            </a:xfrm>
            <a:custGeom>
              <a:avLst/>
              <a:gdLst>
                <a:gd name="connsiteX0" fmla="*/ 66783 w 71743"/>
                <a:gd name="connsiteY0" fmla="*/ 12639 h 17935"/>
                <a:gd name="connsiteX1" fmla="*/ 12630 w 71743"/>
                <a:gd name="connsiteY1" fmla="*/ 12639 h 17935"/>
                <a:gd name="connsiteX2" fmla="*/ 7006 w 71743"/>
                <a:gd name="connsiteY2" fmla="*/ 7006 h 17935"/>
                <a:gd name="connsiteX3" fmla="*/ 66783 w 71743"/>
                <a:gd name="connsiteY3" fmla="*/ 7006 h 17935"/>
                <a:gd name="connsiteX4" fmla="*/ 66783 w 71743"/>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17935">
                  <a:moveTo>
                    <a:pt x="66783" y="12639"/>
                  </a:moveTo>
                  <a:lnTo>
                    <a:pt x="12630" y="12639"/>
                  </a:lnTo>
                  <a:lnTo>
                    <a:pt x="7006" y="7006"/>
                  </a:lnTo>
                  <a:lnTo>
                    <a:pt x="66783" y="7006"/>
                  </a:lnTo>
                  <a:lnTo>
                    <a:pt x="66783"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1" name="Freeform: Shape 13420">
              <a:extLst>
                <a:ext uri="{FF2B5EF4-FFF2-40B4-BE49-F238E27FC236}">
                  <a16:creationId xmlns:a16="http://schemas.microsoft.com/office/drawing/2014/main" id="{04DDC2C7-EB75-4669-A4DE-09DAF6BC2BAE}"/>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2" name="Freeform: Shape 13421">
              <a:extLst>
                <a:ext uri="{FF2B5EF4-FFF2-40B4-BE49-F238E27FC236}">
                  <a16:creationId xmlns:a16="http://schemas.microsoft.com/office/drawing/2014/main" id="{5C8C4FB8-31C6-455A-B729-A1F433048BFB}"/>
                </a:ext>
              </a:extLst>
            </p:cNvPr>
            <p:cNvSpPr/>
            <p:nvPr/>
          </p:nvSpPr>
          <p:spPr bwMode="ltGray">
            <a:xfrm>
              <a:off x="329972" y="2822419"/>
              <a:ext cx="2502057" cy="105373"/>
            </a:xfrm>
            <a:custGeom>
              <a:avLst/>
              <a:gdLst>
                <a:gd name="connsiteX0" fmla="*/ 2409259 w 2502056"/>
                <a:gd name="connsiteY0" fmla="*/ 98816 h 105373"/>
                <a:gd name="connsiteX1" fmla="*/ 2354984 w 2502056"/>
                <a:gd name="connsiteY1" fmla="*/ 98816 h 105373"/>
                <a:gd name="connsiteX2" fmla="*/ 2301980 w 2502056"/>
                <a:gd name="connsiteY2" fmla="*/ 7006 h 105373"/>
                <a:gd name="connsiteX3" fmla="*/ 2456341 w 2502056"/>
                <a:gd name="connsiteY3" fmla="*/ 7006 h 105373"/>
                <a:gd name="connsiteX4" fmla="*/ 2496136 w 2502056"/>
                <a:gd name="connsiteY4" fmla="*/ 46792 h 105373"/>
                <a:gd name="connsiteX5" fmla="*/ 2482927 w 2502056"/>
                <a:gd name="connsiteY5" fmla="*/ 60001 h 105373"/>
                <a:gd name="connsiteX6" fmla="*/ 2409259 w 2502056"/>
                <a:gd name="connsiteY6" fmla="*/ 60001 h 105373"/>
                <a:gd name="connsiteX7" fmla="*/ 2409259 w 2502056"/>
                <a:gd name="connsiteY7" fmla="*/ 98816 h 105373"/>
                <a:gd name="connsiteX8" fmla="*/ 2335722 w 2502056"/>
                <a:gd name="connsiteY8" fmla="*/ 98816 h 105373"/>
                <a:gd name="connsiteX9" fmla="*/ 1558135 w 2502056"/>
                <a:gd name="connsiteY9" fmla="*/ 98816 h 105373"/>
                <a:gd name="connsiteX10" fmla="*/ 1611139 w 2502056"/>
                <a:gd name="connsiteY10" fmla="*/ 7006 h 105373"/>
                <a:gd name="connsiteX11" fmla="*/ 2282718 w 2502056"/>
                <a:gd name="connsiteY11" fmla="*/ 7006 h 105373"/>
                <a:gd name="connsiteX12" fmla="*/ 2335722 w 2502056"/>
                <a:gd name="connsiteY12" fmla="*/ 98816 h 105373"/>
                <a:gd name="connsiteX13" fmla="*/ 1538863 w 2502056"/>
                <a:gd name="connsiteY13" fmla="*/ 98816 h 105373"/>
                <a:gd name="connsiteX14" fmla="*/ 1114885 w 2502056"/>
                <a:gd name="connsiteY14" fmla="*/ 98816 h 105373"/>
                <a:gd name="connsiteX15" fmla="*/ 1026560 w 2502056"/>
                <a:gd name="connsiteY15" fmla="*/ 10491 h 105373"/>
                <a:gd name="connsiteX16" fmla="*/ 946091 w 2502056"/>
                <a:gd name="connsiteY16" fmla="*/ 10491 h 105373"/>
                <a:gd name="connsiteX17" fmla="*/ 948090 w 2502056"/>
                <a:gd name="connsiteY17" fmla="*/ 7006 h 105373"/>
                <a:gd name="connsiteX18" fmla="*/ 1591877 w 2502056"/>
                <a:gd name="connsiteY18" fmla="*/ 7006 h 105373"/>
                <a:gd name="connsiteX19" fmla="*/ 1538863 w 2502056"/>
                <a:gd name="connsiteY19" fmla="*/ 98816 h 105373"/>
                <a:gd name="connsiteX20" fmla="*/ 1107028 w 2502056"/>
                <a:gd name="connsiteY20" fmla="*/ 98816 h 105373"/>
                <a:gd name="connsiteX21" fmla="*/ 237277 w 2502056"/>
                <a:gd name="connsiteY21" fmla="*/ 98816 h 105373"/>
                <a:gd name="connsiteX22" fmla="*/ 320044 w 2502056"/>
                <a:gd name="connsiteY22" fmla="*/ 16049 h 105373"/>
                <a:gd name="connsiteX23" fmla="*/ 693335 w 2502056"/>
                <a:gd name="connsiteY23" fmla="*/ 16049 h 105373"/>
                <a:gd name="connsiteX24" fmla="*/ 817989 w 2502056"/>
                <a:gd name="connsiteY24" fmla="*/ 83701 h 105373"/>
                <a:gd name="connsiteX25" fmla="*/ 942635 w 2502056"/>
                <a:gd name="connsiteY25" fmla="*/ 16049 h 105373"/>
                <a:gd name="connsiteX26" fmla="*/ 1024262 w 2502056"/>
                <a:gd name="connsiteY26" fmla="*/ 16049 h 105373"/>
                <a:gd name="connsiteX27" fmla="*/ 1107028 w 2502056"/>
                <a:gd name="connsiteY27" fmla="*/ 98816 h 105373"/>
                <a:gd name="connsiteX28" fmla="*/ 229411 w 2502056"/>
                <a:gd name="connsiteY28" fmla="*/ 98816 h 105373"/>
                <a:gd name="connsiteX29" fmla="*/ 146140 w 2502056"/>
                <a:gd name="connsiteY29" fmla="*/ 98816 h 105373"/>
                <a:gd name="connsiteX30" fmla="*/ 237950 w 2502056"/>
                <a:gd name="connsiteY30" fmla="*/ 7006 h 105373"/>
                <a:gd name="connsiteX31" fmla="*/ 687879 w 2502056"/>
                <a:gd name="connsiteY31" fmla="*/ 7006 h 105373"/>
                <a:gd name="connsiteX32" fmla="*/ 689878 w 2502056"/>
                <a:gd name="connsiteY32" fmla="*/ 10491 h 105373"/>
                <a:gd name="connsiteX33" fmla="*/ 317736 w 2502056"/>
                <a:gd name="connsiteY33" fmla="*/ 10491 h 105373"/>
                <a:gd name="connsiteX34" fmla="*/ 229411 w 2502056"/>
                <a:gd name="connsiteY34" fmla="*/ 98816 h 105373"/>
                <a:gd name="connsiteX35" fmla="*/ 66550 w 2502056"/>
                <a:gd name="connsiteY35" fmla="*/ 98816 h 105373"/>
                <a:gd name="connsiteX36" fmla="*/ 7006 w 2502056"/>
                <a:gd name="connsiteY36" fmla="*/ 98816 h 105373"/>
                <a:gd name="connsiteX37" fmla="*/ 98816 w 2502056"/>
                <a:gd name="connsiteY37" fmla="*/ 7006 h 105373"/>
                <a:gd name="connsiteX38" fmla="*/ 158359 w 2502056"/>
                <a:gd name="connsiteY38" fmla="*/ 7006 h 105373"/>
                <a:gd name="connsiteX39" fmla="*/ 66550 w 2502056"/>
                <a:gd name="connsiteY39" fmla="*/ 98816 h 105373"/>
                <a:gd name="connsiteX40" fmla="*/ 817989 w 2502056"/>
                <a:gd name="connsiteY40" fmla="*/ 55564 h 105373"/>
                <a:gd name="connsiteX41" fmla="*/ 728786 w 2502056"/>
                <a:gd name="connsiteY41" fmla="*/ 16049 h 105373"/>
                <a:gd name="connsiteX42" fmla="*/ 907183 w 2502056"/>
                <a:gd name="connsiteY42" fmla="*/ 16049 h 105373"/>
                <a:gd name="connsiteX43" fmla="*/ 817989 w 2502056"/>
                <a:gd name="connsiteY43" fmla="*/ 55564 h 105373"/>
                <a:gd name="connsiteX44" fmla="*/ 911947 w 2502056"/>
                <a:gd name="connsiteY44" fmla="*/ 10491 h 105373"/>
                <a:gd name="connsiteX45" fmla="*/ 724022 w 2502056"/>
                <a:gd name="connsiteY45" fmla="*/ 10491 h 105373"/>
                <a:gd name="connsiteX46" fmla="*/ 721322 w 2502056"/>
                <a:gd name="connsiteY46" fmla="*/ 7006 h 105373"/>
                <a:gd name="connsiteX47" fmla="*/ 914647 w 2502056"/>
                <a:gd name="connsiteY47" fmla="*/ 7006 h 105373"/>
                <a:gd name="connsiteX48" fmla="*/ 911947 w 2502056"/>
                <a:gd name="connsiteY48" fmla="*/ 10491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02056" h="105373">
                  <a:moveTo>
                    <a:pt x="2409259" y="98816"/>
                  </a:moveTo>
                  <a:lnTo>
                    <a:pt x="2354984" y="98816"/>
                  </a:lnTo>
                  <a:lnTo>
                    <a:pt x="2301980" y="7006"/>
                  </a:lnTo>
                  <a:lnTo>
                    <a:pt x="2456341" y="7006"/>
                  </a:lnTo>
                  <a:lnTo>
                    <a:pt x="2496136" y="46792"/>
                  </a:lnTo>
                  <a:lnTo>
                    <a:pt x="2482927" y="60001"/>
                  </a:lnTo>
                  <a:lnTo>
                    <a:pt x="2409259" y="60001"/>
                  </a:lnTo>
                  <a:lnTo>
                    <a:pt x="2409259" y="98816"/>
                  </a:lnTo>
                  <a:close/>
                  <a:moveTo>
                    <a:pt x="2335722" y="98816"/>
                  </a:moveTo>
                  <a:lnTo>
                    <a:pt x="1558135" y="98816"/>
                  </a:lnTo>
                  <a:lnTo>
                    <a:pt x="1611139" y="7006"/>
                  </a:lnTo>
                  <a:lnTo>
                    <a:pt x="2282718" y="7006"/>
                  </a:lnTo>
                  <a:lnTo>
                    <a:pt x="2335722" y="98816"/>
                  </a:lnTo>
                  <a:close/>
                  <a:moveTo>
                    <a:pt x="1538863" y="98816"/>
                  </a:moveTo>
                  <a:lnTo>
                    <a:pt x="1114885" y="98816"/>
                  </a:lnTo>
                  <a:lnTo>
                    <a:pt x="1026560" y="10491"/>
                  </a:lnTo>
                  <a:lnTo>
                    <a:pt x="946091" y="10491"/>
                  </a:lnTo>
                  <a:cubicBezTo>
                    <a:pt x="946773" y="9332"/>
                    <a:pt x="947436" y="8174"/>
                    <a:pt x="948090" y="7006"/>
                  </a:cubicBezTo>
                  <a:lnTo>
                    <a:pt x="1591877" y="7006"/>
                  </a:lnTo>
                  <a:lnTo>
                    <a:pt x="1538863" y="98816"/>
                  </a:lnTo>
                  <a:close/>
                  <a:moveTo>
                    <a:pt x="1107028" y="98816"/>
                  </a:moveTo>
                  <a:lnTo>
                    <a:pt x="237277" y="98816"/>
                  </a:lnTo>
                  <a:lnTo>
                    <a:pt x="320044" y="16049"/>
                  </a:lnTo>
                  <a:lnTo>
                    <a:pt x="693335" y="16049"/>
                  </a:lnTo>
                  <a:cubicBezTo>
                    <a:pt x="719912" y="56750"/>
                    <a:pt x="765863" y="83701"/>
                    <a:pt x="817989" y="83701"/>
                  </a:cubicBezTo>
                  <a:cubicBezTo>
                    <a:pt x="870106" y="83701"/>
                    <a:pt x="916067" y="56750"/>
                    <a:pt x="942635" y="16049"/>
                  </a:cubicBezTo>
                  <a:lnTo>
                    <a:pt x="1024262" y="16049"/>
                  </a:lnTo>
                  <a:lnTo>
                    <a:pt x="1107028" y="98816"/>
                  </a:lnTo>
                  <a:close/>
                  <a:moveTo>
                    <a:pt x="229411" y="98816"/>
                  </a:moveTo>
                  <a:lnTo>
                    <a:pt x="146140" y="98816"/>
                  </a:lnTo>
                  <a:lnTo>
                    <a:pt x="237950" y="7006"/>
                  </a:lnTo>
                  <a:lnTo>
                    <a:pt x="687879" y="7006"/>
                  </a:lnTo>
                  <a:cubicBezTo>
                    <a:pt x="688533" y="8174"/>
                    <a:pt x="689196" y="9332"/>
                    <a:pt x="689878" y="10491"/>
                  </a:cubicBezTo>
                  <a:lnTo>
                    <a:pt x="317736" y="10491"/>
                  </a:lnTo>
                  <a:lnTo>
                    <a:pt x="229411" y="98816"/>
                  </a:lnTo>
                  <a:close/>
                  <a:moveTo>
                    <a:pt x="66550" y="98816"/>
                  </a:moveTo>
                  <a:lnTo>
                    <a:pt x="7006" y="98816"/>
                  </a:lnTo>
                  <a:lnTo>
                    <a:pt x="98816" y="7006"/>
                  </a:lnTo>
                  <a:lnTo>
                    <a:pt x="158359" y="7006"/>
                  </a:lnTo>
                  <a:lnTo>
                    <a:pt x="66550" y="98816"/>
                  </a:lnTo>
                  <a:close/>
                  <a:moveTo>
                    <a:pt x="817989" y="55564"/>
                  </a:moveTo>
                  <a:cubicBezTo>
                    <a:pt x="782678" y="55564"/>
                    <a:pt x="750861" y="40309"/>
                    <a:pt x="728786" y="16049"/>
                  </a:cubicBezTo>
                  <a:lnTo>
                    <a:pt x="907183" y="16049"/>
                  </a:lnTo>
                  <a:cubicBezTo>
                    <a:pt x="885109" y="40309"/>
                    <a:pt x="853291" y="55564"/>
                    <a:pt x="817989" y="55564"/>
                  </a:cubicBezTo>
                  <a:close/>
                  <a:moveTo>
                    <a:pt x="911947" y="10491"/>
                  </a:moveTo>
                  <a:lnTo>
                    <a:pt x="724022" y="10491"/>
                  </a:lnTo>
                  <a:cubicBezTo>
                    <a:pt x="723097" y="9342"/>
                    <a:pt x="722200" y="8183"/>
                    <a:pt x="721322" y="7006"/>
                  </a:cubicBezTo>
                  <a:lnTo>
                    <a:pt x="914647" y="7006"/>
                  </a:lnTo>
                  <a:cubicBezTo>
                    <a:pt x="913769" y="8183"/>
                    <a:pt x="912872" y="9342"/>
                    <a:pt x="911947" y="10491"/>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3" name="Freeform: Shape 13422">
              <a:extLst>
                <a:ext uri="{FF2B5EF4-FFF2-40B4-BE49-F238E27FC236}">
                  <a16:creationId xmlns:a16="http://schemas.microsoft.com/office/drawing/2014/main" id="{F381DAF0-C860-46C9-BDFB-B78EC0138658}"/>
                </a:ext>
              </a:extLst>
            </p:cNvPr>
            <p:cNvSpPr/>
            <p:nvPr/>
          </p:nvSpPr>
          <p:spPr bwMode="ltGray">
            <a:xfrm>
              <a:off x="1861829" y="2822419"/>
              <a:ext cx="829535" cy="105373"/>
            </a:xfrm>
            <a:custGeom>
              <a:avLst/>
              <a:gdLst>
                <a:gd name="connsiteX0" fmla="*/ 823127 w 829534"/>
                <a:gd name="connsiteY0" fmla="*/ 98816 h 105373"/>
                <a:gd name="connsiteX1" fmla="*/ 803865 w 829534"/>
                <a:gd name="connsiteY1" fmla="*/ 98816 h 105373"/>
                <a:gd name="connsiteX2" fmla="*/ 750861 w 829534"/>
                <a:gd name="connsiteY2" fmla="*/ 7006 h 105373"/>
                <a:gd name="connsiteX3" fmla="*/ 770123 w 829534"/>
                <a:gd name="connsiteY3" fmla="*/ 7006 h 105373"/>
                <a:gd name="connsiteX4" fmla="*/ 823127 w 829534"/>
                <a:gd name="connsiteY4" fmla="*/ 98816 h 105373"/>
                <a:gd name="connsiteX5" fmla="*/ 26278 w 829534"/>
                <a:gd name="connsiteY5" fmla="*/ 98816 h 105373"/>
                <a:gd name="connsiteX6" fmla="*/ 7006 w 829534"/>
                <a:gd name="connsiteY6" fmla="*/ 98816 h 105373"/>
                <a:gd name="connsiteX7" fmla="*/ 60020 w 829534"/>
                <a:gd name="connsiteY7" fmla="*/ 7006 h 105373"/>
                <a:gd name="connsiteX8" fmla="*/ 79282 w 829534"/>
                <a:gd name="connsiteY8" fmla="*/ 7006 h 105373"/>
                <a:gd name="connsiteX9" fmla="*/ 26278 w 829534"/>
                <a:gd name="connsiteY9"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534" h="105373">
                  <a:moveTo>
                    <a:pt x="823127" y="98816"/>
                  </a:moveTo>
                  <a:lnTo>
                    <a:pt x="803865" y="98816"/>
                  </a:lnTo>
                  <a:lnTo>
                    <a:pt x="750861" y="7006"/>
                  </a:lnTo>
                  <a:lnTo>
                    <a:pt x="770123" y="7006"/>
                  </a:lnTo>
                  <a:lnTo>
                    <a:pt x="823127" y="98816"/>
                  </a:lnTo>
                  <a:close/>
                  <a:moveTo>
                    <a:pt x="26278" y="98816"/>
                  </a:moveTo>
                  <a:lnTo>
                    <a:pt x="7006" y="98816"/>
                  </a:lnTo>
                  <a:lnTo>
                    <a:pt x="60020" y="7006"/>
                  </a:lnTo>
                  <a:lnTo>
                    <a:pt x="79282" y="7006"/>
                  </a:lnTo>
                  <a:lnTo>
                    <a:pt x="26278"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4" name="Freeform: Shape 13423">
              <a:extLst>
                <a:ext uri="{FF2B5EF4-FFF2-40B4-BE49-F238E27FC236}">
                  <a16:creationId xmlns:a16="http://schemas.microsoft.com/office/drawing/2014/main" id="{015711B7-9750-4D0A-A334-AEE0894F2B4B}"/>
                </a:ext>
              </a:extLst>
            </p:cNvPr>
            <p:cNvSpPr/>
            <p:nvPr/>
          </p:nvSpPr>
          <p:spPr bwMode="ltGray">
            <a:xfrm>
              <a:off x="552377" y="2825904"/>
              <a:ext cx="899037" cy="100889"/>
            </a:xfrm>
            <a:custGeom>
              <a:avLst/>
              <a:gdLst>
                <a:gd name="connsiteX0" fmla="*/ 892479 w 899036"/>
                <a:gd name="connsiteY0" fmla="*/ 95331 h 100889"/>
                <a:gd name="connsiteX1" fmla="*/ 884623 w 899036"/>
                <a:gd name="connsiteY1" fmla="*/ 95331 h 100889"/>
                <a:gd name="connsiteX2" fmla="*/ 801856 w 899036"/>
                <a:gd name="connsiteY2" fmla="*/ 12564 h 100889"/>
                <a:gd name="connsiteX3" fmla="*/ 720229 w 899036"/>
                <a:gd name="connsiteY3" fmla="*/ 12564 h 100889"/>
                <a:gd name="connsiteX4" fmla="*/ 723686 w 899036"/>
                <a:gd name="connsiteY4" fmla="*/ 7006 h 100889"/>
                <a:gd name="connsiteX5" fmla="*/ 804154 w 899036"/>
                <a:gd name="connsiteY5" fmla="*/ 7006 h 100889"/>
                <a:gd name="connsiteX6" fmla="*/ 892479 w 899036"/>
                <a:gd name="connsiteY6" fmla="*/ 95331 h 100889"/>
                <a:gd name="connsiteX7" fmla="*/ 14872 w 899036"/>
                <a:gd name="connsiteY7" fmla="*/ 95331 h 100889"/>
                <a:gd name="connsiteX8" fmla="*/ 7006 w 899036"/>
                <a:gd name="connsiteY8" fmla="*/ 95331 h 100889"/>
                <a:gd name="connsiteX9" fmla="*/ 95331 w 899036"/>
                <a:gd name="connsiteY9" fmla="*/ 7006 h 100889"/>
                <a:gd name="connsiteX10" fmla="*/ 467473 w 899036"/>
                <a:gd name="connsiteY10" fmla="*/ 7006 h 100889"/>
                <a:gd name="connsiteX11" fmla="*/ 470930 w 899036"/>
                <a:gd name="connsiteY11" fmla="*/ 12564 h 100889"/>
                <a:gd name="connsiteX12" fmla="*/ 97639 w 899036"/>
                <a:gd name="connsiteY12" fmla="*/ 12564 h 100889"/>
                <a:gd name="connsiteX13" fmla="*/ 14872 w 899036"/>
                <a:gd name="connsiteY13" fmla="*/ 95331 h 100889"/>
                <a:gd name="connsiteX14" fmla="*/ 684778 w 899036"/>
                <a:gd name="connsiteY14" fmla="*/ 12564 h 100889"/>
                <a:gd name="connsiteX15" fmla="*/ 506381 w 899036"/>
                <a:gd name="connsiteY15" fmla="*/ 12564 h 100889"/>
                <a:gd name="connsiteX16" fmla="*/ 501617 w 899036"/>
                <a:gd name="connsiteY16" fmla="*/ 7006 h 100889"/>
                <a:gd name="connsiteX17" fmla="*/ 689542 w 899036"/>
                <a:gd name="connsiteY17" fmla="*/ 7006 h 100889"/>
                <a:gd name="connsiteX18" fmla="*/ 684778 w 899036"/>
                <a:gd name="connsiteY18" fmla="*/ 12564 h 10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036" h="100889">
                  <a:moveTo>
                    <a:pt x="892479" y="95331"/>
                  </a:moveTo>
                  <a:lnTo>
                    <a:pt x="884623" y="95331"/>
                  </a:lnTo>
                  <a:lnTo>
                    <a:pt x="801856" y="12564"/>
                  </a:lnTo>
                  <a:lnTo>
                    <a:pt x="720229" y="12564"/>
                  </a:lnTo>
                  <a:cubicBezTo>
                    <a:pt x="721416" y="10743"/>
                    <a:pt x="722574" y="8884"/>
                    <a:pt x="723686" y="7006"/>
                  </a:cubicBezTo>
                  <a:lnTo>
                    <a:pt x="804154" y="7006"/>
                  </a:lnTo>
                  <a:lnTo>
                    <a:pt x="892479" y="95331"/>
                  </a:lnTo>
                  <a:close/>
                  <a:moveTo>
                    <a:pt x="14872" y="95331"/>
                  </a:moveTo>
                  <a:lnTo>
                    <a:pt x="7006" y="95331"/>
                  </a:lnTo>
                  <a:lnTo>
                    <a:pt x="95331" y="7006"/>
                  </a:lnTo>
                  <a:lnTo>
                    <a:pt x="467473" y="7006"/>
                  </a:lnTo>
                  <a:cubicBezTo>
                    <a:pt x="468585" y="8884"/>
                    <a:pt x="469743" y="10743"/>
                    <a:pt x="470930" y="12564"/>
                  </a:cubicBezTo>
                  <a:lnTo>
                    <a:pt x="97639" y="12564"/>
                  </a:lnTo>
                  <a:lnTo>
                    <a:pt x="14872" y="95331"/>
                  </a:lnTo>
                  <a:close/>
                  <a:moveTo>
                    <a:pt x="684778" y="12564"/>
                  </a:moveTo>
                  <a:lnTo>
                    <a:pt x="506381" y="12564"/>
                  </a:lnTo>
                  <a:cubicBezTo>
                    <a:pt x="504737" y="10762"/>
                    <a:pt x="503149" y="8903"/>
                    <a:pt x="501617" y="7006"/>
                  </a:cubicBezTo>
                  <a:lnTo>
                    <a:pt x="689542" y="7006"/>
                  </a:lnTo>
                  <a:cubicBezTo>
                    <a:pt x="688010" y="8903"/>
                    <a:pt x="686422" y="10762"/>
                    <a:pt x="684778" y="1256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5" name="Freeform: Shape 13424">
              <a:extLst>
                <a:ext uri="{FF2B5EF4-FFF2-40B4-BE49-F238E27FC236}">
                  <a16:creationId xmlns:a16="http://schemas.microsoft.com/office/drawing/2014/main" id="{842C9DA5-4ADE-404E-AE4A-7590F489A4A1}"/>
                </a:ext>
              </a:extLst>
            </p:cNvPr>
            <p:cNvSpPr/>
            <p:nvPr/>
          </p:nvSpPr>
          <p:spPr bwMode="ltGray">
            <a:xfrm>
              <a:off x="2732225" y="2875414"/>
              <a:ext cx="87437" cy="65018"/>
            </a:xfrm>
            <a:custGeom>
              <a:avLst/>
              <a:gdLst>
                <a:gd name="connsiteX0" fmla="*/ 28959 w 87437"/>
                <a:gd name="connsiteY0" fmla="*/ 58712 h 65017"/>
                <a:gd name="connsiteX1" fmla="*/ 16068 w 87437"/>
                <a:gd name="connsiteY1" fmla="*/ 45821 h 65017"/>
                <a:gd name="connsiteX2" fmla="*/ 7006 w 87437"/>
                <a:gd name="connsiteY2" fmla="*/ 45821 h 65017"/>
                <a:gd name="connsiteX3" fmla="*/ 7006 w 87437"/>
                <a:gd name="connsiteY3" fmla="*/ 7006 h 65017"/>
                <a:gd name="connsiteX4" fmla="*/ 80674 w 87437"/>
                <a:gd name="connsiteY4" fmla="*/ 7006 h 65017"/>
                <a:gd name="connsiteX5" fmla="*/ 28959 w 87437"/>
                <a:gd name="connsiteY5" fmla="*/ 58712 h 6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37" h="65017">
                  <a:moveTo>
                    <a:pt x="28959" y="58712"/>
                  </a:moveTo>
                  <a:lnTo>
                    <a:pt x="16068" y="45821"/>
                  </a:lnTo>
                  <a:lnTo>
                    <a:pt x="7006" y="45821"/>
                  </a:lnTo>
                  <a:lnTo>
                    <a:pt x="7006" y="7006"/>
                  </a:lnTo>
                  <a:lnTo>
                    <a:pt x="80674" y="7006"/>
                  </a:lnTo>
                  <a:lnTo>
                    <a:pt x="28959" y="587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6" name="Freeform: Shape 13425">
              <a:extLst>
                <a:ext uri="{FF2B5EF4-FFF2-40B4-BE49-F238E27FC236}">
                  <a16:creationId xmlns:a16="http://schemas.microsoft.com/office/drawing/2014/main" id="{8EA0C610-253C-4114-974A-E9DFDA1C3592}"/>
                </a:ext>
              </a:extLst>
            </p:cNvPr>
            <p:cNvSpPr/>
            <p:nvPr/>
          </p:nvSpPr>
          <p:spPr bwMode="ltGray">
            <a:xfrm>
              <a:off x="1010845" y="2822419"/>
              <a:ext cx="273522" cy="89679"/>
            </a:xfrm>
            <a:custGeom>
              <a:avLst/>
              <a:gdLst>
                <a:gd name="connsiteX0" fmla="*/ 137116 w 273522"/>
                <a:gd name="connsiteY0" fmla="*/ 83701 h 89679"/>
                <a:gd name="connsiteX1" fmla="*/ 12462 w 273522"/>
                <a:gd name="connsiteY1" fmla="*/ 16049 h 89679"/>
                <a:gd name="connsiteX2" fmla="*/ 9005 w 273522"/>
                <a:gd name="connsiteY2" fmla="*/ 10491 h 89679"/>
                <a:gd name="connsiteX3" fmla="*/ 7006 w 273522"/>
                <a:gd name="connsiteY3" fmla="*/ 7006 h 89679"/>
                <a:gd name="connsiteX4" fmla="*/ 40449 w 273522"/>
                <a:gd name="connsiteY4" fmla="*/ 7006 h 89679"/>
                <a:gd name="connsiteX5" fmla="*/ 43149 w 273522"/>
                <a:gd name="connsiteY5" fmla="*/ 10491 h 89679"/>
                <a:gd name="connsiteX6" fmla="*/ 47913 w 273522"/>
                <a:gd name="connsiteY6" fmla="*/ 16049 h 89679"/>
                <a:gd name="connsiteX7" fmla="*/ 137116 w 273522"/>
                <a:gd name="connsiteY7" fmla="*/ 55564 h 89679"/>
                <a:gd name="connsiteX8" fmla="*/ 226310 w 273522"/>
                <a:gd name="connsiteY8" fmla="*/ 16049 h 89679"/>
                <a:gd name="connsiteX9" fmla="*/ 231074 w 273522"/>
                <a:gd name="connsiteY9" fmla="*/ 10491 h 89679"/>
                <a:gd name="connsiteX10" fmla="*/ 233774 w 273522"/>
                <a:gd name="connsiteY10" fmla="*/ 7006 h 89679"/>
                <a:gd name="connsiteX11" fmla="*/ 267217 w 273522"/>
                <a:gd name="connsiteY11" fmla="*/ 7006 h 89679"/>
                <a:gd name="connsiteX12" fmla="*/ 265218 w 273522"/>
                <a:gd name="connsiteY12" fmla="*/ 10491 h 89679"/>
                <a:gd name="connsiteX13" fmla="*/ 261761 w 273522"/>
                <a:gd name="connsiteY13" fmla="*/ 16049 h 89679"/>
                <a:gd name="connsiteX14" fmla="*/ 137116 w 273522"/>
                <a:gd name="connsiteY14" fmla="*/ 83701 h 8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3522" h="89679">
                  <a:moveTo>
                    <a:pt x="137116" y="83701"/>
                  </a:moveTo>
                  <a:cubicBezTo>
                    <a:pt x="84990" y="83701"/>
                    <a:pt x="39039" y="56750"/>
                    <a:pt x="12462" y="16049"/>
                  </a:cubicBezTo>
                  <a:cubicBezTo>
                    <a:pt x="11275" y="14227"/>
                    <a:pt x="10117" y="12368"/>
                    <a:pt x="9005" y="10491"/>
                  </a:cubicBezTo>
                  <a:cubicBezTo>
                    <a:pt x="8323" y="9332"/>
                    <a:pt x="7660" y="8174"/>
                    <a:pt x="7006" y="7006"/>
                  </a:cubicBezTo>
                  <a:lnTo>
                    <a:pt x="40449" y="7006"/>
                  </a:lnTo>
                  <a:cubicBezTo>
                    <a:pt x="41327" y="8183"/>
                    <a:pt x="42224" y="9342"/>
                    <a:pt x="43149" y="10491"/>
                  </a:cubicBezTo>
                  <a:cubicBezTo>
                    <a:pt x="44681" y="12387"/>
                    <a:pt x="46269" y="14246"/>
                    <a:pt x="47913" y="16049"/>
                  </a:cubicBezTo>
                  <a:cubicBezTo>
                    <a:pt x="69987" y="40309"/>
                    <a:pt x="101805" y="55564"/>
                    <a:pt x="137116" y="55564"/>
                  </a:cubicBezTo>
                  <a:cubicBezTo>
                    <a:pt x="172418" y="55564"/>
                    <a:pt x="204236" y="40309"/>
                    <a:pt x="226310" y="16049"/>
                  </a:cubicBezTo>
                  <a:cubicBezTo>
                    <a:pt x="227954" y="14246"/>
                    <a:pt x="229542" y="12387"/>
                    <a:pt x="231074" y="10491"/>
                  </a:cubicBezTo>
                  <a:cubicBezTo>
                    <a:pt x="231999" y="9342"/>
                    <a:pt x="232896" y="8183"/>
                    <a:pt x="233774" y="7006"/>
                  </a:cubicBezTo>
                  <a:lnTo>
                    <a:pt x="267217" y="7006"/>
                  </a:lnTo>
                  <a:cubicBezTo>
                    <a:pt x="266563" y="8174"/>
                    <a:pt x="265900" y="9332"/>
                    <a:pt x="265218" y="10491"/>
                  </a:cubicBezTo>
                  <a:cubicBezTo>
                    <a:pt x="264106" y="12368"/>
                    <a:pt x="262948" y="14227"/>
                    <a:pt x="261761" y="16049"/>
                  </a:cubicBezTo>
                  <a:cubicBezTo>
                    <a:pt x="235194" y="56750"/>
                    <a:pt x="189233" y="83701"/>
                    <a:pt x="137116" y="8370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7" name="Freeform: Shape 13426">
              <a:extLst>
                <a:ext uri="{FF2B5EF4-FFF2-40B4-BE49-F238E27FC236}">
                  <a16:creationId xmlns:a16="http://schemas.microsoft.com/office/drawing/2014/main" id="{A629BBC6-A7FF-41DA-8EAB-291D1BE242AB}"/>
                </a:ext>
              </a:extLst>
            </p:cNvPr>
            <p:cNvSpPr/>
            <p:nvPr/>
          </p:nvSpPr>
          <p:spPr bwMode="ltGray">
            <a:xfrm>
              <a:off x="389516" y="2822419"/>
              <a:ext cx="183843" cy="105373"/>
            </a:xfrm>
            <a:custGeom>
              <a:avLst/>
              <a:gdLst>
                <a:gd name="connsiteX0" fmla="*/ 86597 w 183842"/>
                <a:gd name="connsiteY0" fmla="*/ 98816 h 105373"/>
                <a:gd name="connsiteX1" fmla="*/ 7006 w 183842"/>
                <a:gd name="connsiteY1" fmla="*/ 98816 h 105373"/>
                <a:gd name="connsiteX2" fmla="*/ 98816 w 183842"/>
                <a:gd name="connsiteY2" fmla="*/ 7006 h 105373"/>
                <a:gd name="connsiteX3" fmla="*/ 178406 w 183842"/>
                <a:gd name="connsiteY3" fmla="*/ 7006 h 105373"/>
                <a:gd name="connsiteX4" fmla="*/ 86597 w 183842"/>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2" h="105373">
                  <a:moveTo>
                    <a:pt x="86597" y="98816"/>
                  </a:moveTo>
                  <a:lnTo>
                    <a:pt x="7006" y="98816"/>
                  </a:lnTo>
                  <a:lnTo>
                    <a:pt x="98816" y="7006"/>
                  </a:lnTo>
                  <a:lnTo>
                    <a:pt x="178406" y="7006"/>
                  </a:lnTo>
                  <a:lnTo>
                    <a:pt x="86597"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8" name="Freeform: Shape 13427">
              <a:extLst>
                <a:ext uri="{FF2B5EF4-FFF2-40B4-BE49-F238E27FC236}">
                  <a16:creationId xmlns:a16="http://schemas.microsoft.com/office/drawing/2014/main" id="{E1EEC5F3-9320-4962-8036-BF13E099F949}"/>
                </a:ext>
              </a:extLst>
            </p:cNvPr>
            <p:cNvSpPr/>
            <p:nvPr/>
          </p:nvSpPr>
          <p:spPr bwMode="ltGray">
            <a:xfrm>
              <a:off x="-2860" y="2822419"/>
              <a:ext cx="430461" cy="98647"/>
            </a:xfrm>
            <a:custGeom>
              <a:avLst/>
              <a:gdLst>
                <a:gd name="connsiteX0" fmla="*/ 337064 w 430461"/>
                <a:gd name="connsiteY0" fmla="*/ 93631 h 98647"/>
                <a:gd name="connsiteX1" fmla="*/ 7006 w 430461"/>
                <a:gd name="connsiteY1" fmla="*/ 93631 h 98647"/>
                <a:gd name="connsiteX2" fmla="*/ 7006 w 430461"/>
                <a:gd name="connsiteY2" fmla="*/ 7006 h 98647"/>
                <a:gd name="connsiteX3" fmla="*/ 423689 w 430461"/>
                <a:gd name="connsiteY3" fmla="*/ 7006 h 98647"/>
                <a:gd name="connsiteX4" fmla="*/ 337064 w 430461"/>
                <a:gd name="connsiteY4" fmla="*/ 93631 h 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61" h="98647">
                  <a:moveTo>
                    <a:pt x="337064" y="93631"/>
                  </a:moveTo>
                  <a:lnTo>
                    <a:pt x="7006" y="93631"/>
                  </a:lnTo>
                  <a:lnTo>
                    <a:pt x="7006" y="7006"/>
                  </a:lnTo>
                  <a:lnTo>
                    <a:pt x="423689" y="7006"/>
                  </a:lnTo>
                  <a:lnTo>
                    <a:pt x="337064" y="9363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9" name="Freeform: Shape 13428">
              <a:extLst>
                <a:ext uri="{FF2B5EF4-FFF2-40B4-BE49-F238E27FC236}">
                  <a16:creationId xmlns:a16="http://schemas.microsoft.com/office/drawing/2014/main" id="{0434EFB1-C409-4352-824B-0B2E44CF563F}"/>
                </a:ext>
              </a:extLst>
            </p:cNvPr>
            <p:cNvSpPr/>
            <p:nvPr/>
          </p:nvSpPr>
          <p:spPr bwMode="ltGray">
            <a:xfrm>
              <a:off x="-2860" y="2822419"/>
              <a:ext cx="437187" cy="105373"/>
            </a:xfrm>
            <a:custGeom>
              <a:avLst/>
              <a:gdLst>
                <a:gd name="connsiteX0" fmla="*/ 339839 w 437187"/>
                <a:gd name="connsiteY0" fmla="*/ 98816 h 105373"/>
                <a:gd name="connsiteX1" fmla="*/ 7006 w 437187"/>
                <a:gd name="connsiteY1" fmla="*/ 98816 h 105373"/>
                <a:gd name="connsiteX2" fmla="*/ 7006 w 437187"/>
                <a:gd name="connsiteY2" fmla="*/ 93631 h 105373"/>
                <a:gd name="connsiteX3" fmla="*/ 337064 w 437187"/>
                <a:gd name="connsiteY3" fmla="*/ 93631 h 105373"/>
                <a:gd name="connsiteX4" fmla="*/ 423689 w 437187"/>
                <a:gd name="connsiteY4" fmla="*/ 7006 h 105373"/>
                <a:gd name="connsiteX5" fmla="*/ 431648 w 437187"/>
                <a:gd name="connsiteY5" fmla="*/ 7006 h 105373"/>
                <a:gd name="connsiteX6" fmla="*/ 339839 w 437187"/>
                <a:gd name="connsiteY6"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187" h="105373">
                  <a:moveTo>
                    <a:pt x="339839" y="98816"/>
                  </a:moveTo>
                  <a:lnTo>
                    <a:pt x="7006" y="98816"/>
                  </a:lnTo>
                  <a:lnTo>
                    <a:pt x="7006" y="93631"/>
                  </a:lnTo>
                  <a:lnTo>
                    <a:pt x="337064" y="93631"/>
                  </a:lnTo>
                  <a:lnTo>
                    <a:pt x="423689" y="7006"/>
                  </a:lnTo>
                  <a:lnTo>
                    <a:pt x="431648" y="7006"/>
                  </a:lnTo>
                  <a:lnTo>
                    <a:pt x="339839"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0" name="Freeform: Shape 13429">
              <a:extLst>
                <a:ext uri="{FF2B5EF4-FFF2-40B4-BE49-F238E27FC236}">
                  <a16:creationId xmlns:a16="http://schemas.microsoft.com/office/drawing/2014/main" id="{E858AA16-0AEC-4059-BCBB-45C14BBA2C3C}"/>
                </a:ext>
              </a:extLst>
            </p:cNvPr>
            <p:cNvSpPr/>
            <p:nvPr/>
          </p:nvSpPr>
          <p:spPr bwMode="ltGray">
            <a:xfrm>
              <a:off x="5176487" y="3093280"/>
              <a:ext cx="3035649" cy="105373"/>
            </a:xfrm>
            <a:custGeom>
              <a:avLst/>
              <a:gdLst>
                <a:gd name="connsiteX0" fmla="*/ 7006 w 3035649"/>
                <a:gd name="connsiteY0" fmla="*/ 7006 h 105373"/>
                <a:gd name="connsiteX1" fmla="*/ 3029085 w 3035649"/>
                <a:gd name="connsiteY1" fmla="*/ 7006 h 105373"/>
                <a:gd name="connsiteX2" fmla="*/ 3029085 w 3035649"/>
                <a:gd name="connsiteY2" fmla="*/ 98816 h 105373"/>
                <a:gd name="connsiteX3" fmla="*/ 7006 w 3035649"/>
                <a:gd name="connsiteY3" fmla="*/ 98816 h 105373"/>
              </a:gdLst>
              <a:ahLst/>
              <a:cxnLst>
                <a:cxn ang="0">
                  <a:pos x="connsiteX0" y="connsiteY0"/>
                </a:cxn>
                <a:cxn ang="0">
                  <a:pos x="connsiteX1" y="connsiteY1"/>
                </a:cxn>
                <a:cxn ang="0">
                  <a:pos x="connsiteX2" y="connsiteY2"/>
                </a:cxn>
                <a:cxn ang="0">
                  <a:pos x="connsiteX3" y="connsiteY3"/>
                </a:cxn>
              </a:cxnLst>
              <a:rect l="l" t="t" r="r" b="b"/>
              <a:pathLst>
                <a:path w="3035649" h="105373">
                  <a:moveTo>
                    <a:pt x="7006" y="7006"/>
                  </a:moveTo>
                  <a:lnTo>
                    <a:pt x="3029085" y="7006"/>
                  </a:lnTo>
                  <a:lnTo>
                    <a:pt x="3029085" y="98816"/>
                  </a:lnTo>
                  <a:lnTo>
                    <a:pt x="7006" y="988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1" name="Freeform: Shape 13430">
              <a:extLst>
                <a:ext uri="{FF2B5EF4-FFF2-40B4-BE49-F238E27FC236}">
                  <a16:creationId xmlns:a16="http://schemas.microsoft.com/office/drawing/2014/main" id="{98BF47D0-78A9-4228-AAD8-405E17EC5DA7}"/>
                </a:ext>
              </a:extLst>
            </p:cNvPr>
            <p:cNvSpPr/>
            <p:nvPr/>
          </p:nvSpPr>
          <p:spPr bwMode="ltGray">
            <a:xfrm>
              <a:off x="4228472" y="3941069"/>
              <a:ext cx="2333908" cy="1553697"/>
            </a:xfrm>
            <a:custGeom>
              <a:avLst/>
              <a:gdLst>
                <a:gd name="connsiteX0" fmla="*/ 2311733 w 2333907"/>
                <a:gd name="connsiteY0" fmla="*/ 1548355 h 1553696"/>
                <a:gd name="connsiteX1" fmla="*/ 1382541 w 2333907"/>
                <a:gd name="connsiteY1" fmla="*/ 619172 h 1553696"/>
                <a:gd name="connsiteX2" fmla="*/ 619162 w 2333907"/>
                <a:gd name="connsiteY2" fmla="*/ 619172 h 1553696"/>
                <a:gd name="connsiteX3" fmla="*/ 173091 w 2333907"/>
                <a:gd name="connsiteY3" fmla="*/ 173100 h 1553696"/>
                <a:gd name="connsiteX4" fmla="*/ 205544 w 2333907"/>
                <a:gd name="connsiteY4" fmla="*/ 173100 h 1553696"/>
                <a:gd name="connsiteX5" fmla="*/ 628663 w 2333907"/>
                <a:gd name="connsiteY5" fmla="*/ 596210 h 1553696"/>
                <a:gd name="connsiteX6" fmla="*/ 1392041 w 2333907"/>
                <a:gd name="connsiteY6" fmla="*/ 596210 h 1553696"/>
                <a:gd name="connsiteX7" fmla="*/ 2327950 w 2333907"/>
                <a:gd name="connsiteY7" fmla="*/ 1532128 h 1553696"/>
                <a:gd name="connsiteX8" fmla="*/ 2311733 w 2333907"/>
                <a:gd name="connsiteY8" fmla="*/ 1548355 h 1553696"/>
                <a:gd name="connsiteX9" fmla="*/ 194287 w 2333907"/>
                <a:gd name="connsiteY9" fmla="*/ 161834 h 1553696"/>
                <a:gd name="connsiteX10" fmla="*/ 161834 w 2333907"/>
                <a:gd name="connsiteY10" fmla="*/ 161834 h 1553696"/>
                <a:gd name="connsiteX11" fmla="*/ 112146 w 2333907"/>
                <a:gd name="connsiteY11" fmla="*/ 112156 h 1553696"/>
                <a:gd name="connsiteX12" fmla="*/ 54770 w 2333907"/>
                <a:gd name="connsiteY12" fmla="*/ 54770 h 1553696"/>
                <a:gd name="connsiteX13" fmla="*/ 7006 w 2333907"/>
                <a:gd name="connsiteY13" fmla="*/ 7006 h 1553696"/>
                <a:gd name="connsiteX14" fmla="*/ 39459 w 2333907"/>
                <a:gd name="connsiteY14" fmla="*/ 7006 h 1553696"/>
                <a:gd name="connsiteX15" fmla="*/ 194287 w 2333907"/>
                <a:gd name="connsiteY15" fmla="*/ 161834 h 155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3907" h="1553696">
                  <a:moveTo>
                    <a:pt x="2311733" y="1548355"/>
                  </a:moveTo>
                  <a:lnTo>
                    <a:pt x="1382541" y="619172"/>
                  </a:lnTo>
                  <a:lnTo>
                    <a:pt x="619162" y="619172"/>
                  </a:lnTo>
                  <a:lnTo>
                    <a:pt x="173091" y="173100"/>
                  </a:lnTo>
                  <a:lnTo>
                    <a:pt x="205544" y="173100"/>
                  </a:lnTo>
                  <a:lnTo>
                    <a:pt x="628663" y="596210"/>
                  </a:lnTo>
                  <a:lnTo>
                    <a:pt x="1392041" y="596210"/>
                  </a:lnTo>
                  <a:lnTo>
                    <a:pt x="2327950" y="1532128"/>
                  </a:lnTo>
                  <a:lnTo>
                    <a:pt x="2311733" y="1548355"/>
                  </a:lnTo>
                  <a:close/>
                  <a:moveTo>
                    <a:pt x="194287" y="161834"/>
                  </a:moveTo>
                  <a:lnTo>
                    <a:pt x="161834" y="161834"/>
                  </a:lnTo>
                  <a:lnTo>
                    <a:pt x="112146" y="112156"/>
                  </a:lnTo>
                  <a:lnTo>
                    <a:pt x="54770" y="54770"/>
                  </a:lnTo>
                  <a:lnTo>
                    <a:pt x="7006" y="7006"/>
                  </a:lnTo>
                  <a:lnTo>
                    <a:pt x="39459" y="7006"/>
                  </a:lnTo>
                  <a:lnTo>
                    <a:pt x="194287" y="161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2" name="Freeform: Shape 13431">
              <a:extLst>
                <a:ext uri="{FF2B5EF4-FFF2-40B4-BE49-F238E27FC236}">
                  <a16:creationId xmlns:a16="http://schemas.microsoft.com/office/drawing/2014/main" id="{DDB02971-4285-4C8A-AC60-DA9306DC363E}"/>
                </a:ext>
              </a:extLst>
            </p:cNvPr>
            <p:cNvSpPr/>
            <p:nvPr/>
          </p:nvSpPr>
          <p:spPr bwMode="ltGray">
            <a:xfrm>
              <a:off x="4383300" y="4095897"/>
              <a:ext cx="56050" cy="24662"/>
            </a:xfrm>
            <a:custGeom>
              <a:avLst/>
              <a:gdLst>
                <a:gd name="connsiteX0" fmla="*/ 50716 w 56049"/>
                <a:gd name="connsiteY0" fmla="*/ 18272 h 24661"/>
                <a:gd name="connsiteX1" fmla="*/ 18263 w 56049"/>
                <a:gd name="connsiteY1" fmla="*/ 18272 h 24661"/>
                <a:gd name="connsiteX2" fmla="*/ 7006 w 56049"/>
                <a:gd name="connsiteY2" fmla="*/ 7006 h 24661"/>
                <a:gd name="connsiteX3" fmla="*/ 39459 w 56049"/>
                <a:gd name="connsiteY3" fmla="*/ 7006 h 24661"/>
                <a:gd name="connsiteX4" fmla="*/ 50716 w 56049"/>
                <a:gd name="connsiteY4" fmla="*/ 18272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16" y="18272"/>
                  </a:moveTo>
                  <a:lnTo>
                    <a:pt x="18263" y="18272"/>
                  </a:lnTo>
                  <a:lnTo>
                    <a:pt x="7006" y="7006"/>
                  </a:lnTo>
                  <a:lnTo>
                    <a:pt x="39459" y="7006"/>
                  </a:lnTo>
                  <a:lnTo>
                    <a:pt x="50716" y="182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3" name="Freeform: Shape 13432">
              <a:extLst>
                <a:ext uri="{FF2B5EF4-FFF2-40B4-BE49-F238E27FC236}">
                  <a16:creationId xmlns:a16="http://schemas.microsoft.com/office/drawing/2014/main" id="{1207B51F-7D49-4C37-A039-8F44B56599FF}"/>
                </a:ext>
              </a:extLst>
            </p:cNvPr>
            <p:cNvSpPr/>
            <p:nvPr/>
          </p:nvSpPr>
          <p:spPr bwMode="ltGray">
            <a:xfrm>
              <a:off x="3858441" y="3554812"/>
              <a:ext cx="410283" cy="394590"/>
            </a:xfrm>
            <a:custGeom>
              <a:avLst/>
              <a:gdLst>
                <a:gd name="connsiteX0" fmla="*/ 403857 w 410283"/>
                <a:gd name="connsiteY0" fmla="*/ 387640 h 394589"/>
                <a:gd name="connsiteX1" fmla="*/ 371404 w 410283"/>
                <a:gd name="connsiteY1" fmla="*/ 387640 h 394589"/>
                <a:gd name="connsiteX2" fmla="*/ 247543 w 410283"/>
                <a:gd name="connsiteY2" fmla="*/ 263779 h 394589"/>
                <a:gd name="connsiteX3" fmla="*/ 280006 w 410283"/>
                <a:gd name="connsiteY3" fmla="*/ 263779 h 394589"/>
                <a:gd name="connsiteX4" fmla="*/ 403857 w 410283"/>
                <a:gd name="connsiteY4" fmla="*/ 387640 h 394589"/>
                <a:gd name="connsiteX5" fmla="*/ 268749 w 410283"/>
                <a:gd name="connsiteY5" fmla="*/ 252522 h 394589"/>
                <a:gd name="connsiteX6" fmla="*/ 236287 w 410283"/>
                <a:gd name="connsiteY6" fmla="*/ 252522 h 394589"/>
                <a:gd name="connsiteX7" fmla="*/ 133912 w 410283"/>
                <a:gd name="connsiteY7" fmla="*/ 150148 h 394589"/>
                <a:gd name="connsiteX8" fmla="*/ 150138 w 410283"/>
                <a:gd name="connsiteY8" fmla="*/ 133912 h 394589"/>
                <a:gd name="connsiteX9" fmla="*/ 268749 w 410283"/>
                <a:gd name="connsiteY9" fmla="*/ 252522 h 394589"/>
                <a:gd name="connsiteX10" fmla="*/ 129933 w 410283"/>
                <a:gd name="connsiteY10" fmla="*/ 146168 h 394589"/>
                <a:gd name="connsiteX11" fmla="*/ 7006 w 410283"/>
                <a:gd name="connsiteY11" fmla="*/ 23242 h 394589"/>
                <a:gd name="connsiteX12" fmla="*/ 23233 w 410283"/>
                <a:gd name="connsiteY12" fmla="*/ 7006 h 394589"/>
                <a:gd name="connsiteX13" fmla="*/ 146159 w 410283"/>
                <a:gd name="connsiteY13" fmla="*/ 129942 h 394589"/>
                <a:gd name="connsiteX14" fmla="*/ 129933 w 410283"/>
                <a:gd name="connsiteY14" fmla="*/ 146168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0283" h="394589">
                  <a:moveTo>
                    <a:pt x="403857" y="387640"/>
                  </a:moveTo>
                  <a:lnTo>
                    <a:pt x="371404" y="387640"/>
                  </a:lnTo>
                  <a:lnTo>
                    <a:pt x="247543" y="263779"/>
                  </a:lnTo>
                  <a:lnTo>
                    <a:pt x="280006" y="263779"/>
                  </a:lnTo>
                  <a:lnTo>
                    <a:pt x="403857" y="387640"/>
                  </a:lnTo>
                  <a:close/>
                  <a:moveTo>
                    <a:pt x="268749" y="252522"/>
                  </a:moveTo>
                  <a:lnTo>
                    <a:pt x="236287" y="252522"/>
                  </a:lnTo>
                  <a:lnTo>
                    <a:pt x="133912" y="150148"/>
                  </a:lnTo>
                  <a:lnTo>
                    <a:pt x="150138" y="133912"/>
                  </a:lnTo>
                  <a:lnTo>
                    <a:pt x="268749" y="252522"/>
                  </a:lnTo>
                  <a:close/>
                  <a:moveTo>
                    <a:pt x="129933" y="146168"/>
                  </a:moveTo>
                  <a:lnTo>
                    <a:pt x="7006" y="23242"/>
                  </a:lnTo>
                  <a:lnTo>
                    <a:pt x="23233" y="7006"/>
                  </a:lnTo>
                  <a:lnTo>
                    <a:pt x="146159" y="129942"/>
                  </a:lnTo>
                  <a:lnTo>
                    <a:pt x="129933" y="1461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4" name="Freeform: Shape 13433">
              <a:extLst>
                <a:ext uri="{FF2B5EF4-FFF2-40B4-BE49-F238E27FC236}">
                  <a16:creationId xmlns:a16="http://schemas.microsoft.com/office/drawing/2014/main" id="{515CDFB9-E8ED-489F-A863-867188683490}"/>
                </a:ext>
              </a:extLst>
            </p:cNvPr>
            <p:cNvSpPr/>
            <p:nvPr/>
          </p:nvSpPr>
          <p:spPr bwMode="ltGray">
            <a:xfrm>
              <a:off x="3981367" y="3677747"/>
              <a:ext cx="33630" cy="33630"/>
            </a:xfrm>
            <a:custGeom>
              <a:avLst/>
              <a:gdLst>
                <a:gd name="connsiteX0" fmla="*/ 10986 w 33629"/>
                <a:gd name="connsiteY0" fmla="*/ 27212 h 33629"/>
                <a:gd name="connsiteX1" fmla="*/ 7006 w 33629"/>
                <a:gd name="connsiteY1" fmla="*/ 23233 h 33629"/>
                <a:gd name="connsiteX2" fmla="*/ 23233 w 33629"/>
                <a:gd name="connsiteY2" fmla="*/ 7006 h 33629"/>
                <a:gd name="connsiteX3" fmla="*/ 27212 w 33629"/>
                <a:gd name="connsiteY3" fmla="*/ 10976 h 33629"/>
                <a:gd name="connsiteX4" fmla="*/ 10986 w 33629"/>
                <a:gd name="connsiteY4" fmla="*/ 27212 h 3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33629">
                  <a:moveTo>
                    <a:pt x="10986" y="27212"/>
                  </a:moveTo>
                  <a:lnTo>
                    <a:pt x="7006" y="23233"/>
                  </a:lnTo>
                  <a:lnTo>
                    <a:pt x="23233" y="7006"/>
                  </a:lnTo>
                  <a:lnTo>
                    <a:pt x="27212" y="10976"/>
                  </a:lnTo>
                  <a:lnTo>
                    <a:pt x="10986" y="272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5" name="Freeform: Shape 13434">
              <a:extLst>
                <a:ext uri="{FF2B5EF4-FFF2-40B4-BE49-F238E27FC236}">
                  <a16:creationId xmlns:a16="http://schemas.microsoft.com/office/drawing/2014/main" id="{1B9C9315-FDE4-4501-B924-5F600AC91966}"/>
                </a:ext>
              </a:extLst>
            </p:cNvPr>
            <p:cNvSpPr/>
            <p:nvPr/>
          </p:nvSpPr>
          <p:spPr bwMode="ltGray">
            <a:xfrm>
              <a:off x="4087722" y="3800328"/>
              <a:ext cx="56050" cy="24662"/>
            </a:xfrm>
            <a:custGeom>
              <a:avLst/>
              <a:gdLst>
                <a:gd name="connsiteX0" fmla="*/ 50725 w 56049"/>
                <a:gd name="connsiteY0" fmla="*/ 18263 h 24661"/>
                <a:gd name="connsiteX1" fmla="*/ 18263 w 56049"/>
                <a:gd name="connsiteY1" fmla="*/ 18263 h 24661"/>
                <a:gd name="connsiteX2" fmla="*/ 7006 w 56049"/>
                <a:gd name="connsiteY2" fmla="*/ 7006 h 24661"/>
                <a:gd name="connsiteX3" fmla="*/ 39468 w 56049"/>
                <a:gd name="connsiteY3" fmla="*/ 7006 h 24661"/>
                <a:gd name="connsiteX4" fmla="*/ 50725 w 56049"/>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25" y="18263"/>
                  </a:moveTo>
                  <a:lnTo>
                    <a:pt x="18263" y="18263"/>
                  </a:lnTo>
                  <a:lnTo>
                    <a:pt x="7006" y="7006"/>
                  </a:lnTo>
                  <a:lnTo>
                    <a:pt x="39468" y="7006"/>
                  </a:lnTo>
                  <a:lnTo>
                    <a:pt x="5072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6" name="Freeform: Shape 13435">
              <a:extLst>
                <a:ext uri="{FF2B5EF4-FFF2-40B4-BE49-F238E27FC236}">
                  <a16:creationId xmlns:a16="http://schemas.microsoft.com/office/drawing/2014/main" id="{33F11A80-C3EC-4461-BDA2-FD9D46E77602}"/>
                </a:ext>
              </a:extLst>
            </p:cNvPr>
            <p:cNvSpPr/>
            <p:nvPr/>
          </p:nvSpPr>
          <p:spPr bwMode="ltGray">
            <a:xfrm>
              <a:off x="4222839" y="3935445"/>
              <a:ext cx="51566" cy="17936"/>
            </a:xfrm>
            <a:custGeom>
              <a:avLst/>
              <a:gdLst>
                <a:gd name="connsiteX0" fmla="*/ 45092 w 51565"/>
                <a:gd name="connsiteY0" fmla="*/ 12630 h 17935"/>
                <a:gd name="connsiteX1" fmla="*/ 12639 w 51565"/>
                <a:gd name="connsiteY1" fmla="*/ 12630 h 17935"/>
                <a:gd name="connsiteX2" fmla="*/ 7006 w 51565"/>
                <a:gd name="connsiteY2" fmla="*/ 7006 h 17935"/>
                <a:gd name="connsiteX3" fmla="*/ 39459 w 51565"/>
                <a:gd name="connsiteY3" fmla="*/ 7006 h 17935"/>
                <a:gd name="connsiteX4" fmla="*/ 45092 w 51565"/>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17935">
                  <a:moveTo>
                    <a:pt x="45092" y="12630"/>
                  </a:moveTo>
                  <a:lnTo>
                    <a:pt x="12639" y="12630"/>
                  </a:lnTo>
                  <a:lnTo>
                    <a:pt x="7006" y="7006"/>
                  </a:lnTo>
                  <a:lnTo>
                    <a:pt x="39459" y="7006"/>
                  </a:lnTo>
                  <a:lnTo>
                    <a:pt x="45092"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7" name="Freeform: Shape 13436">
              <a:extLst>
                <a:ext uri="{FF2B5EF4-FFF2-40B4-BE49-F238E27FC236}">
                  <a16:creationId xmlns:a16="http://schemas.microsoft.com/office/drawing/2014/main" id="{813C87AF-4DE5-4C0A-8DE0-F7994CD9E319}"/>
                </a:ext>
              </a:extLst>
            </p:cNvPr>
            <p:cNvSpPr/>
            <p:nvPr/>
          </p:nvSpPr>
          <p:spPr bwMode="ltGray">
            <a:xfrm>
              <a:off x="3211590" y="3227911"/>
              <a:ext cx="652418" cy="331814"/>
            </a:xfrm>
            <a:custGeom>
              <a:avLst/>
              <a:gdLst>
                <a:gd name="connsiteX0" fmla="*/ 629513 w 652418"/>
                <a:gd name="connsiteY0" fmla="*/ 325789 h 331813"/>
                <a:gd name="connsiteX1" fmla="*/ 491705 w 652418"/>
                <a:gd name="connsiteY1" fmla="*/ 187982 h 331813"/>
                <a:gd name="connsiteX2" fmla="*/ 507932 w 652418"/>
                <a:gd name="connsiteY2" fmla="*/ 171755 h 331813"/>
                <a:gd name="connsiteX3" fmla="*/ 645739 w 652418"/>
                <a:gd name="connsiteY3" fmla="*/ 309563 h 331813"/>
                <a:gd name="connsiteX4" fmla="*/ 629513 w 652418"/>
                <a:gd name="connsiteY4" fmla="*/ 325789 h 331813"/>
                <a:gd name="connsiteX5" fmla="*/ 483587 w 652418"/>
                <a:gd name="connsiteY5" fmla="*/ 179863 h 331813"/>
                <a:gd name="connsiteX6" fmla="*/ 415524 w 652418"/>
                <a:gd name="connsiteY6" fmla="*/ 111801 h 331813"/>
                <a:gd name="connsiteX7" fmla="*/ 447977 w 652418"/>
                <a:gd name="connsiteY7" fmla="*/ 111801 h 331813"/>
                <a:gd name="connsiteX8" fmla="*/ 499814 w 652418"/>
                <a:gd name="connsiteY8" fmla="*/ 163637 h 331813"/>
                <a:gd name="connsiteX9" fmla="*/ 483587 w 652418"/>
                <a:gd name="connsiteY9" fmla="*/ 179863 h 331813"/>
                <a:gd name="connsiteX10" fmla="*/ 431097 w 652418"/>
                <a:gd name="connsiteY10" fmla="*/ 94920 h 331813"/>
                <a:gd name="connsiteX11" fmla="*/ 398644 w 652418"/>
                <a:gd name="connsiteY11" fmla="*/ 94920 h 331813"/>
                <a:gd name="connsiteX12" fmla="*/ 333692 w 652418"/>
                <a:gd name="connsiteY12" fmla="*/ 29968 h 331813"/>
                <a:gd name="connsiteX13" fmla="*/ 323687 w 652418"/>
                <a:gd name="connsiteY13" fmla="*/ 29968 h 331813"/>
                <a:gd name="connsiteX14" fmla="*/ 300735 w 652418"/>
                <a:gd name="connsiteY14" fmla="*/ 7006 h 331813"/>
                <a:gd name="connsiteX15" fmla="*/ 343183 w 652418"/>
                <a:gd name="connsiteY15" fmla="*/ 7006 h 331813"/>
                <a:gd name="connsiteX16" fmla="*/ 431097 w 652418"/>
                <a:gd name="connsiteY16" fmla="*/ 94920 h 331813"/>
                <a:gd name="connsiteX17" fmla="*/ 299810 w 652418"/>
                <a:gd name="connsiteY17" fmla="*/ 29968 h 331813"/>
                <a:gd name="connsiteX18" fmla="*/ 7006 w 652418"/>
                <a:gd name="connsiteY18" fmla="*/ 29968 h 331813"/>
                <a:gd name="connsiteX19" fmla="*/ 29968 w 652418"/>
                <a:gd name="connsiteY19" fmla="*/ 7006 h 331813"/>
                <a:gd name="connsiteX20" fmla="*/ 276857 w 652418"/>
                <a:gd name="connsiteY20" fmla="*/ 7006 h 331813"/>
                <a:gd name="connsiteX21" fmla="*/ 299810 w 652418"/>
                <a:gd name="connsiteY21" fmla="*/ 29968 h 3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2418" h="331813">
                  <a:moveTo>
                    <a:pt x="629513" y="325789"/>
                  </a:moveTo>
                  <a:lnTo>
                    <a:pt x="491705" y="187982"/>
                  </a:lnTo>
                  <a:lnTo>
                    <a:pt x="507932" y="171755"/>
                  </a:lnTo>
                  <a:lnTo>
                    <a:pt x="645739" y="309563"/>
                  </a:lnTo>
                  <a:lnTo>
                    <a:pt x="629513" y="325789"/>
                  </a:lnTo>
                  <a:close/>
                  <a:moveTo>
                    <a:pt x="483587" y="179863"/>
                  </a:moveTo>
                  <a:lnTo>
                    <a:pt x="415524" y="111801"/>
                  </a:lnTo>
                  <a:lnTo>
                    <a:pt x="447977" y="111801"/>
                  </a:lnTo>
                  <a:lnTo>
                    <a:pt x="499814" y="163637"/>
                  </a:lnTo>
                  <a:lnTo>
                    <a:pt x="483587" y="179863"/>
                  </a:lnTo>
                  <a:close/>
                  <a:moveTo>
                    <a:pt x="431097" y="94920"/>
                  </a:moveTo>
                  <a:lnTo>
                    <a:pt x="398644" y="94920"/>
                  </a:lnTo>
                  <a:lnTo>
                    <a:pt x="333692" y="29968"/>
                  </a:lnTo>
                  <a:lnTo>
                    <a:pt x="323687" y="29968"/>
                  </a:lnTo>
                  <a:lnTo>
                    <a:pt x="300735" y="7006"/>
                  </a:lnTo>
                  <a:lnTo>
                    <a:pt x="343183" y="7006"/>
                  </a:lnTo>
                  <a:lnTo>
                    <a:pt x="431097" y="94920"/>
                  </a:lnTo>
                  <a:close/>
                  <a:moveTo>
                    <a:pt x="299810" y="29968"/>
                  </a:moveTo>
                  <a:lnTo>
                    <a:pt x="7006" y="29968"/>
                  </a:lnTo>
                  <a:lnTo>
                    <a:pt x="29968" y="7006"/>
                  </a:lnTo>
                  <a:lnTo>
                    <a:pt x="276857" y="7006"/>
                  </a:lnTo>
                  <a:lnTo>
                    <a:pt x="29981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8" name="Freeform: Shape 13437">
              <a:extLst>
                <a:ext uri="{FF2B5EF4-FFF2-40B4-BE49-F238E27FC236}">
                  <a16:creationId xmlns:a16="http://schemas.microsoft.com/office/drawing/2014/main" id="{100B7701-CD0A-4908-A32A-80EC5E434ABF}"/>
                </a:ext>
              </a:extLst>
            </p:cNvPr>
            <p:cNvSpPr/>
            <p:nvPr/>
          </p:nvSpPr>
          <p:spPr bwMode="ltGray">
            <a:xfrm>
              <a:off x="3481441" y="3227911"/>
              <a:ext cx="183843" cy="116583"/>
            </a:xfrm>
            <a:custGeom>
              <a:avLst/>
              <a:gdLst>
                <a:gd name="connsiteX0" fmla="*/ 178126 w 183842"/>
                <a:gd name="connsiteY0" fmla="*/ 111801 h 116583"/>
                <a:gd name="connsiteX1" fmla="*/ 145673 w 183842"/>
                <a:gd name="connsiteY1" fmla="*/ 111801 h 116583"/>
                <a:gd name="connsiteX2" fmla="*/ 128793 w 183842"/>
                <a:gd name="connsiteY2" fmla="*/ 94920 h 116583"/>
                <a:gd name="connsiteX3" fmla="*/ 161246 w 183842"/>
                <a:gd name="connsiteY3" fmla="*/ 94920 h 116583"/>
                <a:gd name="connsiteX4" fmla="*/ 178126 w 183842"/>
                <a:gd name="connsiteY4" fmla="*/ 111801 h 116583"/>
                <a:gd name="connsiteX5" fmla="*/ 53836 w 183842"/>
                <a:gd name="connsiteY5" fmla="*/ 29968 h 116583"/>
                <a:gd name="connsiteX6" fmla="*/ 29959 w 183842"/>
                <a:gd name="connsiteY6" fmla="*/ 29968 h 116583"/>
                <a:gd name="connsiteX7" fmla="*/ 7006 w 183842"/>
                <a:gd name="connsiteY7" fmla="*/ 7006 h 116583"/>
                <a:gd name="connsiteX8" fmla="*/ 30883 w 183842"/>
                <a:gd name="connsiteY8" fmla="*/ 7006 h 116583"/>
                <a:gd name="connsiteX9" fmla="*/ 53836 w 183842"/>
                <a:gd name="connsiteY9" fmla="*/ 29968 h 1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842" h="116583">
                  <a:moveTo>
                    <a:pt x="178126" y="111801"/>
                  </a:moveTo>
                  <a:lnTo>
                    <a:pt x="145673" y="111801"/>
                  </a:lnTo>
                  <a:lnTo>
                    <a:pt x="128793" y="94920"/>
                  </a:lnTo>
                  <a:lnTo>
                    <a:pt x="161246" y="94920"/>
                  </a:lnTo>
                  <a:lnTo>
                    <a:pt x="178126" y="111801"/>
                  </a:lnTo>
                  <a:close/>
                  <a:moveTo>
                    <a:pt x="53836" y="29968"/>
                  </a:moveTo>
                  <a:lnTo>
                    <a:pt x="29959" y="29968"/>
                  </a:lnTo>
                  <a:lnTo>
                    <a:pt x="7006" y="7006"/>
                  </a:lnTo>
                  <a:lnTo>
                    <a:pt x="30883" y="7006"/>
                  </a:lnTo>
                  <a:lnTo>
                    <a:pt x="53836"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9" name="Freeform: Shape 13438">
              <a:extLst>
                <a:ext uri="{FF2B5EF4-FFF2-40B4-BE49-F238E27FC236}">
                  <a16:creationId xmlns:a16="http://schemas.microsoft.com/office/drawing/2014/main" id="{91B3CDB3-036D-4B86-9D3C-657322B06F79}"/>
                </a:ext>
              </a:extLst>
            </p:cNvPr>
            <p:cNvSpPr/>
            <p:nvPr/>
          </p:nvSpPr>
          <p:spPr bwMode="ltGray">
            <a:xfrm>
              <a:off x="-2860" y="3227911"/>
              <a:ext cx="3201556" cy="35872"/>
            </a:xfrm>
            <a:custGeom>
              <a:avLst/>
              <a:gdLst>
                <a:gd name="connsiteX0" fmla="*/ 3172778 w 3201556"/>
                <a:gd name="connsiteY0" fmla="*/ 29968 h 35871"/>
                <a:gd name="connsiteX1" fmla="*/ 2763166 w 3201556"/>
                <a:gd name="connsiteY1" fmla="*/ 29968 h 35871"/>
                <a:gd name="connsiteX2" fmla="*/ 2682016 w 3201556"/>
                <a:gd name="connsiteY2" fmla="*/ 29968 h 35871"/>
                <a:gd name="connsiteX3" fmla="*/ 2568403 w 3201556"/>
                <a:gd name="connsiteY3" fmla="*/ 29968 h 35871"/>
                <a:gd name="connsiteX4" fmla="*/ 2581649 w 3201556"/>
                <a:gd name="connsiteY4" fmla="*/ 7006 h 35871"/>
                <a:gd name="connsiteX5" fmla="*/ 3195730 w 3201556"/>
                <a:gd name="connsiteY5" fmla="*/ 7006 h 35871"/>
                <a:gd name="connsiteX6" fmla="*/ 3172778 w 3201556"/>
                <a:gd name="connsiteY6" fmla="*/ 29968 h 35871"/>
                <a:gd name="connsiteX7" fmla="*/ 2549131 w 3201556"/>
                <a:gd name="connsiteY7" fmla="*/ 29968 h 35871"/>
                <a:gd name="connsiteX8" fmla="*/ 2010381 w 3201556"/>
                <a:gd name="connsiteY8" fmla="*/ 29968 h 35871"/>
                <a:gd name="connsiteX9" fmla="*/ 1997135 w 3201556"/>
                <a:gd name="connsiteY9" fmla="*/ 7006 h 35871"/>
                <a:gd name="connsiteX10" fmla="*/ 2562387 w 3201556"/>
                <a:gd name="connsiteY10" fmla="*/ 7006 h 35871"/>
                <a:gd name="connsiteX11" fmla="*/ 2549131 w 3201556"/>
                <a:gd name="connsiteY11" fmla="*/ 29968 h 35871"/>
                <a:gd name="connsiteX12" fmla="*/ 1991119 w 3201556"/>
                <a:gd name="connsiteY12" fmla="*/ 29968 h 35871"/>
                <a:gd name="connsiteX13" fmla="*/ 1576772 w 3201556"/>
                <a:gd name="connsiteY13" fmla="*/ 29968 h 35871"/>
                <a:gd name="connsiteX14" fmla="*/ 1576772 w 3201556"/>
                <a:gd name="connsiteY14" fmla="*/ 7006 h 35871"/>
                <a:gd name="connsiteX15" fmla="*/ 1977863 w 3201556"/>
                <a:gd name="connsiteY15" fmla="*/ 7006 h 35871"/>
                <a:gd name="connsiteX16" fmla="*/ 1991119 w 3201556"/>
                <a:gd name="connsiteY16" fmla="*/ 29968 h 35871"/>
                <a:gd name="connsiteX17" fmla="*/ 1104553 w 3201556"/>
                <a:gd name="connsiteY17" fmla="*/ 29968 h 35871"/>
                <a:gd name="connsiteX18" fmla="*/ 233466 w 3201556"/>
                <a:gd name="connsiteY18" fmla="*/ 29968 h 35871"/>
                <a:gd name="connsiteX19" fmla="*/ 256418 w 3201556"/>
                <a:gd name="connsiteY19" fmla="*/ 7006 h 35871"/>
                <a:gd name="connsiteX20" fmla="*/ 586177 w 3201556"/>
                <a:gd name="connsiteY20" fmla="*/ 7006 h 35871"/>
                <a:gd name="connsiteX21" fmla="*/ 586177 w 3201556"/>
                <a:gd name="connsiteY21" fmla="*/ 14508 h 35871"/>
                <a:gd name="connsiteX22" fmla="*/ 991370 w 3201556"/>
                <a:gd name="connsiteY22" fmla="*/ 14508 h 35871"/>
                <a:gd name="connsiteX23" fmla="*/ 991370 w 3201556"/>
                <a:gd name="connsiteY23" fmla="*/ 7006 h 35871"/>
                <a:gd name="connsiteX24" fmla="*/ 1127505 w 3201556"/>
                <a:gd name="connsiteY24" fmla="*/ 7006 h 35871"/>
                <a:gd name="connsiteX25" fmla="*/ 1104553 w 3201556"/>
                <a:gd name="connsiteY25" fmla="*/ 29968 h 35871"/>
                <a:gd name="connsiteX26" fmla="*/ 225600 w 3201556"/>
                <a:gd name="connsiteY26" fmla="*/ 29968 h 35871"/>
                <a:gd name="connsiteX27" fmla="*/ 7006 w 3201556"/>
                <a:gd name="connsiteY27" fmla="*/ 29968 h 35871"/>
                <a:gd name="connsiteX28" fmla="*/ 7006 w 3201556"/>
                <a:gd name="connsiteY28" fmla="*/ 7006 h 35871"/>
                <a:gd name="connsiteX29" fmla="*/ 248552 w 3201556"/>
                <a:gd name="connsiteY29" fmla="*/ 7006 h 35871"/>
                <a:gd name="connsiteX30" fmla="*/ 225600 w 3201556"/>
                <a:gd name="connsiteY30"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201556" h="35871">
                  <a:moveTo>
                    <a:pt x="3172778" y="29968"/>
                  </a:moveTo>
                  <a:lnTo>
                    <a:pt x="2763166" y="29968"/>
                  </a:lnTo>
                  <a:lnTo>
                    <a:pt x="2682016" y="29968"/>
                  </a:lnTo>
                  <a:lnTo>
                    <a:pt x="2568403" y="29968"/>
                  </a:lnTo>
                  <a:lnTo>
                    <a:pt x="2581649" y="7006"/>
                  </a:lnTo>
                  <a:lnTo>
                    <a:pt x="3195730" y="7006"/>
                  </a:lnTo>
                  <a:lnTo>
                    <a:pt x="3172778" y="29968"/>
                  </a:lnTo>
                  <a:close/>
                  <a:moveTo>
                    <a:pt x="2549131" y="29968"/>
                  </a:moveTo>
                  <a:lnTo>
                    <a:pt x="2010381" y="29968"/>
                  </a:lnTo>
                  <a:lnTo>
                    <a:pt x="1997135" y="7006"/>
                  </a:lnTo>
                  <a:lnTo>
                    <a:pt x="2562387" y="7006"/>
                  </a:lnTo>
                  <a:lnTo>
                    <a:pt x="2549131" y="29968"/>
                  </a:lnTo>
                  <a:close/>
                  <a:moveTo>
                    <a:pt x="1991119" y="29968"/>
                  </a:moveTo>
                  <a:lnTo>
                    <a:pt x="1576772" y="29968"/>
                  </a:lnTo>
                  <a:lnTo>
                    <a:pt x="1576772" y="7006"/>
                  </a:lnTo>
                  <a:lnTo>
                    <a:pt x="1977863" y="7006"/>
                  </a:lnTo>
                  <a:lnTo>
                    <a:pt x="1991119" y="29968"/>
                  </a:lnTo>
                  <a:close/>
                  <a:moveTo>
                    <a:pt x="1104553" y="29968"/>
                  </a:moveTo>
                  <a:lnTo>
                    <a:pt x="233466" y="29968"/>
                  </a:lnTo>
                  <a:lnTo>
                    <a:pt x="256418" y="7006"/>
                  </a:lnTo>
                  <a:lnTo>
                    <a:pt x="586177" y="7006"/>
                  </a:lnTo>
                  <a:lnTo>
                    <a:pt x="586177" y="14508"/>
                  </a:lnTo>
                  <a:lnTo>
                    <a:pt x="991370" y="14508"/>
                  </a:lnTo>
                  <a:lnTo>
                    <a:pt x="991370" y="7006"/>
                  </a:lnTo>
                  <a:lnTo>
                    <a:pt x="1127505" y="7006"/>
                  </a:lnTo>
                  <a:lnTo>
                    <a:pt x="1104553" y="29968"/>
                  </a:lnTo>
                  <a:close/>
                  <a:moveTo>
                    <a:pt x="225600" y="29968"/>
                  </a:moveTo>
                  <a:lnTo>
                    <a:pt x="7006" y="29968"/>
                  </a:lnTo>
                  <a:lnTo>
                    <a:pt x="7006" y="7006"/>
                  </a:lnTo>
                  <a:lnTo>
                    <a:pt x="248552" y="7006"/>
                  </a:lnTo>
                  <a:lnTo>
                    <a:pt x="22560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0" name="Freeform: Shape 13439">
              <a:extLst>
                <a:ext uri="{FF2B5EF4-FFF2-40B4-BE49-F238E27FC236}">
                  <a16:creationId xmlns:a16="http://schemas.microsoft.com/office/drawing/2014/main" id="{975A4937-C3BD-4391-900B-0916B4EDC4D7}"/>
                </a:ext>
              </a:extLst>
            </p:cNvPr>
            <p:cNvSpPr/>
            <p:nvPr/>
          </p:nvSpPr>
          <p:spPr bwMode="ltGray">
            <a:xfrm>
              <a:off x="1967997" y="3227911"/>
              <a:ext cx="616546" cy="35872"/>
            </a:xfrm>
            <a:custGeom>
              <a:avLst/>
              <a:gdLst>
                <a:gd name="connsiteX0" fmla="*/ 597546 w 616546"/>
                <a:gd name="connsiteY0" fmla="*/ 29968 h 35871"/>
                <a:gd name="connsiteX1" fmla="*/ 578274 w 616546"/>
                <a:gd name="connsiteY1" fmla="*/ 29968 h 35871"/>
                <a:gd name="connsiteX2" fmla="*/ 591530 w 616546"/>
                <a:gd name="connsiteY2" fmla="*/ 7006 h 35871"/>
                <a:gd name="connsiteX3" fmla="*/ 610792 w 616546"/>
                <a:gd name="connsiteY3" fmla="*/ 7006 h 35871"/>
                <a:gd name="connsiteX4" fmla="*/ 597546 w 616546"/>
                <a:gd name="connsiteY4" fmla="*/ 29968 h 35871"/>
                <a:gd name="connsiteX5" fmla="*/ 39524 w 616546"/>
                <a:gd name="connsiteY5" fmla="*/ 29968 h 35871"/>
                <a:gd name="connsiteX6" fmla="*/ 20262 w 616546"/>
                <a:gd name="connsiteY6" fmla="*/ 29968 h 35871"/>
                <a:gd name="connsiteX7" fmla="*/ 7006 w 616546"/>
                <a:gd name="connsiteY7" fmla="*/ 7006 h 35871"/>
                <a:gd name="connsiteX8" fmla="*/ 26278 w 616546"/>
                <a:gd name="connsiteY8" fmla="*/ 7006 h 35871"/>
                <a:gd name="connsiteX9" fmla="*/ 39524 w 616546"/>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546" h="35871">
                  <a:moveTo>
                    <a:pt x="597546" y="29968"/>
                  </a:moveTo>
                  <a:lnTo>
                    <a:pt x="578274" y="29968"/>
                  </a:lnTo>
                  <a:lnTo>
                    <a:pt x="591530" y="7006"/>
                  </a:lnTo>
                  <a:lnTo>
                    <a:pt x="610792" y="7006"/>
                  </a:lnTo>
                  <a:lnTo>
                    <a:pt x="597546" y="29968"/>
                  </a:lnTo>
                  <a:close/>
                  <a:moveTo>
                    <a:pt x="39524" y="29968"/>
                  </a:moveTo>
                  <a:lnTo>
                    <a:pt x="20262" y="29968"/>
                  </a:lnTo>
                  <a:lnTo>
                    <a:pt x="7006" y="7006"/>
                  </a:lnTo>
                  <a:lnTo>
                    <a:pt x="26278" y="7006"/>
                  </a:lnTo>
                  <a:lnTo>
                    <a:pt x="3952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1" name="Freeform: Shape 13440">
              <a:extLst>
                <a:ext uri="{FF2B5EF4-FFF2-40B4-BE49-F238E27FC236}">
                  <a16:creationId xmlns:a16="http://schemas.microsoft.com/office/drawing/2014/main" id="{6992BF34-0097-4BDE-96A8-D7BD4FD985BA}"/>
                </a:ext>
              </a:extLst>
            </p:cNvPr>
            <p:cNvSpPr/>
            <p:nvPr/>
          </p:nvSpPr>
          <p:spPr bwMode="ltGray">
            <a:xfrm>
              <a:off x="215734" y="3227911"/>
              <a:ext cx="42598" cy="35872"/>
            </a:xfrm>
            <a:custGeom>
              <a:avLst/>
              <a:gdLst>
                <a:gd name="connsiteX0" fmla="*/ 14872 w 42597"/>
                <a:gd name="connsiteY0" fmla="*/ 29968 h 35871"/>
                <a:gd name="connsiteX1" fmla="*/ 7006 w 42597"/>
                <a:gd name="connsiteY1" fmla="*/ 29968 h 35871"/>
                <a:gd name="connsiteX2" fmla="*/ 29959 w 42597"/>
                <a:gd name="connsiteY2" fmla="*/ 7006 h 35871"/>
                <a:gd name="connsiteX3" fmla="*/ 37824 w 42597"/>
                <a:gd name="connsiteY3" fmla="*/ 7006 h 35871"/>
                <a:gd name="connsiteX4" fmla="*/ 14872 w 42597"/>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35871">
                  <a:moveTo>
                    <a:pt x="14872" y="29968"/>
                  </a:moveTo>
                  <a:lnTo>
                    <a:pt x="7006" y="29968"/>
                  </a:lnTo>
                  <a:lnTo>
                    <a:pt x="29959" y="7006"/>
                  </a:lnTo>
                  <a:lnTo>
                    <a:pt x="3782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2" name="Freeform: Shape 13441">
              <a:extLst>
                <a:ext uri="{FF2B5EF4-FFF2-40B4-BE49-F238E27FC236}">
                  <a16:creationId xmlns:a16="http://schemas.microsoft.com/office/drawing/2014/main" id="{5959E0D5-4243-4C21-B9C4-AEA3A650AFBC}"/>
                </a:ext>
              </a:extLst>
            </p:cNvPr>
            <p:cNvSpPr/>
            <p:nvPr/>
          </p:nvSpPr>
          <p:spPr bwMode="ltGray">
            <a:xfrm>
              <a:off x="1094686" y="3227911"/>
              <a:ext cx="484269" cy="35872"/>
            </a:xfrm>
            <a:custGeom>
              <a:avLst/>
              <a:gdLst>
                <a:gd name="connsiteX0" fmla="*/ 479225 w 484269"/>
                <a:gd name="connsiteY0" fmla="*/ 29968 h 35871"/>
                <a:gd name="connsiteX1" fmla="*/ 7006 w 484269"/>
                <a:gd name="connsiteY1" fmla="*/ 29968 h 35871"/>
                <a:gd name="connsiteX2" fmla="*/ 29959 w 484269"/>
                <a:gd name="connsiteY2" fmla="*/ 7006 h 35871"/>
                <a:gd name="connsiteX3" fmla="*/ 479225 w 484269"/>
                <a:gd name="connsiteY3" fmla="*/ 7006 h 35871"/>
                <a:gd name="connsiteX4" fmla="*/ 479225 w 48426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269" h="35871">
                  <a:moveTo>
                    <a:pt x="479225" y="29968"/>
                  </a:moveTo>
                  <a:lnTo>
                    <a:pt x="7006" y="29968"/>
                  </a:lnTo>
                  <a:lnTo>
                    <a:pt x="29959" y="7006"/>
                  </a:lnTo>
                  <a:lnTo>
                    <a:pt x="479225" y="7006"/>
                  </a:lnTo>
                  <a:lnTo>
                    <a:pt x="479225"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3" name="Freeform: Shape 13442">
              <a:extLst>
                <a:ext uri="{FF2B5EF4-FFF2-40B4-BE49-F238E27FC236}">
                  <a16:creationId xmlns:a16="http://schemas.microsoft.com/office/drawing/2014/main" id="{9C6A416F-3A75-41F0-9F7E-B4D3C0F5DDAD}"/>
                </a:ext>
              </a:extLst>
            </p:cNvPr>
            <p:cNvSpPr/>
            <p:nvPr/>
          </p:nvSpPr>
          <p:spPr bwMode="ltGray">
            <a:xfrm>
              <a:off x="576311" y="3227911"/>
              <a:ext cx="417009" cy="20178"/>
            </a:xfrm>
            <a:custGeom>
              <a:avLst/>
              <a:gdLst>
                <a:gd name="connsiteX0" fmla="*/ 7006 w 417009"/>
                <a:gd name="connsiteY0" fmla="*/ 7006 h 20177"/>
                <a:gd name="connsiteX1" fmla="*/ 412199 w 417009"/>
                <a:gd name="connsiteY1" fmla="*/ 7006 h 20177"/>
                <a:gd name="connsiteX2" fmla="*/ 412199 w 417009"/>
                <a:gd name="connsiteY2" fmla="*/ 14508 h 20177"/>
                <a:gd name="connsiteX3" fmla="*/ 7006 w 417009"/>
                <a:gd name="connsiteY3" fmla="*/ 14508 h 20177"/>
              </a:gdLst>
              <a:ahLst/>
              <a:cxnLst>
                <a:cxn ang="0">
                  <a:pos x="connsiteX0" y="connsiteY0"/>
                </a:cxn>
                <a:cxn ang="0">
                  <a:pos x="connsiteX1" y="connsiteY1"/>
                </a:cxn>
                <a:cxn ang="0">
                  <a:pos x="connsiteX2" y="connsiteY2"/>
                </a:cxn>
                <a:cxn ang="0">
                  <a:pos x="connsiteX3" y="connsiteY3"/>
                </a:cxn>
              </a:cxnLst>
              <a:rect l="l" t="t" r="r" b="b"/>
              <a:pathLst>
                <a:path w="417009" h="20177">
                  <a:moveTo>
                    <a:pt x="7006" y="7006"/>
                  </a:moveTo>
                  <a:lnTo>
                    <a:pt x="412199" y="7006"/>
                  </a:lnTo>
                  <a:lnTo>
                    <a:pt x="412199" y="14508"/>
                  </a:lnTo>
                  <a:lnTo>
                    <a:pt x="7006" y="1450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4" name="Freeform: Shape 13443">
              <a:extLst>
                <a:ext uri="{FF2B5EF4-FFF2-40B4-BE49-F238E27FC236}">
                  <a16:creationId xmlns:a16="http://schemas.microsoft.com/office/drawing/2014/main" id="{D9AC4EBB-E19F-4F65-B47D-237EF54D7D02}"/>
                </a:ext>
              </a:extLst>
            </p:cNvPr>
            <p:cNvSpPr/>
            <p:nvPr/>
          </p:nvSpPr>
          <p:spPr bwMode="ltGray">
            <a:xfrm>
              <a:off x="368095" y="2807108"/>
              <a:ext cx="2551380" cy="221957"/>
            </a:xfrm>
            <a:custGeom>
              <a:avLst/>
              <a:gdLst>
                <a:gd name="connsiteX0" fmla="*/ 2337441 w 2551380"/>
                <a:gd name="connsiteY0" fmla="*/ 215137 h 221956"/>
                <a:gd name="connsiteX1" fmla="*/ 2333489 w 2551380"/>
                <a:gd name="connsiteY1" fmla="*/ 215137 h 221956"/>
                <a:gd name="connsiteX2" fmla="*/ 2354330 w 2551380"/>
                <a:gd name="connsiteY2" fmla="*/ 179023 h 221956"/>
                <a:gd name="connsiteX3" fmla="*/ 2349482 w 2551380"/>
                <a:gd name="connsiteY3" fmla="*/ 170625 h 221956"/>
                <a:gd name="connsiteX4" fmla="*/ 2388521 w 2551380"/>
                <a:gd name="connsiteY4" fmla="*/ 131586 h 221956"/>
                <a:gd name="connsiteX5" fmla="*/ 2420983 w 2551380"/>
                <a:gd name="connsiteY5" fmla="*/ 131586 h 221956"/>
                <a:gd name="connsiteX6" fmla="*/ 2409324 w 2551380"/>
                <a:gd name="connsiteY6" fmla="*/ 143254 h 221956"/>
                <a:gd name="connsiteX7" fmla="*/ 2337441 w 2551380"/>
                <a:gd name="connsiteY7" fmla="*/ 215137 h 221956"/>
                <a:gd name="connsiteX8" fmla="*/ 2314227 w 2551380"/>
                <a:gd name="connsiteY8" fmla="*/ 215137 h 221956"/>
                <a:gd name="connsiteX9" fmla="*/ 1503384 w 2551380"/>
                <a:gd name="connsiteY9" fmla="*/ 215137 h 221956"/>
                <a:gd name="connsiteX10" fmla="*/ 1490128 w 2551380"/>
                <a:gd name="connsiteY10" fmla="*/ 192176 h 221956"/>
                <a:gd name="connsiteX11" fmla="*/ 2327483 w 2551380"/>
                <a:gd name="connsiteY11" fmla="*/ 192176 h 221956"/>
                <a:gd name="connsiteX12" fmla="*/ 2314227 w 2551380"/>
                <a:gd name="connsiteY12" fmla="*/ 215137 h 221956"/>
                <a:gd name="connsiteX13" fmla="*/ 1484121 w 2551380"/>
                <a:gd name="connsiteY13" fmla="*/ 215137 h 221956"/>
                <a:gd name="connsiteX14" fmla="*/ 1177772 w 2551380"/>
                <a:gd name="connsiteY14" fmla="*/ 215137 h 221956"/>
                <a:gd name="connsiteX15" fmla="*/ 1154820 w 2551380"/>
                <a:gd name="connsiteY15" fmla="*/ 192176 h 221956"/>
                <a:gd name="connsiteX16" fmla="*/ 1470866 w 2551380"/>
                <a:gd name="connsiteY16" fmla="*/ 192176 h 221956"/>
                <a:gd name="connsiteX17" fmla="*/ 1484121 w 2551380"/>
                <a:gd name="connsiteY17" fmla="*/ 215137 h 221956"/>
                <a:gd name="connsiteX18" fmla="*/ 1169916 w 2551380"/>
                <a:gd name="connsiteY18" fmla="*/ 215137 h 221956"/>
                <a:gd name="connsiteX19" fmla="*/ 184478 w 2551380"/>
                <a:gd name="connsiteY19" fmla="*/ 215137 h 221956"/>
                <a:gd name="connsiteX20" fmla="*/ 207440 w 2551380"/>
                <a:gd name="connsiteY20" fmla="*/ 192176 h 221956"/>
                <a:gd name="connsiteX21" fmla="*/ 1146954 w 2551380"/>
                <a:gd name="connsiteY21" fmla="*/ 192176 h 221956"/>
                <a:gd name="connsiteX22" fmla="*/ 1169916 w 2551380"/>
                <a:gd name="connsiteY22" fmla="*/ 215137 h 221956"/>
                <a:gd name="connsiteX23" fmla="*/ 160891 w 2551380"/>
                <a:gd name="connsiteY23" fmla="*/ 215137 h 221956"/>
                <a:gd name="connsiteX24" fmla="*/ 98143 w 2551380"/>
                <a:gd name="connsiteY24" fmla="*/ 215137 h 221956"/>
                <a:gd name="connsiteX25" fmla="*/ 121105 w 2551380"/>
                <a:gd name="connsiteY25" fmla="*/ 192176 h 221956"/>
                <a:gd name="connsiteX26" fmla="*/ 183843 w 2551380"/>
                <a:gd name="connsiteY26" fmla="*/ 192176 h 221956"/>
                <a:gd name="connsiteX27" fmla="*/ 160891 w 2551380"/>
                <a:gd name="connsiteY27" fmla="*/ 215137 h 221956"/>
                <a:gd name="connsiteX28" fmla="*/ 90277 w 2551380"/>
                <a:gd name="connsiteY28" fmla="*/ 215137 h 221956"/>
                <a:gd name="connsiteX29" fmla="*/ 7006 w 2551380"/>
                <a:gd name="connsiteY29" fmla="*/ 215137 h 221956"/>
                <a:gd name="connsiteX30" fmla="*/ 29968 w 2551380"/>
                <a:gd name="connsiteY30" fmla="*/ 192176 h 221956"/>
                <a:gd name="connsiteX31" fmla="*/ 113230 w 2551380"/>
                <a:gd name="connsiteY31" fmla="*/ 192176 h 221956"/>
                <a:gd name="connsiteX32" fmla="*/ 90277 w 2551380"/>
                <a:gd name="connsiteY32" fmla="*/ 215137 h 221956"/>
                <a:gd name="connsiteX33" fmla="*/ 2477266 w 2551380"/>
                <a:gd name="connsiteY33" fmla="*/ 75312 h 221956"/>
                <a:gd name="connsiteX34" fmla="*/ 2444804 w 2551380"/>
                <a:gd name="connsiteY34" fmla="*/ 75312 h 221956"/>
                <a:gd name="connsiteX35" fmla="*/ 2458013 w 2551380"/>
                <a:gd name="connsiteY35" fmla="*/ 62103 h 221956"/>
                <a:gd name="connsiteX36" fmla="*/ 2513110 w 2551380"/>
                <a:gd name="connsiteY36" fmla="*/ 7006 h 221956"/>
                <a:gd name="connsiteX37" fmla="*/ 2545572 w 2551380"/>
                <a:gd name="connsiteY37" fmla="*/ 7006 h 221956"/>
                <a:gd name="connsiteX38" fmla="*/ 2477266 w 2551380"/>
                <a:gd name="connsiteY38" fmla="*/ 75312 h 22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51380" h="221956">
                  <a:moveTo>
                    <a:pt x="2337441" y="215137"/>
                  </a:moveTo>
                  <a:lnTo>
                    <a:pt x="2333489" y="215137"/>
                  </a:lnTo>
                  <a:lnTo>
                    <a:pt x="2354330" y="179023"/>
                  </a:lnTo>
                  <a:lnTo>
                    <a:pt x="2349482" y="170625"/>
                  </a:lnTo>
                  <a:lnTo>
                    <a:pt x="2388521" y="131586"/>
                  </a:lnTo>
                  <a:lnTo>
                    <a:pt x="2420983" y="131586"/>
                  </a:lnTo>
                  <a:lnTo>
                    <a:pt x="2409324" y="143254"/>
                  </a:lnTo>
                  <a:lnTo>
                    <a:pt x="2337441" y="215137"/>
                  </a:lnTo>
                  <a:close/>
                  <a:moveTo>
                    <a:pt x="2314227" y="215137"/>
                  </a:moveTo>
                  <a:lnTo>
                    <a:pt x="1503384" y="215137"/>
                  </a:lnTo>
                  <a:lnTo>
                    <a:pt x="1490128" y="192176"/>
                  </a:lnTo>
                  <a:lnTo>
                    <a:pt x="2327483" y="192176"/>
                  </a:lnTo>
                  <a:lnTo>
                    <a:pt x="2314227" y="215137"/>
                  </a:lnTo>
                  <a:close/>
                  <a:moveTo>
                    <a:pt x="1484121" y="215137"/>
                  </a:moveTo>
                  <a:lnTo>
                    <a:pt x="1177772" y="215137"/>
                  </a:lnTo>
                  <a:lnTo>
                    <a:pt x="1154820" y="192176"/>
                  </a:lnTo>
                  <a:lnTo>
                    <a:pt x="1470866" y="192176"/>
                  </a:lnTo>
                  <a:lnTo>
                    <a:pt x="1484121" y="215137"/>
                  </a:lnTo>
                  <a:close/>
                  <a:moveTo>
                    <a:pt x="1169916" y="215137"/>
                  </a:moveTo>
                  <a:lnTo>
                    <a:pt x="184478" y="215137"/>
                  </a:lnTo>
                  <a:lnTo>
                    <a:pt x="207440" y="192176"/>
                  </a:lnTo>
                  <a:lnTo>
                    <a:pt x="1146954" y="192176"/>
                  </a:lnTo>
                  <a:lnTo>
                    <a:pt x="1169916" y="215137"/>
                  </a:lnTo>
                  <a:close/>
                  <a:moveTo>
                    <a:pt x="160891" y="215137"/>
                  </a:moveTo>
                  <a:lnTo>
                    <a:pt x="98143" y="215137"/>
                  </a:lnTo>
                  <a:lnTo>
                    <a:pt x="121105" y="192176"/>
                  </a:lnTo>
                  <a:lnTo>
                    <a:pt x="183843" y="192176"/>
                  </a:lnTo>
                  <a:lnTo>
                    <a:pt x="160891" y="215137"/>
                  </a:lnTo>
                  <a:close/>
                  <a:moveTo>
                    <a:pt x="90277" y="215137"/>
                  </a:moveTo>
                  <a:lnTo>
                    <a:pt x="7006" y="215137"/>
                  </a:lnTo>
                  <a:lnTo>
                    <a:pt x="29968" y="192176"/>
                  </a:lnTo>
                  <a:lnTo>
                    <a:pt x="113230" y="192176"/>
                  </a:lnTo>
                  <a:lnTo>
                    <a:pt x="90277" y="215137"/>
                  </a:lnTo>
                  <a:close/>
                  <a:moveTo>
                    <a:pt x="2477266" y="75312"/>
                  </a:moveTo>
                  <a:lnTo>
                    <a:pt x="2444804" y="75312"/>
                  </a:lnTo>
                  <a:lnTo>
                    <a:pt x="2458013" y="62103"/>
                  </a:lnTo>
                  <a:lnTo>
                    <a:pt x="2513110" y="7006"/>
                  </a:lnTo>
                  <a:lnTo>
                    <a:pt x="2545572" y="7006"/>
                  </a:lnTo>
                  <a:lnTo>
                    <a:pt x="2477266" y="75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5" name="Freeform: Shape 13444">
              <a:extLst>
                <a:ext uri="{FF2B5EF4-FFF2-40B4-BE49-F238E27FC236}">
                  <a16:creationId xmlns:a16="http://schemas.microsoft.com/office/drawing/2014/main" id="{11FC0D5D-2400-436A-A0D2-1D025D74B5C9}"/>
                </a:ext>
              </a:extLst>
            </p:cNvPr>
            <p:cNvSpPr/>
            <p:nvPr/>
          </p:nvSpPr>
          <p:spPr bwMode="ltGray">
            <a:xfrm>
              <a:off x="1831955" y="2970727"/>
              <a:ext cx="896795" cy="58292"/>
            </a:xfrm>
            <a:custGeom>
              <a:avLst/>
              <a:gdLst>
                <a:gd name="connsiteX0" fmla="*/ 869630 w 896794"/>
                <a:gd name="connsiteY0" fmla="*/ 51519 h 58291"/>
                <a:gd name="connsiteX1" fmla="*/ 850367 w 896794"/>
                <a:gd name="connsiteY1" fmla="*/ 51519 h 58291"/>
                <a:gd name="connsiteX2" fmla="*/ 863623 w 896794"/>
                <a:gd name="connsiteY2" fmla="*/ 28557 h 58291"/>
                <a:gd name="connsiteX3" fmla="*/ 864072 w 896794"/>
                <a:gd name="connsiteY3" fmla="*/ 28557 h 58291"/>
                <a:gd name="connsiteX4" fmla="*/ 885623 w 896794"/>
                <a:gd name="connsiteY4" fmla="*/ 7006 h 58291"/>
                <a:gd name="connsiteX5" fmla="*/ 890471 w 896794"/>
                <a:gd name="connsiteY5" fmla="*/ 15404 h 58291"/>
                <a:gd name="connsiteX6" fmla="*/ 869630 w 896794"/>
                <a:gd name="connsiteY6" fmla="*/ 51519 h 58291"/>
                <a:gd name="connsiteX7" fmla="*/ 39524 w 896794"/>
                <a:gd name="connsiteY7" fmla="*/ 51519 h 58291"/>
                <a:gd name="connsiteX8" fmla="*/ 20262 w 896794"/>
                <a:gd name="connsiteY8" fmla="*/ 51519 h 58291"/>
                <a:gd name="connsiteX9" fmla="*/ 7006 w 896794"/>
                <a:gd name="connsiteY9" fmla="*/ 28557 h 58291"/>
                <a:gd name="connsiteX10" fmla="*/ 26269 w 896794"/>
                <a:gd name="connsiteY10" fmla="*/ 28557 h 58291"/>
                <a:gd name="connsiteX11" fmla="*/ 39524 w 896794"/>
                <a:gd name="connsiteY11" fmla="*/ 51519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6794" h="58291">
                  <a:moveTo>
                    <a:pt x="869630" y="51519"/>
                  </a:moveTo>
                  <a:lnTo>
                    <a:pt x="850367" y="51519"/>
                  </a:lnTo>
                  <a:lnTo>
                    <a:pt x="863623" y="28557"/>
                  </a:lnTo>
                  <a:lnTo>
                    <a:pt x="864072" y="28557"/>
                  </a:lnTo>
                  <a:lnTo>
                    <a:pt x="885623" y="7006"/>
                  </a:lnTo>
                  <a:lnTo>
                    <a:pt x="890471" y="15404"/>
                  </a:lnTo>
                  <a:lnTo>
                    <a:pt x="869630" y="51519"/>
                  </a:lnTo>
                  <a:close/>
                  <a:moveTo>
                    <a:pt x="39524" y="51519"/>
                  </a:moveTo>
                  <a:lnTo>
                    <a:pt x="20262" y="51519"/>
                  </a:lnTo>
                  <a:lnTo>
                    <a:pt x="7006" y="28557"/>
                  </a:lnTo>
                  <a:lnTo>
                    <a:pt x="26269" y="28557"/>
                  </a:lnTo>
                  <a:lnTo>
                    <a:pt x="39524" y="5151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6" name="Freeform: Shape 13445">
              <a:extLst>
                <a:ext uri="{FF2B5EF4-FFF2-40B4-BE49-F238E27FC236}">
                  <a16:creationId xmlns:a16="http://schemas.microsoft.com/office/drawing/2014/main" id="{15046E63-2912-45AC-AB30-9779A4B90544}"/>
                </a:ext>
              </a:extLst>
            </p:cNvPr>
            <p:cNvSpPr/>
            <p:nvPr/>
          </p:nvSpPr>
          <p:spPr bwMode="ltGray">
            <a:xfrm>
              <a:off x="521980" y="2992278"/>
              <a:ext cx="60534" cy="35872"/>
            </a:xfrm>
            <a:custGeom>
              <a:avLst/>
              <a:gdLst>
                <a:gd name="connsiteX0" fmla="*/ 30594 w 60533"/>
                <a:gd name="connsiteY0" fmla="*/ 29968 h 35871"/>
                <a:gd name="connsiteX1" fmla="*/ 7006 w 60533"/>
                <a:gd name="connsiteY1" fmla="*/ 29968 h 35871"/>
                <a:gd name="connsiteX2" fmla="*/ 29959 w 60533"/>
                <a:gd name="connsiteY2" fmla="*/ 7006 h 35871"/>
                <a:gd name="connsiteX3" fmla="*/ 53556 w 60533"/>
                <a:gd name="connsiteY3" fmla="*/ 7006 h 35871"/>
                <a:gd name="connsiteX4" fmla="*/ 30594 w 60533"/>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35871">
                  <a:moveTo>
                    <a:pt x="30594" y="29968"/>
                  </a:moveTo>
                  <a:lnTo>
                    <a:pt x="7006" y="29968"/>
                  </a:lnTo>
                  <a:lnTo>
                    <a:pt x="29959" y="7006"/>
                  </a:lnTo>
                  <a:lnTo>
                    <a:pt x="53556" y="7006"/>
                  </a:lnTo>
                  <a:lnTo>
                    <a:pt x="3059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7" name="Freeform: Shape 13446">
              <a:extLst>
                <a:ext uri="{FF2B5EF4-FFF2-40B4-BE49-F238E27FC236}">
                  <a16:creationId xmlns:a16="http://schemas.microsoft.com/office/drawing/2014/main" id="{DEE6AE30-4BE1-4A23-B7BB-42AA5E23B12A}"/>
                </a:ext>
              </a:extLst>
            </p:cNvPr>
            <p:cNvSpPr/>
            <p:nvPr/>
          </p:nvSpPr>
          <p:spPr bwMode="ltGray">
            <a:xfrm>
              <a:off x="451367" y="2992278"/>
              <a:ext cx="1100815" cy="35872"/>
            </a:xfrm>
            <a:custGeom>
              <a:avLst/>
              <a:gdLst>
                <a:gd name="connsiteX0" fmla="*/ 1094501 w 1100815"/>
                <a:gd name="connsiteY0" fmla="*/ 29968 h 35871"/>
                <a:gd name="connsiteX1" fmla="*/ 1086645 w 1100815"/>
                <a:gd name="connsiteY1" fmla="*/ 29968 h 35871"/>
                <a:gd name="connsiteX2" fmla="*/ 1063683 w 1100815"/>
                <a:gd name="connsiteY2" fmla="*/ 7006 h 35871"/>
                <a:gd name="connsiteX3" fmla="*/ 1071549 w 1100815"/>
                <a:gd name="connsiteY3" fmla="*/ 7006 h 35871"/>
                <a:gd name="connsiteX4" fmla="*/ 1094501 w 1100815"/>
                <a:gd name="connsiteY4" fmla="*/ 29968 h 35871"/>
                <a:gd name="connsiteX5" fmla="*/ 14872 w 1100815"/>
                <a:gd name="connsiteY5" fmla="*/ 29968 h 35871"/>
                <a:gd name="connsiteX6" fmla="*/ 7006 w 1100815"/>
                <a:gd name="connsiteY6" fmla="*/ 29968 h 35871"/>
                <a:gd name="connsiteX7" fmla="*/ 29959 w 1100815"/>
                <a:gd name="connsiteY7" fmla="*/ 7006 h 35871"/>
                <a:gd name="connsiteX8" fmla="*/ 37834 w 1100815"/>
                <a:gd name="connsiteY8" fmla="*/ 7006 h 35871"/>
                <a:gd name="connsiteX9" fmla="*/ 14872 w 1100815"/>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0815" h="35871">
                  <a:moveTo>
                    <a:pt x="1094501" y="29968"/>
                  </a:moveTo>
                  <a:lnTo>
                    <a:pt x="1086645" y="29968"/>
                  </a:lnTo>
                  <a:lnTo>
                    <a:pt x="1063683" y="7006"/>
                  </a:lnTo>
                  <a:lnTo>
                    <a:pt x="1071549" y="7006"/>
                  </a:lnTo>
                  <a:lnTo>
                    <a:pt x="1094501" y="29968"/>
                  </a:lnTo>
                  <a:close/>
                  <a:moveTo>
                    <a:pt x="14872" y="29968"/>
                  </a:moveTo>
                  <a:lnTo>
                    <a:pt x="7006" y="29968"/>
                  </a:lnTo>
                  <a:lnTo>
                    <a:pt x="29959" y="7006"/>
                  </a:lnTo>
                  <a:lnTo>
                    <a:pt x="3783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8" name="Freeform: Shape 13447">
              <a:extLst>
                <a:ext uri="{FF2B5EF4-FFF2-40B4-BE49-F238E27FC236}">
                  <a16:creationId xmlns:a16="http://schemas.microsoft.com/office/drawing/2014/main" id="{C1242256-A72C-48B8-A376-0CC909A7B099}"/>
                </a:ext>
              </a:extLst>
            </p:cNvPr>
            <p:cNvSpPr/>
            <p:nvPr/>
          </p:nvSpPr>
          <p:spPr bwMode="ltGray">
            <a:xfrm>
              <a:off x="2749610" y="2875414"/>
              <a:ext cx="100889" cy="69502"/>
            </a:xfrm>
            <a:custGeom>
              <a:avLst/>
              <a:gdLst>
                <a:gd name="connsiteX0" fmla="*/ 39468 w 100889"/>
                <a:gd name="connsiteY0" fmla="*/ 63280 h 69501"/>
                <a:gd name="connsiteX1" fmla="*/ 7006 w 100889"/>
                <a:gd name="connsiteY1" fmla="*/ 63280 h 69501"/>
                <a:gd name="connsiteX2" fmla="*/ 11574 w 100889"/>
                <a:gd name="connsiteY2" fmla="*/ 58712 h 69501"/>
                <a:gd name="connsiteX3" fmla="*/ 63289 w 100889"/>
                <a:gd name="connsiteY3" fmla="*/ 7006 h 69501"/>
                <a:gd name="connsiteX4" fmla="*/ 95752 w 100889"/>
                <a:gd name="connsiteY4" fmla="*/ 7006 h 69501"/>
                <a:gd name="connsiteX5" fmla="*/ 92725 w 100889"/>
                <a:gd name="connsiteY5" fmla="*/ 10033 h 69501"/>
                <a:gd name="connsiteX6" fmla="*/ 39468 w 100889"/>
                <a:gd name="connsiteY6" fmla="*/ 6328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69501">
                  <a:moveTo>
                    <a:pt x="39468" y="63280"/>
                  </a:moveTo>
                  <a:lnTo>
                    <a:pt x="7006" y="63280"/>
                  </a:lnTo>
                  <a:lnTo>
                    <a:pt x="11574" y="58712"/>
                  </a:lnTo>
                  <a:lnTo>
                    <a:pt x="63289" y="7006"/>
                  </a:lnTo>
                  <a:lnTo>
                    <a:pt x="95752" y="7006"/>
                  </a:lnTo>
                  <a:lnTo>
                    <a:pt x="92725" y="10033"/>
                  </a:lnTo>
                  <a:lnTo>
                    <a:pt x="39468" y="6328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9" name="Freeform: Shape 13448">
              <a:extLst>
                <a:ext uri="{FF2B5EF4-FFF2-40B4-BE49-F238E27FC236}">
                  <a16:creationId xmlns:a16="http://schemas.microsoft.com/office/drawing/2014/main" id="{B831F15D-FA47-41DA-972D-052280D2B38D}"/>
                </a:ext>
              </a:extLst>
            </p:cNvPr>
            <p:cNvSpPr/>
            <p:nvPr/>
          </p:nvSpPr>
          <p:spPr bwMode="ltGray">
            <a:xfrm>
              <a:off x="-2860" y="2992278"/>
              <a:ext cx="405800" cy="35872"/>
            </a:xfrm>
            <a:custGeom>
              <a:avLst/>
              <a:gdLst>
                <a:gd name="connsiteX0" fmla="*/ 377962 w 405799"/>
                <a:gd name="connsiteY0" fmla="*/ 29968 h 35871"/>
                <a:gd name="connsiteX1" fmla="*/ 7006 w 405799"/>
                <a:gd name="connsiteY1" fmla="*/ 29968 h 35871"/>
                <a:gd name="connsiteX2" fmla="*/ 7006 w 405799"/>
                <a:gd name="connsiteY2" fmla="*/ 7006 h 35871"/>
                <a:gd name="connsiteX3" fmla="*/ 400924 w 405799"/>
                <a:gd name="connsiteY3" fmla="*/ 7006 h 35871"/>
                <a:gd name="connsiteX4" fmla="*/ 377962 w 40579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799" h="35871">
                  <a:moveTo>
                    <a:pt x="377962" y="29968"/>
                  </a:moveTo>
                  <a:lnTo>
                    <a:pt x="7006" y="29968"/>
                  </a:lnTo>
                  <a:lnTo>
                    <a:pt x="7006" y="7006"/>
                  </a:lnTo>
                  <a:lnTo>
                    <a:pt x="400924" y="7006"/>
                  </a:lnTo>
                  <a:lnTo>
                    <a:pt x="37796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0" name="Freeform: Shape 13449">
              <a:extLst>
                <a:ext uri="{FF2B5EF4-FFF2-40B4-BE49-F238E27FC236}">
                  <a16:creationId xmlns:a16="http://schemas.microsoft.com/office/drawing/2014/main" id="{DF2BB40E-C453-4607-AE54-543EA76CE22C}"/>
                </a:ext>
              </a:extLst>
            </p:cNvPr>
            <p:cNvSpPr/>
            <p:nvPr/>
          </p:nvSpPr>
          <p:spPr bwMode="ltGray">
            <a:xfrm>
              <a:off x="2885680" y="2450212"/>
              <a:ext cx="1365370" cy="358718"/>
            </a:xfrm>
            <a:custGeom>
              <a:avLst/>
              <a:gdLst>
                <a:gd name="connsiteX0" fmla="*/ 39468 w 1365369"/>
                <a:gd name="connsiteY0" fmla="*/ 352422 h 358717"/>
                <a:gd name="connsiteX1" fmla="*/ 7006 w 1365369"/>
                <a:gd name="connsiteY1" fmla="*/ 352422 h 358717"/>
                <a:gd name="connsiteX2" fmla="*/ 352422 w 1365369"/>
                <a:gd name="connsiteY2" fmla="*/ 7006 h 358717"/>
                <a:gd name="connsiteX3" fmla="*/ 674577 w 1365369"/>
                <a:gd name="connsiteY3" fmla="*/ 7006 h 358717"/>
                <a:gd name="connsiteX4" fmla="*/ 651625 w 1365369"/>
                <a:gd name="connsiteY4" fmla="*/ 29959 h 358717"/>
                <a:gd name="connsiteX5" fmla="*/ 361922 w 1365369"/>
                <a:gd name="connsiteY5" fmla="*/ 29959 h 358717"/>
                <a:gd name="connsiteX6" fmla="*/ 39468 w 1365369"/>
                <a:gd name="connsiteY6" fmla="*/ 352422 h 358717"/>
                <a:gd name="connsiteX7" fmla="*/ 1360205 w 1365369"/>
                <a:gd name="connsiteY7" fmla="*/ 268768 h 358717"/>
                <a:gd name="connsiteX8" fmla="*/ 1208263 w 1365369"/>
                <a:gd name="connsiteY8" fmla="*/ 268768 h 358717"/>
                <a:gd name="connsiteX9" fmla="*/ 1064795 w 1365369"/>
                <a:gd name="connsiteY9" fmla="*/ 125308 h 358717"/>
                <a:gd name="connsiteX10" fmla="*/ 1097257 w 1365369"/>
                <a:gd name="connsiteY10" fmla="*/ 125308 h 358717"/>
                <a:gd name="connsiteX11" fmla="*/ 1217764 w 1365369"/>
                <a:gd name="connsiteY11" fmla="*/ 245815 h 358717"/>
                <a:gd name="connsiteX12" fmla="*/ 1360205 w 1365369"/>
                <a:gd name="connsiteY12" fmla="*/ 245815 h 358717"/>
                <a:gd name="connsiteX13" fmla="*/ 1360205 w 1365369"/>
                <a:gd name="connsiteY13" fmla="*/ 268768 h 358717"/>
                <a:gd name="connsiteX14" fmla="*/ 1080367 w 1365369"/>
                <a:gd name="connsiteY14" fmla="*/ 108419 h 358717"/>
                <a:gd name="connsiteX15" fmla="*/ 1047915 w 1365369"/>
                <a:gd name="connsiteY15" fmla="*/ 108419 h 358717"/>
                <a:gd name="connsiteX16" fmla="*/ 969454 w 1365369"/>
                <a:gd name="connsiteY16" fmla="*/ 29959 h 358717"/>
                <a:gd name="connsiteX17" fmla="*/ 667851 w 1365369"/>
                <a:gd name="connsiteY17" fmla="*/ 29959 h 358717"/>
                <a:gd name="connsiteX18" fmla="*/ 690803 w 1365369"/>
                <a:gd name="connsiteY18" fmla="*/ 7006 h 358717"/>
                <a:gd name="connsiteX19" fmla="*/ 978964 w 1365369"/>
                <a:gd name="connsiteY19" fmla="*/ 7006 h 358717"/>
                <a:gd name="connsiteX20" fmla="*/ 1080367 w 1365369"/>
                <a:gd name="connsiteY20" fmla="*/ 108419 h 35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65369" h="358717">
                  <a:moveTo>
                    <a:pt x="39468" y="352422"/>
                  </a:moveTo>
                  <a:lnTo>
                    <a:pt x="7006" y="352422"/>
                  </a:lnTo>
                  <a:lnTo>
                    <a:pt x="352422" y="7006"/>
                  </a:lnTo>
                  <a:lnTo>
                    <a:pt x="674577" y="7006"/>
                  </a:lnTo>
                  <a:lnTo>
                    <a:pt x="651625" y="29959"/>
                  </a:lnTo>
                  <a:lnTo>
                    <a:pt x="361922" y="29959"/>
                  </a:lnTo>
                  <a:lnTo>
                    <a:pt x="39468" y="352422"/>
                  </a:lnTo>
                  <a:close/>
                  <a:moveTo>
                    <a:pt x="1360205" y="268768"/>
                  </a:moveTo>
                  <a:lnTo>
                    <a:pt x="1208263" y="268768"/>
                  </a:lnTo>
                  <a:lnTo>
                    <a:pt x="1064795" y="125308"/>
                  </a:lnTo>
                  <a:lnTo>
                    <a:pt x="1097257" y="125308"/>
                  </a:lnTo>
                  <a:lnTo>
                    <a:pt x="1217764" y="245815"/>
                  </a:lnTo>
                  <a:lnTo>
                    <a:pt x="1360205" y="245815"/>
                  </a:lnTo>
                  <a:lnTo>
                    <a:pt x="1360205" y="268768"/>
                  </a:lnTo>
                  <a:close/>
                  <a:moveTo>
                    <a:pt x="1080367" y="108419"/>
                  </a:moveTo>
                  <a:lnTo>
                    <a:pt x="1047915" y="108419"/>
                  </a:lnTo>
                  <a:lnTo>
                    <a:pt x="969454" y="29959"/>
                  </a:lnTo>
                  <a:lnTo>
                    <a:pt x="667851" y="29959"/>
                  </a:lnTo>
                  <a:lnTo>
                    <a:pt x="690803" y="7006"/>
                  </a:lnTo>
                  <a:lnTo>
                    <a:pt x="978964" y="7006"/>
                  </a:lnTo>
                  <a:lnTo>
                    <a:pt x="1080367" y="10841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1" name="Freeform: Shape 13450">
              <a:extLst>
                <a:ext uri="{FF2B5EF4-FFF2-40B4-BE49-F238E27FC236}">
                  <a16:creationId xmlns:a16="http://schemas.microsoft.com/office/drawing/2014/main" id="{AE8BA95A-7022-45ED-8377-332310D6A0BA}"/>
                </a:ext>
              </a:extLst>
            </p:cNvPr>
            <p:cNvSpPr/>
            <p:nvPr/>
          </p:nvSpPr>
          <p:spPr bwMode="ltGray">
            <a:xfrm>
              <a:off x="3926588" y="2551625"/>
              <a:ext cx="62776" cy="29146"/>
            </a:xfrm>
            <a:custGeom>
              <a:avLst/>
              <a:gdLst>
                <a:gd name="connsiteX0" fmla="*/ 56348 w 62775"/>
                <a:gd name="connsiteY0" fmla="*/ 23896 h 29145"/>
                <a:gd name="connsiteX1" fmla="*/ 23887 w 62775"/>
                <a:gd name="connsiteY1" fmla="*/ 23896 h 29145"/>
                <a:gd name="connsiteX2" fmla="*/ 7006 w 62775"/>
                <a:gd name="connsiteY2" fmla="*/ 7006 h 29145"/>
                <a:gd name="connsiteX3" fmla="*/ 39459 w 62775"/>
                <a:gd name="connsiteY3" fmla="*/ 7006 h 29145"/>
                <a:gd name="connsiteX4" fmla="*/ 56348 w 62775"/>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75" h="29145">
                  <a:moveTo>
                    <a:pt x="56348" y="23896"/>
                  </a:moveTo>
                  <a:lnTo>
                    <a:pt x="23887" y="23896"/>
                  </a:lnTo>
                  <a:lnTo>
                    <a:pt x="7006" y="7006"/>
                  </a:lnTo>
                  <a:lnTo>
                    <a:pt x="39459" y="7006"/>
                  </a:lnTo>
                  <a:lnTo>
                    <a:pt x="56348"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2" name="Freeform: Shape 13451">
              <a:extLst>
                <a:ext uri="{FF2B5EF4-FFF2-40B4-BE49-F238E27FC236}">
                  <a16:creationId xmlns:a16="http://schemas.microsoft.com/office/drawing/2014/main" id="{7A3559DB-31D5-4DE6-871C-D45DBD85C01F}"/>
                </a:ext>
              </a:extLst>
            </p:cNvPr>
            <p:cNvSpPr/>
            <p:nvPr/>
          </p:nvSpPr>
          <p:spPr bwMode="ltGray">
            <a:xfrm>
              <a:off x="2861233" y="3770024"/>
              <a:ext cx="773485" cy="168149"/>
            </a:xfrm>
            <a:custGeom>
              <a:avLst/>
              <a:gdLst>
                <a:gd name="connsiteX0" fmla="*/ 650018 w 773485"/>
                <a:gd name="connsiteY0" fmla="*/ 162217 h 168148"/>
                <a:gd name="connsiteX1" fmla="*/ 329703 w 773485"/>
                <a:gd name="connsiteY1" fmla="*/ 162217 h 168148"/>
                <a:gd name="connsiteX2" fmla="*/ 405342 w 773485"/>
                <a:gd name="connsiteY2" fmla="*/ 127784 h 168148"/>
                <a:gd name="connsiteX3" fmla="*/ 635763 w 773485"/>
                <a:gd name="connsiteY3" fmla="*/ 127784 h 168148"/>
                <a:gd name="connsiteX4" fmla="*/ 719501 w 773485"/>
                <a:gd name="connsiteY4" fmla="*/ 44046 h 168148"/>
                <a:gd name="connsiteX5" fmla="*/ 768189 w 773485"/>
                <a:gd name="connsiteY5" fmla="*/ 44046 h 168148"/>
                <a:gd name="connsiteX6" fmla="*/ 765181 w 773485"/>
                <a:gd name="connsiteY6" fmla="*/ 47054 h 168148"/>
                <a:gd name="connsiteX7" fmla="*/ 674857 w 773485"/>
                <a:gd name="connsiteY7" fmla="*/ 137387 h 168148"/>
                <a:gd name="connsiteX8" fmla="*/ 670934 w 773485"/>
                <a:gd name="connsiteY8" fmla="*/ 137387 h 168148"/>
                <a:gd name="connsiteX9" fmla="*/ 670934 w 773485"/>
                <a:gd name="connsiteY9" fmla="*/ 141301 h 168148"/>
                <a:gd name="connsiteX10" fmla="*/ 650018 w 773485"/>
                <a:gd name="connsiteY10" fmla="*/ 162217 h 168148"/>
                <a:gd name="connsiteX11" fmla="*/ 532752 w 773485"/>
                <a:gd name="connsiteY11" fmla="*/ 137387 h 168148"/>
                <a:gd name="connsiteX12" fmla="*/ 532752 w 773485"/>
                <a:gd name="connsiteY12" fmla="*/ 143002 h 168148"/>
                <a:gd name="connsiteX13" fmla="*/ 601843 w 773485"/>
                <a:gd name="connsiteY13" fmla="*/ 143002 h 168148"/>
                <a:gd name="connsiteX14" fmla="*/ 601843 w 773485"/>
                <a:gd name="connsiteY14" fmla="*/ 137387 h 168148"/>
                <a:gd name="connsiteX15" fmla="*/ 532752 w 773485"/>
                <a:gd name="connsiteY15" fmla="*/ 137387 h 168148"/>
                <a:gd name="connsiteX16" fmla="*/ 429901 w 773485"/>
                <a:gd name="connsiteY16" fmla="*/ 137387 h 168148"/>
                <a:gd name="connsiteX17" fmla="*/ 429901 w 773485"/>
                <a:gd name="connsiteY17" fmla="*/ 143002 h 168148"/>
                <a:gd name="connsiteX18" fmla="*/ 463671 w 773485"/>
                <a:gd name="connsiteY18" fmla="*/ 143002 h 168148"/>
                <a:gd name="connsiteX19" fmla="*/ 463671 w 773485"/>
                <a:gd name="connsiteY19" fmla="*/ 137387 h 168148"/>
                <a:gd name="connsiteX20" fmla="*/ 429901 w 773485"/>
                <a:gd name="connsiteY20" fmla="*/ 137387 h 168148"/>
                <a:gd name="connsiteX21" fmla="*/ 280024 w 773485"/>
                <a:gd name="connsiteY21" fmla="*/ 162217 h 168148"/>
                <a:gd name="connsiteX22" fmla="*/ 162227 w 773485"/>
                <a:gd name="connsiteY22" fmla="*/ 162217 h 168148"/>
                <a:gd name="connsiteX23" fmla="*/ 7006 w 773485"/>
                <a:gd name="connsiteY23" fmla="*/ 7006 h 168148"/>
                <a:gd name="connsiteX24" fmla="*/ 55704 w 773485"/>
                <a:gd name="connsiteY24" fmla="*/ 7006 h 168148"/>
                <a:gd name="connsiteX25" fmla="*/ 176482 w 773485"/>
                <a:gd name="connsiteY25" fmla="*/ 127784 h 168148"/>
                <a:gd name="connsiteX26" fmla="*/ 204395 w 773485"/>
                <a:gd name="connsiteY26" fmla="*/ 127784 h 168148"/>
                <a:gd name="connsiteX27" fmla="*/ 280024 w 773485"/>
                <a:gd name="connsiteY27" fmla="*/ 162217 h 16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3485" h="168148">
                  <a:moveTo>
                    <a:pt x="650018" y="162217"/>
                  </a:moveTo>
                  <a:lnTo>
                    <a:pt x="329703" y="162217"/>
                  </a:lnTo>
                  <a:cubicBezTo>
                    <a:pt x="358176" y="157677"/>
                    <a:pt x="384109" y="145468"/>
                    <a:pt x="405342" y="127784"/>
                  </a:cubicBezTo>
                  <a:lnTo>
                    <a:pt x="635763" y="127784"/>
                  </a:lnTo>
                  <a:lnTo>
                    <a:pt x="719501" y="44046"/>
                  </a:lnTo>
                  <a:lnTo>
                    <a:pt x="768189" y="44046"/>
                  </a:lnTo>
                  <a:lnTo>
                    <a:pt x="765181" y="47054"/>
                  </a:lnTo>
                  <a:lnTo>
                    <a:pt x="674857" y="137387"/>
                  </a:lnTo>
                  <a:lnTo>
                    <a:pt x="670934" y="137387"/>
                  </a:lnTo>
                  <a:lnTo>
                    <a:pt x="670934" y="141301"/>
                  </a:lnTo>
                  <a:lnTo>
                    <a:pt x="650018" y="162217"/>
                  </a:lnTo>
                  <a:close/>
                  <a:moveTo>
                    <a:pt x="532752" y="137387"/>
                  </a:moveTo>
                  <a:lnTo>
                    <a:pt x="532752" y="143002"/>
                  </a:lnTo>
                  <a:lnTo>
                    <a:pt x="601843" y="143002"/>
                  </a:lnTo>
                  <a:lnTo>
                    <a:pt x="601843" y="137387"/>
                  </a:lnTo>
                  <a:lnTo>
                    <a:pt x="532752" y="137387"/>
                  </a:lnTo>
                  <a:close/>
                  <a:moveTo>
                    <a:pt x="429901" y="137387"/>
                  </a:moveTo>
                  <a:lnTo>
                    <a:pt x="429901" y="143002"/>
                  </a:lnTo>
                  <a:lnTo>
                    <a:pt x="463671" y="143002"/>
                  </a:lnTo>
                  <a:lnTo>
                    <a:pt x="463671" y="137387"/>
                  </a:lnTo>
                  <a:lnTo>
                    <a:pt x="429901" y="137387"/>
                  </a:lnTo>
                  <a:close/>
                  <a:moveTo>
                    <a:pt x="280024" y="162217"/>
                  </a:moveTo>
                  <a:lnTo>
                    <a:pt x="162227" y="162217"/>
                  </a:lnTo>
                  <a:lnTo>
                    <a:pt x="7006" y="7006"/>
                  </a:lnTo>
                  <a:lnTo>
                    <a:pt x="55704" y="7006"/>
                  </a:lnTo>
                  <a:lnTo>
                    <a:pt x="176482" y="127784"/>
                  </a:lnTo>
                  <a:lnTo>
                    <a:pt x="204395" y="127784"/>
                  </a:lnTo>
                  <a:cubicBezTo>
                    <a:pt x="225619" y="145468"/>
                    <a:pt x="251560" y="157677"/>
                    <a:pt x="280024" y="162217"/>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3" name="Freeform: Shape 13452">
              <a:extLst>
                <a:ext uri="{FF2B5EF4-FFF2-40B4-BE49-F238E27FC236}">
                  <a16:creationId xmlns:a16="http://schemas.microsoft.com/office/drawing/2014/main" id="{BF5B2807-1940-4EB4-96F2-A3D5D212AAE0}"/>
                </a:ext>
              </a:extLst>
            </p:cNvPr>
            <p:cNvSpPr/>
            <p:nvPr/>
          </p:nvSpPr>
          <p:spPr bwMode="ltGray">
            <a:xfrm>
              <a:off x="3058621" y="3890801"/>
              <a:ext cx="212989" cy="47082"/>
            </a:xfrm>
            <a:custGeom>
              <a:avLst/>
              <a:gdLst>
                <a:gd name="connsiteX0" fmla="*/ 132315 w 212988"/>
                <a:gd name="connsiteY0" fmla="*/ 41439 h 47081"/>
                <a:gd name="connsiteX1" fmla="*/ 82636 w 212988"/>
                <a:gd name="connsiteY1" fmla="*/ 41439 h 47081"/>
                <a:gd name="connsiteX2" fmla="*/ 7006 w 212988"/>
                <a:gd name="connsiteY2" fmla="*/ 7006 h 47081"/>
                <a:gd name="connsiteX3" fmla="*/ 207954 w 212988"/>
                <a:gd name="connsiteY3" fmla="*/ 7006 h 47081"/>
                <a:gd name="connsiteX4" fmla="*/ 132315 w 212988"/>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8" h="47081">
                  <a:moveTo>
                    <a:pt x="132315" y="41439"/>
                  </a:moveTo>
                  <a:lnTo>
                    <a:pt x="82636" y="41439"/>
                  </a:lnTo>
                  <a:cubicBezTo>
                    <a:pt x="54172" y="36900"/>
                    <a:pt x="28230" y="24690"/>
                    <a:pt x="7006" y="7006"/>
                  </a:cubicBezTo>
                  <a:lnTo>
                    <a:pt x="207954" y="7006"/>
                  </a:lnTo>
                  <a:cubicBezTo>
                    <a:pt x="186720" y="24690"/>
                    <a:pt x="160788" y="36900"/>
                    <a:pt x="132315" y="4143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4" name="Freeform: Shape 13453">
              <a:extLst>
                <a:ext uri="{FF2B5EF4-FFF2-40B4-BE49-F238E27FC236}">
                  <a16:creationId xmlns:a16="http://schemas.microsoft.com/office/drawing/2014/main" id="{0D494BAE-792A-4B1B-86E8-C5166D07CD02}"/>
                </a:ext>
              </a:extLst>
            </p:cNvPr>
            <p:cNvSpPr/>
            <p:nvPr/>
          </p:nvSpPr>
          <p:spPr bwMode="ltGray">
            <a:xfrm>
              <a:off x="2562049" y="3470830"/>
              <a:ext cx="1268964" cy="343024"/>
            </a:xfrm>
            <a:custGeom>
              <a:avLst/>
              <a:gdLst>
                <a:gd name="connsiteX0" fmla="*/ 1073006 w 1268964"/>
                <a:gd name="connsiteY0" fmla="*/ 337616 h 343023"/>
                <a:gd name="connsiteX1" fmla="*/ 1024308 w 1268964"/>
                <a:gd name="connsiteY1" fmla="*/ 337616 h 343023"/>
                <a:gd name="connsiteX2" fmla="*/ 1040021 w 1268964"/>
                <a:gd name="connsiteY2" fmla="*/ 321903 h 343023"/>
                <a:gd name="connsiteX3" fmla="*/ 1080592 w 1268964"/>
                <a:gd name="connsiteY3" fmla="*/ 281332 h 343023"/>
                <a:gd name="connsiteX4" fmla="*/ 1215195 w 1268964"/>
                <a:gd name="connsiteY4" fmla="*/ 146729 h 343023"/>
                <a:gd name="connsiteX5" fmla="*/ 1263884 w 1268964"/>
                <a:gd name="connsiteY5" fmla="*/ 146729 h 343023"/>
                <a:gd name="connsiteX6" fmla="*/ 1104945 w 1268964"/>
                <a:gd name="connsiteY6" fmla="*/ 305677 h 343023"/>
                <a:gd name="connsiteX7" fmla="*/ 1073006 w 1268964"/>
                <a:gd name="connsiteY7" fmla="*/ 337616 h 343023"/>
                <a:gd name="connsiteX8" fmla="*/ 346434 w 1268964"/>
                <a:gd name="connsiteY8" fmla="*/ 297736 h 343023"/>
                <a:gd name="connsiteX9" fmla="*/ 297736 w 1268964"/>
                <a:gd name="connsiteY9" fmla="*/ 297736 h 343023"/>
                <a:gd name="connsiteX10" fmla="*/ 201125 w 1268964"/>
                <a:gd name="connsiteY10" fmla="*/ 201125 h 343023"/>
                <a:gd name="connsiteX11" fmla="*/ 227665 w 1268964"/>
                <a:gd name="connsiteY11" fmla="*/ 178976 h 343023"/>
                <a:gd name="connsiteX12" fmla="*/ 346434 w 1268964"/>
                <a:gd name="connsiteY12" fmla="*/ 297736 h 343023"/>
                <a:gd name="connsiteX13" fmla="*/ 143478 w 1268964"/>
                <a:gd name="connsiteY13" fmla="*/ 143478 h 343023"/>
                <a:gd name="connsiteX14" fmla="*/ 79273 w 1268964"/>
                <a:gd name="connsiteY14" fmla="*/ 79273 h 343023"/>
                <a:gd name="connsiteX15" fmla="*/ 127971 w 1268964"/>
                <a:gd name="connsiteY15" fmla="*/ 79273 h 343023"/>
                <a:gd name="connsiteX16" fmla="*/ 165627 w 1268964"/>
                <a:gd name="connsiteY16" fmla="*/ 116938 h 343023"/>
                <a:gd name="connsiteX17" fmla="*/ 143478 w 1268964"/>
                <a:gd name="connsiteY17" fmla="*/ 143478 h 343023"/>
                <a:gd name="connsiteX18" fmla="*/ 116714 w 1268964"/>
                <a:gd name="connsiteY18" fmla="*/ 68016 h 343023"/>
                <a:gd name="connsiteX19" fmla="*/ 68016 w 1268964"/>
                <a:gd name="connsiteY19" fmla="*/ 68016 h 343023"/>
                <a:gd name="connsiteX20" fmla="*/ 7006 w 1268964"/>
                <a:gd name="connsiteY20" fmla="*/ 7006 h 343023"/>
                <a:gd name="connsiteX21" fmla="*/ 55695 w 1268964"/>
                <a:gd name="connsiteY21" fmla="*/ 7006 h 343023"/>
                <a:gd name="connsiteX22" fmla="*/ 116714 w 1268964"/>
                <a:gd name="connsiteY22" fmla="*/ 68016 h 34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8964" h="343023">
                  <a:moveTo>
                    <a:pt x="1073006" y="337616"/>
                  </a:moveTo>
                  <a:lnTo>
                    <a:pt x="1024308" y="337616"/>
                  </a:lnTo>
                  <a:lnTo>
                    <a:pt x="1040021" y="321903"/>
                  </a:lnTo>
                  <a:lnTo>
                    <a:pt x="1080592" y="281332"/>
                  </a:lnTo>
                  <a:lnTo>
                    <a:pt x="1215195" y="146729"/>
                  </a:lnTo>
                  <a:lnTo>
                    <a:pt x="1263884" y="146729"/>
                  </a:lnTo>
                  <a:lnTo>
                    <a:pt x="1104945" y="305677"/>
                  </a:lnTo>
                  <a:lnTo>
                    <a:pt x="1073006" y="337616"/>
                  </a:lnTo>
                  <a:close/>
                  <a:moveTo>
                    <a:pt x="346434" y="297736"/>
                  </a:moveTo>
                  <a:lnTo>
                    <a:pt x="297736" y="297736"/>
                  </a:lnTo>
                  <a:lnTo>
                    <a:pt x="201125" y="201125"/>
                  </a:lnTo>
                  <a:cubicBezTo>
                    <a:pt x="212587" y="197473"/>
                    <a:pt x="222088" y="189429"/>
                    <a:pt x="227665" y="178976"/>
                  </a:cubicBezTo>
                  <a:lnTo>
                    <a:pt x="346434" y="297736"/>
                  </a:lnTo>
                  <a:close/>
                  <a:moveTo>
                    <a:pt x="143478" y="143478"/>
                  </a:moveTo>
                  <a:lnTo>
                    <a:pt x="79273" y="79273"/>
                  </a:lnTo>
                  <a:lnTo>
                    <a:pt x="127971" y="79273"/>
                  </a:lnTo>
                  <a:lnTo>
                    <a:pt x="165627" y="116938"/>
                  </a:lnTo>
                  <a:cubicBezTo>
                    <a:pt x="155174" y="122516"/>
                    <a:pt x="147130" y="132016"/>
                    <a:pt x="143478" y="143478"/>
                  </a:cubicBezTo>
                  <a:close/>
                  <a:moveTo>
                    <a:pt x="116714" y="68016"/>
                  </a:moveTo>
                  <a:lnTo>
                    <a:pt x="68016" y="68016"/>
                  </a:lnTo>
                  <a:lnTo>
                    <a:pt x="7006" y="7006"/>
                  </a:lnTo>
                  <a:lnTo>
                    <a:pt x="55695" y="7006"/>
                  </a:lnTo>
                  <a:lnTo>
                    <a:pt x="116714" y="680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5" name="Freeform: Shape 13454">
              <a:extLst>
                <a:ext uri="{FF2B5EF4-FFF2-40B4-BE49-F238E27FC236}">
                  <a16:creationId xmlns:a16="http://schemas.microsoft.com/office/drawing/2014/main" id="{D470E66B-217E-4F5B-A43A-E973FBBA496C}"/>
                </a:ext>
              </a:extLst>
            </p:cNvPr>
            <p:cNvSpPr/>
            <p:nvPr/>
          </p:nvSpPr>
          <p:spPr bwMode="ltGray">
            <a:xfrm>
              <a:off x="2623059" y="3531840"/>
              <a:ext cx="71744" cy="24662"/>
            </a:xfrm>
            <a:custGeom>
              <a:avLst/>
              <a:gdLst>
                <a:gd name="connsiteX0" fmla="*/ 66961 w 71743"/>
                <a:gd name="connsiteY0" fmla="*/ 18263 h 24661"/>
                <a:gd name="connsiteX1" fmla="*/ 18263 w 71743"/>
                <a:gd name="connsiteY1" fmla="*/ 18263 h 24661"/>
                <a:gd name="connsiteX2" fmla="*/ 7006 w 71743"/>
                <a:gd name="connsiteY2" fmla="*/ 7006 h 24661"/>
                <a:gd name="connsiteX3" fmla="*/ 55704 w 71743"/>
                <a:gd name="connsiteY3" fmla="*/ 7006 h 24661"/>
                <a:gd name="connsiteX4" fmla="*/ 66961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66961" y="18263"/>
                  </a:moveTo>
                  <a:lnTo>
                    <a:pt x="18263" y="18263"/>
                  </a:lnTo>
                  <a:lnTo>
                    <a:pt x="7006" y="7006"/>
                  </a:lnTo>
                  <a:lnTo>
                    <a:pt x="55704" y="7006"/>
                  </a:lnTo>
                  <a:lnTo>
                    <a:pt x="66961"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6" name="Freeform: Shape 13455">
              <a:extLst>
                <a:ext uri="{FF2B5EF4-FFF2-40B4-BE49-F238E27FC236}">
                  <a16:creationId xmlns:a16="http://schemas.microsoft.com/office/drawing/2014/main" id="{AA88F2BB-1FD4-4F95-8625-E58FED0BEBA7}"/>
                </a:ext>
              </a:extLst>
            </p:cNvPr>
            <p:cNvSpPr/>
            <p:nvPr/>
          </p:nvSpPr>
          <p:spPr bwMode="ltGray">
            <a:xfrm>
              <a:off x="3781494" y="3457210"/>
              <a:ext cx="2145581" cy="154697"/>
            </a:xfrm>
            <a:custGeom>
              <a:avLst/>
              <a:gdLst>
                <a:gd name="connsiteX0" fmla="*/ 55695 w 2145580"/>
                <a:gd name="connsiteY0" fmla="*/ 149092 h 154697"/>
                <a:gd name="connsiteX1" fmla="*/ 7006 w 2145580"/>
                <a:gd name="connsiteY1" fmla="*/ 149092 h 154697"/>
                <a:gd name="connsiteX2" fmla="*/ 59609 w 2145580"/>
                <a:gd name="connsiteY2" fmla="*/ 96489 h 154697"/>
                <a:gd name="connsiteX3" fmla="*/ 75835 w 2145580"/>
                <a:gd name="connsiteY3" fmla="*/ 80263 h 154697"/>
                <a:gd name="connsiteX4" fmla="*/ 140928 w 2145580"/>
                <a:gd name="connsiteY4" fmla="*/ 15171 h 154697"/>
                <a:gd name="connsiteX5" fmla="*/ 1733262 w 2145580"/>
                <a:gd name="connsiteY5" fmla="*/ 15171 h 154697"/>
                <a:gd name="connsiteX6" fmla="*/ 1733262 w 2145580"/>
                <a:gd name="connsiteY6" fmla="*/ 7006 h 154697"/>
                <a:gd name="connsiteX7" fmla="*/ 2139660 w 2145580"/>
                <a:gd name="connsiteY7" fmla="*/ 7006 h 154697"/>
                <a:gd name="connsiteX8" fmla="*/ 2139660 w 2145580"/>
                <a:gd name="connsiteY8" fmla="*/ 41439 h 154697"/>
                <a:gd name="connsiteX9" fmla="*/ 163357 w 2145580"/>
                <a:gd name="connsiteY9" fmla="*/ 41439 h 154697"/>
                <a:gd name="connsiteX10" fmla="*/ 100179 w 2145580"/>
                <a:gd name="connsiteY10" fmla="*/ 104607 h 154697"/>
                <a:gd name="connsiteX11" fmla="*/ 83953 w 2145580"/>
                <a:gd name="connsiteY11" fmla="*/ 120843 h 154697"/>
                <a:gd name="connsiteX12" fmla="*/ 55695 w 2145580"/>
                <a:gd name="connsiteY12" fmla="*/ 149092 h 15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5580" h="154697">
                  <a:moveTo>
                    <a:pt x="55695" y="149092"/>
                  </a:moveTo>
                  <a:lnTo>
                    <a:pt x="7006" y="149092"/>
                  </a:lnTo>
                  <a:lnTo>
                    <a:pt x="59609" y="96489"/>
                  </a:lnTo>
                  <a:lnTo>
                    <a:pt x="75835" y="80263"/>
                  </a:lnTo>
                  <a:lnTo>
                    <a:pt x="140928" y="15171"/>
                  </a:lnTo>
                  <a:lnTo>
                    <a:pt x="1733262" y="15171"/>
                  </a:lnTo>
                  <a:lnTo>
                    <a:pt x="1733262" y="7006"/>
                  </a:lnTo>
                  <a:lnTo>
                    <a:pt x="2139660" y="7006"/>
                  </a:lnTo>
                  <a:lnTo>
                    <a:pt x="2139660" y="41439"/>
                  </a:lnTo>
                  <a:lnTo>
                    <a:pt x="163357" y="41439"/>
                  </a:lnTo>
                  <a:lnTo>
                    <a:pt x="100179" y="104607"/>
                  </a:lnTo>
                  <a:lnTo>
                    <a:pt x="83953" y="120843"/>
                  </a:lnTo>
                  <a:lnTo>
                    <a:pt x="55695" y="1490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7" name="Freeform: Shape 13456">
              <a:extLst>
                <a:ext uri="{FF2B5EF4-FFF2-40B4-BE49-F238E27FC236}">
                  <a16:creationId xmlns:a16="http://schemas.microsoft.com/office/drawing/2014/main" id="{8CEBBDE7-29B8-4A07-BB19-E73C27DA1CEA}"/>
                </a:ext>
              </a:extLst>
            </p:cNvPr>
            <p:cNvSpPr/>
            <p:nvPr/>
          </p:nvSpPr>
          <p:spPr bwMode="ltGray">
            <a:xfrm>
              <a:off x="3915416" y="3457210"/>
              <a:ext cx="1605262" cy="20178"/>
            </a:xfrm>
            <a:custGeom>
              <a:avLst/>
              <a:gdLst>
                <a:gd name="connsiteX0" fmla="*/ 1599341 w 1605262"/>
                <a:gd name="connsiteY0" fmla="*/ 15171 h 20177"/>
                <a:gd name="connsiteX1" fmla="*/ 7006 w 1605262"/>
                <a:gd name="connsiteY1" fmla="*/ 15171 h 20177"/>
                <a:gd name="connsiteX2" fmla="*/ 15171 w 1605262"/>
                <a:gd name="connsiteY2" fmla="*/ 7006 h 20177"/>
                <a:gd name="connsiteX3" fmla="*/ 1599341 w 1605262"/>
                <a:gd name="connsiteY3" fmla="*/ 7006 h 20177"/>
                <a:gd name="connsiteX4" fmla="*/ 1599341 w 1605262"/>
                <a:gd name="connsiteY4" fmla="*/ 15171 h 20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262" h="20177">
                  <a:moveTo>
                    <a:pt x="1599341" y="15171"/>
                  </a:moveTo>
                  <a:lnTo>
                    <a:pt x="7006" y="15171"/>
                  </a:lnTo>
                  <a:lnTo>
                    <a:pt x="15171" y="7006"/>
                  </a:lnTo>
                  <a:lnTo>
                    <a:pt x="1599341" y="7006"/>
                  </a:lnTo>
                  <a:lnTo>
                    <a:pt x="1599341" y="1517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8" name="Freeform: Shape 13457">
              <a:extLst>
                <a:ext uri="{FF2B5EF4-FFF2-40B4-BE49-F238E27FC236}">
                  <a16:creationId xmlns:a16="http://schemas.microsoft.com/office/drawing/2014/main" id="{E03BD497-4148-4EA1-82E4-3EE9664FF40B}"/>
                </a:ext>
              </a:extLst>
            </p:cNvPr>
            <p:cNvSpPr/>
            <p:nvPr/>
          </p:nvSpPr>
          <p:spPr bwMode="ltGray">
            <a:xfrm>
              <a:off x="2698521" y="3580762"/>
              <a:ext cx="96405" cy="96405"/>
            </a:xfrm>
            <a:custGeom>
              <a:avLst/>
              <a:gdLst>
                <a:gd name="connsiteX0" fmla="*/ 64653 w 96405"/>
                <a:gd name="connsiteY0" fmla="*/ 91193 h 96405"/>
                <a:gd name="connsiteX1" fmla="*/ 7006 w 96405"/>
                <a:gd name="connsiteY1" fmla="*/ 33546 h 96405"/>
                <a:gd name="connsiteX2" fmla="*/ 29155 w 96405"/>
                <a:gd name="connsiteY2" fmla="*/ 7006 h 96405"/>
                <a:gd name="connsiteX3" fmla="*/ 91193 w 96405"/>
                <a:gd name="connsiteY3" fmla="*/ 69044 h 96405"/>
                <a:gd name="connsiteX4" fmla="*/ 64653 w 96405"/>
                <a:gd name="connsiteY4" fmla="*/ 91193 h 9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05" h="96405">
                  <a:moveTo>
                    <a:pt x="64653" y="91193"/>
                  </a:moveTo>
                  <a:lnTo>
                    <a:pt x="7006" y="33546"/>
                  </a:lnTo>
                  <a:cubicBezTo>
                    <a:pt x="10659" y="22084"/>
                    <a:pt x="18702" y="12583"/>
                    <a:pt x="29155" y="7006"/>
                  </a:cubicBezTo>
                  <a:lnTo>
                    <a:pt x="91193" y="69044"/>
                  </a:lnTo>
                  <a:cubicBezTo>
                    <a:pt x="85616" y="79497"/>
                    <a:pt x="76116" y="87540"/>
                    <a:pt x="64653" y="9119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9" name="Freeform: Shape 13458">
              <a:extLst>
                <a:ext uri="{FF2B5EF4-FFF2-40B4-BE49-F238E27FC236}">
                  <a16:creationId xmlns:a16="http://schemas.microsoft.com/office/drawing/2014/main" id="{06956732-9E61-4C27-91FF-64C4786E32DE}"/>
                </a:ext>
              </a:extLst>
            </p:cNvPr>
            <p:cNvSpPr/>
            <p:nvPr/>
          </p:nvSpPr>
          <p:spPr bwMode="ltGray">
            <a:xfrm>
              <a:off x="3573727" y="3801440"/>
              <a:ext cx="67260" cy="17936"/>
            </a:xfrm>
            <a:custGeom>
              <a:avLst/>
              <a:gdLst>
                <a:gd name="connsiteX0" fmla="*/ 55695 w 67259"/>
                <a:gd name="connsiteY0" fmla="*/ 12630 h 17935"/>
                <a:gd name="connsiteX1" fmla="*/ 7006 w 67259"/>
                <a:gd name="connsiteY1" fmla="*/ 12630 h 17935"/>
                <a:gd name="connsiteX2" fmla="*/ 12630 w 67259"/>
                <a:gd name="connsiteY2" fmla="*/ 7006 h 17935"/>
                <a:gd name="connsiteX3" fmla="*/ 61328 w 67259"/>
                <a:gd name="connsiteY3" fmla="*/ 7006 h 17935"/>
                <a:gd name="connsiteX4" fmla="*/ 55695 w 67259"/>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59" h="17935">
                  <a:moveTo>
                    <a:pt x="55695" y="12630"/>
                  </a:moveTo>
                  <a:lnTo>
                    <a:pt x="7006" y="12630"/>
                  </a:lnTo>
                  <a:lnTo>
                    <a:pt x="12630" y="7006"/>
                  </a:lnTo>
                  <a:lnTo>
                    <a:pt x="61328" y="7006"/>
                  </a:lnTo>
                  <a:lnTo>
                    <a:pt x="55695"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0" name="Freeform: Shape 13459">
              <a:extLst>
                <a:ext uri="{FF2B5EF4-FFF2-40B4-BE49-F238E27FC236}">
                  <a16:creationId xmlns:a16="http://schemas.microsoft.com/office/drawing/2014/main" id="{6B1C29AD-BED0-43CF-A8DF-11C89556AEB4}"/>
                </a:ext>
              </a:extLst>
            </p:cNvPr>
            <p:cNvSpPr/>
            <p:nvPr/>
          </p:nvSpPr>
          <p:spPr bwMode="ltGray">
            <a:xfrm>
              <a:off x="3770238" y="3599296"/>
              <a:ext cx="71744" cy="24662"/>
            </a:xfrm>
            <a:custGeom>
              <a:avLst/>
              <a:gdLst>
                <a:gd name="connsiteX0" fmla="*/ 55695 w 71743"/>
                <a:gd name="connsiteY0" fmla="*/ 18263 h 24661"/>
                <a:gd name="connsiteX1" fmla="*/ 7006 w 71743"/>
                <a:gd name="connsiteY1" fmla="*/ 18263 h 24661"/>
                <a:gd name="connsiteX2" fmla="*/ 18263 w 71743"/>
                <a:gd name="connsiteY2" fmla="*/ 7006 h 24661"/>
                <a:gd name="connsiteX3" fmla="*/ 66951 w 71743"/>
                <a:gd name="connsiteY3" fmla="*/ 7006 h 24661"/>
                <a:gd name="connsiteX4" fmla="*/ 55695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55695" y="18263"/>
                  </a:moveTo>
                  <a:lnTo>
                    <a:pt x="7006" y="18263"/>
                  </a:lnTo>
                  <a:lnTo>
                    <a:pt x="18263" y="7006"/>
                  </a:lnTo>
                  <a:lnTo>
                    <a:pt x="66951" y="7006"/>
                  </a:lnTo>
                  <a:lnTo>
                    <a:pt x="5569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1" name="Freeform: Shape 13460">
              <a:extLst>
                <a:ext uri="{FF2B5EF4-FFF2-40B4-BE49-F238E27FC236}">
                  <a16:creationId xmlns:a16="http://schemas.microsoft.com/office/drawing/2014/main" id="{E3965D02-3E1D-4327-9E82-799C0BB985A3}"/>
                </a:ext>
              </a:extLst>
            </p:cNvPr>
            <p:cNvSpPr/>
            <p:nvPr/>
          </p:nvSpPr>
          <p:spPr bwMode="ltGray">
            <a:xfrm>
              <a:off x="2852779" y="3761560"/>
              <a:ext cx="69502" cy="22420"/>
            </a:xfrm>
            <a:custGeom>
              <a:avLst/>
              <a:gdLst>
                <a:gd name="connsiteX0" fmla="*/ 64158 w 69501"/>
                <a:gd name="connsiteY0" fmla="*/ 15470 h 22419"/>
                <a:gd name="connsiteX1" fmla="*/ 15460 w 69501"/>
                <a:gd name="connsiteY1" fmla="*/ 15470 h 22419"/>
                <a:gd name="connsiteX2" fmla="*/ 7006 w 69501"/>
                <a:gd name="connsiteY2" fmla="*/ 7006 h 22419"/>
                <a:gd name="connsiteX3" fmla="*/ 55704 w 69501"/>
                <a:gd name="connsiteY3" fmla="*/ 7006 h 22419"/>
                <a:gd name="connsiteX4" fmla="*/ 64158 w 69501"/>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2419">
                  <a:moveTo>
                    <a:pt x="64158" y="15470"/>
                  </a:moveTo>
                  <a:lnTo>
                    <a:pt x="15460" y="15470"/>
                  </a:lnTo>
                  <a:lnTo>
                    <a:pt x="7006" y="7006"/>
                  </a:lnTo>
                  <a:lnTo>
                    <a:pt x="55704" y="7006"/>
                  </a:lnTo>
                  <a:lnTo>
                    <a:pt x="64158"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2" name="Freeform: Shape 13461">
              <a:extLst>
                <a:ext uri="{FF2B5EF4-FFF2-40B4-BE49-F238E27FC236}">
                  <a16:creationId xmlns:a16="http://schemas.microsoft.com/office/drawing/2014/main" id="{9FF7661F-2825-4B44-8C6E-D2D4591129D8}"/>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3" name="Freeform: Shape 13462">
              <a:extLst>
                <a:ext uri="{FF2B5EF4-FFF2-40B4-BE49-F238E27FC236}">
                  <a16:creationId xmlns:a16="http://schemas.microsoft.com/office/drawing/2014/main" id="{A05F2A44-EC77-447F-B970-066026EE61F2}"/>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4" name="Freeform: Shape 13463">
              <a:extLst>
                <a:ext uri="{FF2B5EF4-FFF2-40B4-BE49-F238E27FC236}">
                  <a16:creationId xmlns:a16="http://schemas.microsoft.com/office/drawing/2014/main" id="{527F5270-17EA-4A81-91B1-234CA1785A2F}"/>
                </a:ext>
              </a:extLst>
            </p:cNvPr>
            <p:cNvSpPr/>
            <p:nvPr/>
          </p:nvSpPr>
          <p:spPr bwMode="ltGray">
            <a:xfrm>
              <a:off x="3525160" y="3900405"/>
              <a:ext cx="17936" cy="15694"/>
            </a:xfrm>
            <a:custGeom>
              <a:avLst/>
              <a:gdLst>
                <a:gd name="connsiteX0" fmla="*/ 7006 w 17935"/>
                <a:gd name="connsiteY0" fmla="*/ 10920 h 15693"/>
                <a:gd name="connsiteX1" fmla="*/ 7006 w 17935"/>
                <a:gd name="connsiteY1" fmla="*/ 7006 h 15693"/>
                <a:gd name="connsiteX2" fmla="*/ 10930 w 17935"/>
                <a:gd name="connsiteY2" fmla="*/ 7006 h 15693"/>
                <a:gd name="connsiteX3" fmla="*/ 7006 w 17935"/>
                <a:gd name="connsiteY3" fmla="*/ 10920 h 15693"/>
              </a:gdLst>
              <a:ahLst/>
              <a:cxnLst>
                <a:cxn ang="0">
                  <a:pos x="connsiteX0" y="connsiteY0"/>
                </a:cxn>
                <a:cxn ang="0">
                  <a:pos x="connsiteX1" y="connsiteY1"/>
                </a:cxn>
                <a:cxn ang="0">
                  <a:pos x="connsiteX2" y="connsiteY2"/>
                </a:cxn>
                <a:cxn ang="0">
                  <a:pos x="connsiteX3" y="connsiteY3"/>
                </a:cxn>
              </a:cxnLst>
              <a:rect l="l" t="t" r="r" b="b"/>
              <a:pathLst>
                <a:path w="17935" h="15693">
                  <a:moveTo>
                    <a:pt x="7006" y="10920"/>
                  </a:moveTo>
                  <a:lnTo>
                    <a:pt x="7006" y="7006"/>
                  </a:lnTo>
                  <a:lnTo>
                    <a:pt x="10930" y="7006"/>
                  </a:lnTo>
                  <a:lnTo>
                    <a:pt x="7006" y="109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5" name="Freeform: Shape 13464">
              <a:extLst>
                <a:ext uri="{FF2B5EF4-FFF2-40B4-BE49-F238E27FC236}">
                  <a16:creationId xmlns:a16="http://schemas.microsoft.com/office/drawing/2014/main" id="{A9B7DD52-28F4-4CED-968C-19D7622DA990}"/>
                </a:ext>
              </a:extLst>
            </p:cNvPr>
            <p:cNvSpPr/>
            <p:nvPr/>
          </p:nvSpPr>
          <p:spPr bwMode="ltGray">
            <a:xfrm>
              <a:off x="-2860" y="3354424"/>
              <a:ext cx="2614156" cy="118825"/>
            </a:xfrm>
            <a:custGeom>
              <a:avLst/>
              <a:gdLst>
                <a:gd name="connsiteX0" fmla="*/ 2609132 w 2614156"/>
                <a:gd name="connsiteY0" fmla="*/ 111941 h 118825"/>
                <a:gd name="connsiteX1" fmla="*/ 2560444 w 2614156"/>
                <a:gd name="connsiteY1" fmla="*/ 111941 h 118825"/>
                <a:gd name="connsiteX2" fmla="*/ 2555175 w 2614156"/>
                <a:gd name="connsiteY2" fmla="*/ 106672 h 118825"/>
                <a:gd name="connsiteX3" fmla="*/ 2603864 w 2614156"/>
                <a:gd name="connsiteY3" fmla="*/ 106672 h 118825"/>
                <a:gd name="connsiteX4" fmla="*/ 2609132 w 2614156"/>
                <a:gd name="connsiteY4" fmla="*/ 111941 h 118825"/>
                <a:gd name="connsiteX5" fmla="*/ 2558837 w 2614156"/>
                <a:gd name="connsiteY5" fmla="*/ 61645 h 118825"/>
                <a:gd name="connsiteX6" fmla="*/ 2510149 w 2614156"/>
                <a:gd name="connsiteY6" fmla="*/ 61645 h 118825"/>
                <a:gd name="connsiteX7" fmla="*/ 2489943 w 2614156"/>
                <a:gd name="connsiteY7" fmla="*/ 41439 h 118825"/>
                <a:gd name="connsiteX8" fmla="*/ 1046168 w 2614156"/>
                <a:gd name="connsiteY8" fmla="*/ 41439 h 118825"/>
                <a:gd name="connsiteX9" fmla="*/ 1080592 w 2614156"/>
                <a:gd name="connsiteY9" fmla="*/ 7006 h 118825"/>
                <a:gd name="connsiteX10" fmla="*/ 2050905 w 2614156"/>
                <a:gd name="connsiteY10" fmla="*/ 7006 h 118825"/>
                <a:gd name="connsiteX11" fmla="*/ 2056996 w 2614156"/>
                <a:gd name="connsiteY11" fmla="*/ 17553 h 118825"/>
                <a:gd name="connsiteX12" fmla="*/ 2502526 w 2614156"/>
                <a:gd name="connsiteY12" fmla="*/ 17553 h 118825"/>
                <a:gd name="connsiteX13" fmla="*/ 2507000 w 2614156"/>
                <a:gd name="connsiteY13" fmla="*/ 9809 h 118825"/>
                <a:gd name="connsiteX14" fmla="*/ 2558837 w 2614156"/>
                <a:gd name="connsiteY14" fmla="*/ 61645 h 118825"/>
                <a:gd name="connsiteX15" fmla="*/ 966577 w 2614156"/>
                <a:gd name="connsiteY15" fmla="*/ 41439 h 118825"/>
                <a:gd name="connsiteX16" fmla="*/ 587588 w 2614156"/>
                <a:gd name="connsiteY16" fmla="*/ 41439 h 118825"/>
                <a:gd name="connsiteX17" fmla="*/ 553155 w 2614156"/>
                <a:gd name="connsiteY17" fmla="*/ 7006 h 118825"/>
                <a:gd name="connsiteX18" fmla="*/ 1001001 w 2614156"/>
                <a:gd name="connsiteY18" fmla="*/ 7006 h 118825"/>
                <a:gd name="connsiteX19" fmla="*/ 966577 w 2614156"/>
                <a:gd name="connsiteY19" fmla="*/ 41439 h 118825"/>
                <a:gd name="connsiteX20" fmla="*/ 579722 w 2614156"/>
                <a:gd name="connsiteY20" fmla="*/ 41439 h 118825"/>
                <a:gd name="connsiteX21" fmla="*/ 7006 w 2614156"/>
                <a:gd name="connsiteY21" fmla="*/ 41439 h 118825"/>
                <a:gd name="connsiteX22" fmla="*/ 7006 w 2614156"/>
                <a:gd name="connsiteY22" fmla="*/ 35452 h 118825"/>
                <a:gd name="connsiteX23" fmla="*/ 281799 w 2614156"/>
                <a:gd name="connsiteY23" fmla="*/ 35452 h 118825"/>
                <a:gd name="connsiteX24" fmla="*/ 310244 w 2614156"/>
                <a:gd name="connsiteY24" fmla="*/ 7006 h 118825"/>
                <a:gd name="connsiteX25" fmla="*/ 545289 w 2614156"/>
                <a:gd name="connsiteY25" fmla="*/ 7006 h 118825"/>
                <a:gd name="connsiteX26" fmla="*/ 579722 w 2614156"/>
                <a:gd name="connsiteY26" fmla="*/ 41439 h 118825"/>
                <a:gd name="connsiteX27" fmla="*/ 274812 w 2614156"/>
                <a:gd name="connsiteY27" fmla="*/ 18571 h 118825"/>
                <a:gd name="connsiteX28" fmla="*/ 7006 w 2614156"/>
                <a:gd name="connsiteY28" fmla="*/ 18571 h 118825"/>
                <a:gd name="connsiteX29" fmla="*/ 7006 w 2614156"/>
                <a:gd name="connsiteY29" fmla="*/ 11985 h 118825"/>
                <a:gd name="connsiteX30" fmla="*/ 124925 w 2614156"/>
                <a:gd name="connsiteY30" fmla="*/ 11985 h 118825"/>
                <a:gd name="connsiteX31" fmla="*/ 129905 w 2614156"/>
                <a:gd name="connsiteY31" fmla="*/ 7006 h 118825"/>
                <a:gd name="connsiteX32" fmla="*/ 286367 w 2614156"/>
                <a:gd name="connsiteY32" fmla="*/ 7006 h 118825"/>
                <a:gd name="connsiteX33" fmla="*/ 274812 w 2614156"/>
                <a:gd name="connsiteY33" fmla="*/ 18571 h 1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14156" h="118825">
                  <a:moveTo>
                    <a:pt x="2609132" y="111941"/>
                  </a:moveTo>
                  <a:lnTo>
                    <a:pt x="2560444" y="111941"/>
                  </a:lnTo>
                  <a:lnTo>
                    <a:pt x="2555175" y="106672"/>
                  </a:lnTo>
                  <a:lnTo>
                    <a:pt x="2603864" y="106672"/>
                  </a:lnTo>
                  <a:lnTo>
                    <a:pt x="2609132" y="111941"/>
                  </a:lnTo>
                  <a:close/>
                  <a:moveTo>
                    <a:pt x="2558837" y="61645"/>
                  </a:moveTo>
                  <a:lnTo>
                    <a:pt x="2510149" y="61645"/>
                  </a:lnTo>
                  <a:lnTo>
                    <a:pt x="2489943" y="41439"/>
                  </a:lnTo>
                  <a:lnTo>
                    <a:pt x="1046168" y="41439"/>
                  </a:lnTo>
                  <a:lnTo>
                    <a:pt x="1080592" y="7006"/>
                  </a:lnTo>
                  <a:lnTo>
                    <a:pt x="2050905" y="7006"/>
                  </a:lnTo>
                  <a:lnTo>
                    <a:pt x="2056996" y="17553"/>
                  </a:lnTo>
                  <a:lnTo>
                    <a:pt x="2502526" y="17553"/>
                  </a:lnTo>
                  <a:lnTo>
                    <a:pt x="2507000" y="9809"/>
                  </a:lnTo>
                  <a:lnTo>
                    <a:pt x="2558837" y="61645"/>
                  </a:lnTo>
                  <a:close/>
                  <a:moveTo>
                    <a:pt x="966577" y="41439"/>
                  </a:moveTo>
                  <a:lnTo>
                    <a:pt x="587588" y="41439"/>
                  </a:lnTo>
                  <a:lnTo>
                    <a:pt x="553155" y="7006"/>
                  </a:lnTo>
                  <a:lnTo>
                    <a:pt x="1001001" y="7006"/>
                  </a:lnTo>
                  <a:lnTo>
                    <a:pt x="966577" y="41439"/>
                  </a:lnTo>
                  <a:close/>
                  <a:moveTo>
                    <a:pt x="579722" y="41439"/>
                  </a:moveTo>
                  <a:lnTo>
                    <a:pt x="7006" y="41439"/>
                  </a:lnTo>
                  <a:lnTo>
                    <a:pt x="7006" y="35452"/>
                  </a:lnTo>
                  <a:lnTo>
                    <a:pt x="281799" y="35452"/>
                  </a:lnTo>
                  <a:lnTo>
                    <a:pt x="310244" y="7006"/>
                  </a:lnTo>
                  <a:lnTo>
                    <a:pt x="545289" y="7006"/>
                  </a:lnTo>
                  <a:lnTo>
                    <a:pt x="579722" y="41439"/>
                  </a:lnTo>
                  <a:close/>
                  <a:moveTo>
                    <a:pt x="274812" y="18571"/>
                  </a:moveTo>
                  <a:lnTo>
                    <a:pt x="7006" y="18571"/>
                  </a:lnTo>
                  <a:lnTo>
                    <a:pt x="7006" y="11985"/>
                  </a:lnTo>
                  <a:lnTo>
                    <a:pt x="124925" y="11985"/>
                  </a:lnTo>
                  <a:lnTo>
                    <a:pt x="129905" y="7006"/>
                  </a:lnTo>
                  <a:lnTo>
                    <a:pt x="286367" y="7006"/>
                  </a:lnTo>
                  <a:lnTo>
                    <a:pt x="274812" y="1857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6" name="Freeform: Shape 13465">
              <a:extLst>
                <a:ext uri="{FF2B5EF4-FFF2-40B4-BE49-F238E27FC236}">
                  <a16:creationId xmlns:a16="http://schemas.microsoft.com/office/drawing/2014/main" id="{D5AD8269-2533-49EF-8227-3EF40B1E2621}"/>
                </a:ext>
              </a:extLst>
            </p:cNvPr>
            <p:cNvSpPr/>
            <p:nvPr/>
          </p:nvSpPr>
          <p:spPr bwMode="ltGray">
            <a:xfrm>
              <a:off x="2041039" y="3354424"/>
              <a:ext cx="468575" cy="22420"/>
            </a:xfrm>
            <a:custGeom>
              <a:avLst/>
              <a:gdLst>
                <a:gd name="connsiteX0" fmla="*/ 458627 w 468575"/>
                <a:gd name="connsiteY0" fmla="*/ 17553 h 22419"/>
                <a:gd name="connsiteX1" fmla="*/ 13097 w 468575"/>
                <a:gd name="connsiteY1" fmla="*/ 17553 h 22419"/>
                <a:gd name="connsiteX2" fmla="*/ 7006 w 468575"/>
                <a:gd name="connsiteY2" fmla="*/ 7006 h 22419"/>
                <a:gd name="connsiteX3" fmla="*/ 460308 w 468575"/>
                <a:gd name="connsiteY3" fmla="*/ 7006 h 22419"/>
                <a:gd name="connsiteX4" fmla="*/ 463101 w 468575"/>
                <a:gd name="connsiteY4" fmla="*/ 9809 h 22419"/>
                <a:gd name="connsiteX5" fmla="*/ 458627 w 468575"/>
                <a:gd name="connsiteY5" fmla="*/ 17553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575" h="22419">
                  <a:moveTo>
                    <a:pt x="458627" y="17553"/>
                  </a:moveTo>
                  <a:lnTo>
                    <a:pt x="13097" y="17553"/>
                  </a:lnTo>
                  <a:lnTo>
                    <a:pt x="7006" y="7006"/>
                  </a:lnTo>
                  <a:lnTo>
                    <a:pt x="460308" y="7006"/>
                  </a:lnTo>
                  <a:lnTo>
                    <a:pt x="463101" y="9809"/>
                  </a:lnTo>
                  <a:lnTo>
                    <a:pt x="458627" y="175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7" name="Freeform: Shape 13466">
              <a:extLst>
                <a:ext uri="{FF2B5EF4-FFF2-40B4-BE49-F238E27FC236}">
                  <a16:creationId xmlns:a16="http://schemas.microsoft.com/office/drawing/2014/main" id="{92F902B6-2D98-4F78-B405-CE35E3DA21C7}"/>
                </a:ext>
              </a:extLst>
            </p:cNvPr>
            <p:cNvSpPr/>
            <p:nvPr/>
          </p:nvSpPr>
          <p:spPr bwMode="ltGray">
            <a:xfrm>
              <a:off x="-2860" y="3354424"/>
              <a:ext cx="136761" cy="17936"/>
            </a:xfrm>
            <a:custGeom>
              <a:avLst/>
              <a:gdLst>
                <a:gd name="connsiteX0" fmla="*/ 124925 w 136761"/>
                <a:gd name="connsiteY0" fmla="*/ 11985 h 17935"/>
                <a:gd name="connsiteX1" fmla="*/ 7006 w 136761"/>
                <a:gd name="connsiteY1" fmla="*/ 11985 h 17935"/>
                <a:gd name="connsiteX2" fmla="*/ 7006 w 136761"/>
                <a:gd name="connsiteY2" fmla="*/ 7006 h 17935"/>
                <a:gd name="connsiteX3" fmla="*/ 129905 w 136761"/>
                <a:gd name="connsiteY3" fmla="*/ 7006 h 17935"/>
                <a:gd name="connsiteX4" fmla="*/ 124925 w 136761"/>
                <a:gd name="connsiteY4" fmla="*/ 11985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61" h="17935">
                  <a:moveTo>
                    <a:pt x="124925" y="11985"/>
                  </a:moveTo>
                  <a:lnTo>
                    <a:pt x="7006" y="11985"/>
                  </a:lnTo>
                  <a:lnTo>
                    <a:pt x="7006" y="7006"/>
                  </a:lnTo>
                  <a:lnTo>
                    <a:pt x="129905" y="7006"/>
                  </a:lnTo>
                  <a:lnTo>
                    <a:pt x="124925" y="119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8" name="Freeform: Shape 13467">
              <a:extLst>
                <a:ext uri="{FF2B5EF4-FFF2-40B4-BE49-F238E27FC236}">
                  <a16:creationId xmlns:a16="http://schemas.microsoft.com/office/drawing/2014/main" id="{54BA0D31-56C0-40AC-8A4D-BF4D4678497D}"/>
                </a:ext>
              </a:extLst>
            </p:cNvPr>
            <p:cNvSpPr/>
            <p:nvPr/>
          </p:nvSpPr>
          <p:spPr bwMode="ltGray">
            <a:xfrm>
              <a:off x="535422" y="3354424"/>
              <a:ext cx="56050" cy="47082"/>
            </a:xfrm>
            <a:custGeom>
              <a:avLst/>
              <a:gdLst>
                <a:gd name="connsiteX0" fmla="*/ 49305 w 56049"/>
                <a:gd name="connsiteY0" fmla="*/ 41439 h 47081"/>
                <a:gd name="connsiteX1" fmla="*/ 41439 w 56049"/>
                <a:gd name="connsiteY1" fmla="*/ 41439 h 47081"/>
                <a:gd name="connsiteX2" fmla="*/ 7006 w 56049"/>
                <a:gd name="connsiteY2" fmla="*/ 7006 h 47081"/>
                <a:gd name="connsiteX3" fmla="*/ 14872 w 56049"/>
                <a:gd name="connsiteY3" fmla="*/ 7006 h 47081"/>
                <a:gd name="connsiteX4" fmla="*/ 4930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49305" y="41439"/>
                  </a:moveTo>
                  <a:lnTo>
                    <a:pt x="41439" y="41439"/>
                  </a:lnTo>
                  <a:lnTo>
                    <a:pt x="7006" y="7006"/>
                  </a:lnTo>
                  <a:lnTo>
                    <a:pt x="14872" y="7006"/>
                  </a:lnTo>
                  <a:lnTo>
                    <a:pt x="4930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9" name="Freeform: Shape 13468">
              <a:extLst>
                <a:ext uri="{FF2B5EF4-FFF2-40B4-BE49-F238E27FC236}">
                  <a16:creationId xmlns:a16="http://schemas.microsoft.com/office/drawing/2014/main" id="{03C518BC-9E88-45E6-A567-A3E9AF006A3F}"/>
                </a:ext>
              </a:extLst>
            </p:cNvPr>
            <p:cNvSpPr/>
            <p:nvPr/>
          </p:nvSpPr>
          <p:spPr bwMode="ltGray">
            <a:xfrm>
              <a:off x="956711" y="3354424"/>
              <a:ext cx="127793" cy="47082"/>
            </a:xfrm>
            <a:custGeom>
              <a:avLst/>
              <a:gdLst>
                <a:gd name="connsiteX0" fmla="*/ 86597 w 127793"/>
                <a:gd name="connsiteY0" fmla="*/ 41439 h 47081"/>
                <a:gd name="connsiteX1" fmla="*/ 7006 w 127793"/>
                <a:gd name="connsiteY1" fmla="*/ 41439 h 47081"/>
                <a:gd name="connsiteX2" fmla="*/ 41430 w 127793"/>
                <a:gd name="connsiteY2" fmla="*/ 7006 h 47081"/>
                <a:gd name="connsiteX3" fmla="*/ 121021 w 127793"/>
                <a:gd name="connsiteY3" fmla="*/ 7006 h 47081"/>
                <a:gd name="connsiteX4" fmla="*/ 86597 w 127793"/>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9"/>
                  </a:moveTo>
                  <a:lnTo>
                    <a:pt x="7006" y="41439"/>
                  </a:lnTo>
                  <a:lnTo>
                    <a:pt x="41430" y="7006"/>
                  </a:lnTo>
                  <a:lnTo>
                    <a:pt x="121021" y="7006"/>
                  </a:lnTo>
                  <a:lnTo>
                    <a:pt x="86597"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0" name="Freeform: Shape 13469">
              <a:extLst>
                <a:ext uri="{FF2B5EF4-FFF2-40B4-BE49-F238E27FC236}">
                  <a16:creationId xmlns:a16="http://schemas.microsoft.com/office/drawing/2014/main" id="{1F79229C-4608-43BA-821B-FD7D78D995F7}"/>
                </a:ext>
              </a:extLst>
            </p:cNvPr>
            <p:cNvSpPr/>
            <p:nvPr/>
          </p:nvSpPr>
          <p:spPr bwMode="ltGray">
            <a:xfrm>
              <a:off x="2500282" y="3409063"/>
              <a:ext cx="107615" cy="58292"/>
            </a:xfrm>
            <a:custGeom>
              <a:avLst/>
              <a:gdLst>
                <a:gd name="connsiteX0" fmla="*/ 100721 w 107615"/>
                <a:gd name="connsiteY0" fmla="*/ 52033 h 58291"/>
                <a:gd name="connsiteX1" fmla="*/ 52033 w 107615"/>
                <a:gd name="connsiteY1" fmla="*/ 52033 h 58291"/>
                <a:gd name="connsiteX2" fmla="*/ 7006 w 107615"/>
                <a:gd name="connsiteY2" fmla="*/ 7006 h 58291"/>
                <a:gd name="connsiteX3" fmla="*/ 55695 w 107615"/>
                <a:gd name="connsiteY3" fmla="*/ 7006 h 58291"/>
                <a:gd name="connsiteX4" fmla="*/ 100721 w 107615"/>
                <a:gd name="connsiteY4" fmla="*/ 52033 h 5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15" h="58291">
                  <a:moveTo>
                    <a:pt x="100721" y="52033"/>
                  </a:moveTo>
                  <a:lnTo>
                    <a:pt x="52033" y="52033"/>
                  </a:lnTo>
                  <a:lnTo>
                    <a:pt x="7006" y="7006"/>
                  </a:lnTo>
                  <a:lnTo>
                    <a:pt x="55695" y="7006"/>
                  </a:lnTo>
                  <a:lnTo>
                    <a:pt x="100721"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1" name="Freeform: Shape 13470">
              <a:extLst>
                <a:ext uri="{FF2B5EF4-FFF2-40B4-BE49-F238E27FC236}">
                  <a16:creationId xmlns:a16="http://schemas.microsoft.com/office/drawing/2014/main" id="{BF707F24-6E71-4B23-A0B6-6A49641E62C0}"/>
                </a:ext>
              </a:extLst>
            </p:cNvPr>
            <p:cNvSpPr/>
            <p:nvPr/>
          </p:nvSpPr>
          <p:spPr bwMode="ltGray">
            <a:xfrm>
              <a:off x="-2860" y="3354424"/>
              <a:ext cx="316120" cy="40356"/>
            </a:xfrm>
            <a:custGeom>
              <a:avLst/>
              <a:gdLst>
                <a:gd name="connsiteX0" fmla="*/ 281799 w 316120"/>
                <a:gd name="connsiteY0" fmla="*/ 35452 h 40355"/>
                <a:gd name="connsiteX1" fmla="*/ 7006 w 316120"/>
                <a:gd name="connsiteY1" fmla="*/ 35452 h 40355"/>
                <a:gd name="connsiteX2" fmla="*/ 7006 w 316120"/>
                <a:gd name="connsiteY2" fmla="*/ 18571 h 40355"/>
                <a:gd name="connsiteX3" fmla="*/ 274812 w 316120"/>
                <a:gd name="connsiteY3" fmla="*/ 18571 h 40355"/>
                <a:gd name="connsiteX4" fmla="*/ 286367 w 316120"/>
                <a:gd name="connsiteY4" fmla="*/ 7006 h 40355"/>
                <a:gd name="connsiteX5" fmla="*/ 310244 w 316120"/>
                <a:gd name="connsiteY5" fmla="*/ 7006 h 40355"/>
                <a:gd name="connsiteX6" fmla="*/ 281799 w 316120"/>
                <a:gd name="connsiteY6" fmla="*/ 35452 h 4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20" h="40355">
                  <a:moveTo>
                    <a:pt x="281799" y="35452"/>
                  </a:moveTo>
                  <a:lnTo>
                    <a:pt x="7006" y="35452"/>
                  </a:lnTo>
                  <a:lnTo>
                    <a:pt x="7006" y="18571"/>
                  </a:lnTo>
                  <a:lnTo>
                    <a:pt x="274812" y="18571"/>
                  </a:lnTo>
                  <a:lnTo>
                    <a:pt x="286367" y="7006"/>
                  </a:lnTo>
                  <a:lnTo>
                    <a:pt x="310244" y="7006"/>
                  </a:lnTo>
                  <a:lnTo>
                    <a:pt x="281799" y="3545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2" name="Freeform: Shape 13471">
              <a:extLst>
                <a:ext uri="{FF2B5EF4-FFF2-40B4-BE49-F238E27FC236}">
                  <a16:creationId xmlns:a16="http://schemas.microsoft.com/office/drawing/2014/main" id="{DAC841DA-4F09-44FF-ACB9-91B3235B7415}"/>
                </a:ext>
              </a:extLst>
            </p:cNvPr>
            <p:cNvSpPr/>
            <p:nvPr/>
          </p:nvSpPr>
          <p:spPr bwMode="ltGray">
            <a:xfrm>
              <a:off x="-2860" y="3181689"/>
              <a:ext cx="3295720" cy="145729"/>
            </a:xfrm>
            <a:custGeom>
              <a:avLst/>
              <a:gdLst>
                <a:gd name="connsiteX0" fmla="*/ 3158345 w 3295719"/>
                <a:gd name="connsiteY0" fmla="*/ 139302 h 145729"/>
                <a:gd name="connsiteX1" fmla="*/ 3130647 w 3295719"/>
                <a:gd name="connsiteY1" fmla="*/ 139302 h 145729"/>
                <a:gd name="connsiteX2" fmla="*/ 3167369 w 3295719"/>
                <a:gd name="connsiteY2" fmla="*/ 102590 h 145729"/>
                <a:gd name="connsiteX3" fmla="*/ 3195067 w 3295719"/>
                <a:gd name="connsiteY3" fmla="*/ 102590 h 145729"/>
                <a:gd name="connsiteX4" fmla="*/ 3158345 w 3295719"/>
                <a:gd name="connsiteY4" fmla="*/ 139302 h 145729"/>
                <a:gd name="connsiteX5" fmla="*/ 3114729 w 3295719"/>
                <a:gd name="connsiteY5" fmla="*/ 139302 h 145729"/>
                <a:gd name="connsiteX6" fmla="*/ 2826278 w 3295719"/>
                <a:gd name="connsiteY6" fmla="*/ 139302 h 145729"/>
                <a:gd name="connsiteX7" fmla="*/ 2745128 w 3295719"/>
                <a:gd name="connsiteY7" fmla="*/ 139302 h 145729"/>
                <a:gd name="connsiteX8" fmla="*/ 2531961 w 3295719"/>
                <a:gd name="connsiteY8" fmla="*/ 139302 h 145729"/>
                <a:gd name="connsiteX9" fmla="*/ 2551840 w 3295719"/>
                <a:gd name="connsiteY9" fmla="*/ 104879 h 145729"/>
                <a:gd name="connsiteX10" fmla="*/ 3144089 w 3295719"/>
                <a:gd name="connsiteY10" fmla="*/ 104879 h 145729"/>
                <a:gd name="connsiteX11" fmla="*/ 3172778 w 3295719"/>
                <a:gd name="connsiteY11" fmla="*/ 76190 h 145729"/>
                <a:gd name="connsiteX12" fmla="*/ 3195730 w 3295719"/>
                <a:gd name="connsiteY12" fmla="*/ 53229 h 145729"/>
                <a:gd name="connsiteX13" fmla="*/ 3238552 w 3295719"/>
                <a:gd name="connsiteY13" fmla="*/ 10407 h 145729"/>
                <a:gd name="connsiteX14" fmla="*/ 3241962 w 3295719"/>
                <a:gd name="connsiteY14" fmla="*/ 7006 h 145729"/>
                <a:gd name="connsiteX15" fmla="*/ 3290641 w 3295719"/>
                <a:gd name="connsiteY15" fmla="*/ 7006 h 145729"/>
                <a:gd name="connsiteX16" fmla="*/ 3287240 w 3295719"/>
                <a:gd name="connsiteY16" fmla="*/ 10407 h 145729"/>
                <a:gd name="connsiteX17" fmla="*/ 3244419 w 3295719"/>
                <a:gd name="connsiteY17" fmla="*/ 53229 h 145729"/>
                <a:gd name="connsiteX18" fmla="*/ 3221457 w 3295719"/>
                <a:gd name="connsiteY18" fmla="*/ 76190 h 145729"/>
                <a:gd name="connsiteX19" fmla="*/ 3206323 w 3295719"/>
                <a:gd name="connsiteY19" fmla="*/ 91333 h 145729"/>
                <a:gd name="connsiteX20" fmla="*/ 3162707 w 3295719"/>
                <a:gd name="connsiteY20" fmla="*/ 91333 h 145729"/>
                <a:gd name="connsiteX21" fmla="*/ 3114729 w 3295719"/>
                <a:gd name="connsiteY21" fmla="*/ 139302 h 145729"/>
                <a:gd name="connsiteX22" fmla="*/ 2512699 w 3295719"/>
                <a:gd name="connsiteY22" fmla="*/ 139302 h 145729"/>
                <a:gd name="connsiteX23" fmla="*/ 2046823 w 3295719"/>
                <a:gd name="connsiteY23" fmla="*/ 139302 h 145729"/>
                <a:gd name="connsiteX24" fmla="*/ 2026944 w 3295719"/>
                <a:gd name="connsiteY24" fmla="*/ 104879 h 145729"/>
                <a:gd name="connsiteX25" fmla="*/ 2532568 w 3295719"/>
                <a:gd name="connsiteY25" fmla="*/ 104879 h 145729"/>
                <a:gd name="connsiteX26" fmla="*/ 2512699 w 3295719"/>
                <a:gd name="connsiteY26" fmla="*/ 139302 h 145729"/>
                <a:gd name="connsiteX27" fmla="*/ 2027561 w 3295719"/>
                <a:gd name="connsiteY27" fmla="*/ 139302 h 145729"/>
                <a:gd name="connsiteX28" fmla="*/ 1121031 w 3295719"/>
                <a:gd name="connsiteY28" fmla="*/ 139302 h 145729"/>
                <a:gd name="connsiteX29" fmla="*/ 1155465 w 3295719"/>
                <a:gd name="connsiteY29" fmla="*/ 104879 h 145729"/>
                <a:gd name="connsiteX30" fmla="*/ 2007682 w 3295719"/>
                <a:gd name="connsiteY30" fmla="*/ 104879 h 145729"/>
                <a:gd name="connsiteX31" fmla="*/ 2027561 w 3295719"/>
                <a:gd name="connsiteY31" fmla="*/ 139302 h 145729"/>
                <a:gd name="connsiteX32" fmla="*/ 1041441 w 3295719"/>
                <a:gd name="connsiteY32" fmla="*/ 139302 h 145729"/>
                <a:gd name="connsiteX33" fmla="*/ 512715 w 3295719"/>
                <a:gd name="connsiteY33" fmla="*/ 139302 h 145729"/>
                <a:gd name="connsiteX34" fmla="*/ 497180 w 3295719"/>
                <a:gd name="connsiteY34" fmla="*/ 123767 h 145729"/>
                <a:gd name="connsiteX35" fmla="*/ 1030399 w 3295719"/>
                <a:gd name="connsiteY35" fmla="*/ 123767 h 145729"/>
                <a:gd name="connsiteX36" fmla="*/ 1030399 w 3295719"/>
                <a:gd name="connsiteY36" fmla="*/ 106878 h 145729"/>
                <a:gd name="connsiteX37" fmla="*/ 480290 w 3295719"/>
                <a:gd name="connsiteY37" fmla="*/ 106878 h 145729"/>
                <a:gd name="connsiteX38" fmla="*/ 478291 w 3295719"/>
                <a:gd name="connsiteY38" fmla="*/ 104879 h 145729"/>
                <a:gd name="connsiteX39" fmla="*/ 1075865 w 3295719"/>
                <a:gd name="connsiteY39" fmla="*/ 104879 h 145729"/>
                <a:gd name="connsiteX40" fmla="*/ 1041441 w 3295719"/>
                <a:gd name="connsiteY40" fmla="*/ 139302 h 145729"/>
                <a:gd name="connsiteX41" fmla="*/ 504849 w 3295719"/>
                <a:gd name="connsiteY41" fmla="*/ 139302 h 145729"/>
                <a:gd name="connsiteX42" fmla="*/ 350684 w 3295719"/>
                <a:gd name="connsiteY42" fmla="*/ 139302 h 145729"/>
                <a:gd name="connsiteX43" fmla="*/ 366219 w 3295719"/>
                <a:gd name="connsiteY43" fmla="*/ 123767 h 145729"/>
                <a:gd name="connsiteX44" fmla="*/ 489314 w 3295719"/>
                <a:gd name="connsiteY44" fmla="*/ 123767 h 145729"/>
                <a:gd name="connsiteX45" fmla="*/ 504849 w 3295719"/>
                <a:gd name="connsiteY45" fmla="*/ 139302 h 145729"/>
                <a:gd name="connsiteX46" fmla="*/ 326807 w 3295719"/>
                <a:gd name="connsiteY46" fmla="*/ 139302 h 145729"/>
                <a:gd name="connsiteX47" fmla="*/ 170354 w 3295719"/>
                <a:gd name="connsiteY47" fmla="*/ 139302 h 145729"/>
                <a:gd name="connsiteX48" fmla="*/ 204778 w 3295719"/>
                <a:gd name="connsiteY48" fmla="*/ 104879 h 145729"/>
                <a:gd name="connsiteX49" fmla="*/ 470416 w 3295719"/>
                <a:gd name="connsiteY49" fmla="*/ 104879 h 145729"/>
                <a:gd name="connsiteX50" fmla="*/ 472424 w 3295719"/>
                <a:gd name="connsiteY50" fmla="*/ 106878 h 145729"/>
                <a:gd name="connsiteX51" fmla="*/ 359232 w 3295719"/>
                <a:gd name="connsiteY51" fmla="*/ 106878 h 145729"/>
                <a:gd name="connsiteX52" fmla="*/ 326807 w 3295719"/>
                <a:gd name="connsiteY52" fmla="*/ 139302 h 145729"/>
                <a:gd name="connsiteX53" fmla="*/ 162479 w 3295719"/>
                <a:gd name="connsiteY53" fmla="*/ 139302 h 145729"/>
                <a:gd name="connsiteX54" fmla="*/ 7006 w 3295719"/>
                <a:gd name="connsiteY54" fmla="*/ 139302 h 145729"/>
                <a:gd name="connsiteX55" fmla="*/ 7006 w 3295719"/>
                <a:gd name="connsiteY55" fmla="*/ 104879 h 145729"/>
                <a:gd name="connsiteX56" fmla="*/ 196912 w 3295719"/>
                <a:gd name="connsiteY56" fmla="*/ 104879 h 145729"/>
                <a:gd name="connsiteX57" fmla="*/ 162479 w 3295719"/>
                <a:gd name="connsiteY57" fmla="*/ 139302 h 14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95719" h="145729">
                  <a:moveTo>
                    <a:pt x="3158345" y="139302"/>
                  </a:moveTo>
                  <a:lnTo>
                    <a:pt x="3130647" y="139302"/>
                  </a:lnTo>
                  <a:lnTo>
                    <a:pt x="3167369" y="102590"/>
                  </a:lnTo>
                  <a:lnTo>
                    <a:pt x="3195067" y="102590"/>
                  </a:lnTo>
                  <a:lnTo>
                    <a:pt x="3158345" y="139302"/>
                  </a:lnTo>
                  <a:close/>
                  <a:moveTo>
                    <a:pt x="3114729" y="139302"/>
                  </a:moveTo>
                  <a:lnTo>
                    <a:pt x="2826278" y="139302"/>
                  </a:lnTo>
                  <a:lnTo>
                    <a:pt x="2745128" y="139302"/>
                  </a:lnTo>
                  <a:lnTo>
                    <a:pt x="2531961" y="139302"/>
                  </a:lnTo>
                  <a:lnTo>
                    <a:pt x="2551840" y="104879"/>
                  </a:lnTo>
                  <a:lnTo>
                    <a:pt x="3144089" y="104879"/>
                  </a:lnTo>
                  <a:lnTo>
                    <a:pt x="3172778" y="76190"/>
                  </a:lnTo>
                  <a:lnTo>
                    <a:pt x="3195730" y="53229"/>
                  </a:lnTo>
                  <a:lnTo>
                    <a:pt x="3238552" y="10407"/>
                  </a:lnTo>
                  <a:lnTo>
                    <a:pt x="3241962" y="7006"/>
                  </a:lnTo>
                  <a:lnTo>
                    <a:pt x="3290641" y="7006"/>
                  </a:lnTo>
                  <a:lnTo>
                    <a:pt x="3287240" y="10407"/>
                  </a:lnTo>
                  <a:lnTo>
                    <a:pt x="3244419" y="53229"/>
                  </a:lnTo>
                  <a:lnTo>
                    <a:pt x="3221457" y="76190"/>
                  </a:lnTo>
                  <a:lnTo>
                    <a:pt x="3206323" y="91333"/>
                  </a:lnTo>
                  <a:lnTo>
                    <a:pt x="3162707" y="91333"/>
                  </a:lnTo>
                  <a:lnTo>
                    <a:pt x="3114729" y="139302"/>
                  </a:lnTo>
                  <a:close/>
                  <a:moveTo>
                    <a:pt x="2512699" y="139302"/>
                  </a:moveTo>
                  <a:lnTo>
                    <a:pt x="2046823" y="139302"/>
                  </a:lnTo>
                  <a:lnTo>
                    <a:pt x="2026944" y="104879"/>
                  </a:lnTo>
                  <a:lnTo>
                    <a:pt x="2532568" y="104879"/>
                  </a:lnTo>
                  <a:lnTo>
                    <a:pt x="2512699" y="139302"/>
                  </a:lnTo>
                  <a:close/>
                  <a:moveTo>
                    <a:pt x="2027561" y="139302"/>
                  </a:moveTo>
                  <a:lnTo>
                    <a:pt x="1121031" y="139302"/>
                  </a:lnTo>
                  <a:lnTo>
                    <a:pt x="1155465" y="104879"/>
                  </a:lnTo>
                  <a:lnTo>
                    <a:pt x="2007682" y="104879"/>
                  </a:lnTo>
                  <a:lnTo>
                    <a:pt x="2027561" y="139302"/>
                  </a:lnTo>
                  <a:close/>
                  <a:moveTo>
                    <a:pt x="1041441" y="139302"/>
                  </a:moveTo>
                  <a:lnTo>
                    <a:pt x="512715" y="139302"/>
                  </a:lnTo>
                  <a:lnTo>
                    <a:pt x="497180" y="123767"/>
                  </a:lnTo>
                  <a:lnTo>
                    <a:pt x="1030399" y="123767"/>
                  </a:lnTo>
                  <a:lnTo>
                    <a:pt x="1030399" y="106878"/>
                  </a:lnTo>
                  <a:lnTo>
                    <a:pt x="480290" y="106878"/>
                  </a:lnTo>
                  <a:lnTo>
                    <a:pt x="478291" y="104879"/>
                  </a:lnTo>
                  <a:lnTo>
                    <a:pt x="1075865" y="104879"/>
                  </a:lnTo>
                  <a:lnTo>
                    <a:pt x="1041441" y="139302"/>
                  </a:lnTo>
                  <a:close/>
                  <a:moveTo>
                    <a:pt x="504849" y="139302"/>
                  </a:moveTo>
                  <a:lnTo>
                    <a:pt x="350684" y="139302"/>
                  </a:lnTo>
                  <a:lnTo>
                    <a:pt x="366219" y="123767"/>
                  </a:lnTo>
                  <a:lnTo>
                    <a:pt x="489314" y="123767"/>
                  </a:lnTo>
                  <a:lnTo>
                    <a:pt x="504849" y="139302"/>
                  </a:lnTo>
                  <a:close/>
                  <a:moveTo>
                    <a:pt x="326807" y="139302"/>
                  </a:moveTo>
                  <a:lnTo>
                    <a:pt x="170354" y="139302"/>
                  </a:lnTo>
                  <a:lnTo>
                    <a:pt x="204778" y="104879"/>
                  </a:lnTo>
                  <a:lnTo>
                    <a:pt x="470416" y="104879"/>
                  </a:lnTo>
                  <a:lnTo>
                    <a:pt x="472424" y="106878"/>
                  </a:lnTo>
                  <a:lnTo>
                    <a:pt x="359232" y="106878"/>
                  </a:lnTo>
                  <a:lnTo>
                    <a:pt x="326807" y="139302"/>
                  </a:lnTo>
                  <a:close/>
                  <a:moveTo>
                    <a:pt x="162479" y="139302"/>
                  </a:moveTo>
                  <a:lnTo>
                    <a:pt x="7006" y="139302"/>
                  </a:lnTo>
                  <a:lnTo>
                    <a:pt x="7006" y="104879"/>
                  </a:lnTo>
                  <a:lnTo>
                    <a:pt x="196912" y="104879"/>
                  </a:lnTo>
                  <a:lnTo>
                    <a:pt x="162479" y="13930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3" name="Freeform: Shape 13472">
              <a:extLst>
                <a:ext uri="{FF2B5EF4-FFF2-40B4-BE49-F238E27FC236}">
                  <a16:creationId xmlns:a16="http://schemas.microsoft.com/office/drawing/2014/main" id="{31AA7E66-E5CF-46A1-A4EE-976E4604AFF3}"/>
                </a:ext>
              </a:extLst>
            </p:cNvPr>
            <p:cNvSpPr/>
            <p:nvPr/>
          </p:nvSpPr>
          <p:spPr bwMode="ltGray">
            <a:xfrm>
              <a:off x="1997815" y="3279561"/>
              <a:ext cx="556013" cy="47082"/>
            </a:xfrm>
            <a:custGeom>
              <a:avLst/>
              <a:gdLst>
                <a:gd name="connsiteX0" fmla="*/ 531286 w 556012"/>
                <a:gd name="connsiteY0" fmla="*/ 41430 h 47081"/>
                <a:gd name="connsiteX1" fmla="*/ 512023 w 556012"/>
                <a:gd name="connsiteY1" fmla="*/ 41430 h 47081"/>
                <a:gd name="connsiteX2" fmla="*/ 531893 w 556012"/>
                <a:gd name="connsiteY2" fmla="*/ 7006 h 47081"/>
                <a:gd name="connsiteX3" fmla="*/ 551165 w 556012"/>
                <a:gd name="connsiteY3" fmla="*/ 7006 h 47081"/>
                <a:gd name="connsiteX4" fmla="*/ 531286 w 556012"/>
                <a:gd name="connsiteY4" fmla="*/ 41430 h 47081"/>
                <a:gd name="connsiteX5" fmla="*/ 46148 w 556012"/>
                <a:gd name="connsiteY5" fmla="*/ 41430 h 47081"/>
                <a:gd name="connsiteX6" fmla="*/ 26885 w 556012"/>
                <a:gd name="connsiteY6" fmla="*/ 41430 h 47081"/>
                <a:gd name="connsiteX7" fmla="*/ 7006 w 556012"/>
                <a:gd name="connsiteY7" fmla="*/ 7006 h 47081"/>
                <a:gd name="connsiteX8" fmla="*/ 26269 w 556012"/>
                <a:gd name="connsiteY8" fmla="*/ 7006 h 47081"/>
                <a:gd name="connsiteX9" fmla="*/ 46148 w 556012"/>
                <a:gd name="connsiteY9"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012" h="47081">
                  <a:moveTo>
                    <a:pt x="531286" y="41430"/>
                  </a:moveTo>
                  <a:lnTo>
                    <a:pt x="512023" y="41430"/>
                  </a:lnTo>
                  <a:lnTo>
                    <a:pt x="531893" y="7006"/>
                  </a:lnTo>
                  <a:lnTo>
                    <a:pt x="551165" y="7006"/>
                  </a:lnTo>
                  <a:lnTo>
                    <a:pt x="531286" y="41430"/>
                  </a:lnTo>
                  <a:close/>
                  <a:moveTo>
                    <a:pt x="46148" y="41430"/>
                  </a:moveTo>
                  <a:lnTo>
                    <a:pt x="26885" y="41430"/>
                  </a:lnTo>
                  <a:lnTo>
                    <a:pt x="7006" y="7006"/>
                  </a:lnTo>
                  <a:lnTo>
                    <a:pt x="26269" y="7006"/>
                  </a:lnTo>
                  <a:lnTo>
                    <a:pt x="46148"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4" name="Freeform: Shape 13473">
              <a:extLst>
                <a:ext uri="{FF2B5EF4-FFF2-40B4-BE49-F238E27FC236}">
                  <a16:creationId xmlns:a16="http://schemas.microsoft.com/office/drawing/2014/main" id="{678D68AB-54CB-4625-B135-A9769AFAB8C9}"/>
                </a:ext>
              </a:extLst>
            </p:cNvPr>
            <p:cNvSpPr/>
            <p:nvPr/>
          </p:nvSpPr>
          <p:spPr bwMode="ltGray">
            <a:xfrm>
              <a:off x="152612" y="3279561"/>
              <a:ext cx="56050" cy="47082"/>
            </a:xfrm>
            <a:custGeom>
              <a:avLst/>
              <a:gdLst>
                <a:gd name="connsiteX0" fmla="*/ 14881 w 56049"/>
                <a:gd name="connsiteY0" fmla="*/ 41430 h 47081"/>
                <a:gd name="connsiteX1" fmla="*/ 7006 w 56049"/>
                <a:gd name="connsiteY1" fmla="*/ 41430 h 47081"/>
                <a:gd name="connsiteX2" fmla="*/ 41439 w 56049"/>
                <a:gd name="connsiteY2" fmla="*/ 7006 h 47081"/>
                <a:gd name="connsiteX3" fmla="*/ 49305 w 56049"/>
                <a:gd name="connsiteY3" fmla="*/ 7006 h 47081"/>
                <a:gd name="connsiteX4" fmla="*/ 14881 w 56049"/>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881" y="41430"/>
                  </a:moveTo>
                  <a:lnTo>
                    <a:pt x="7006" y="41430"/>
                  </a:lnTo>
                  <a:lnTo>
                    <a:pt x="41439" y="7006"/>
                  </a:lnTo>
                  <a:lnTo>
                    <a:pt x="49305" y="7006"/>
                  </a:lnTo>
                  <a:lnTo>
                    <a:pt x="14881"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5" name="Freeform: Shape 13474">
              <a:extLst>
                <a:ext uri="{FF2B5EF4-FFF2-40B4-BE49-F238E27FC236}">
                  <a16:creationId xmlns:a16="http://schemas.microsoft.com/office/drawing/2014/main" id="{5073B2DC-2028-48B4-91AF-F78214648F49}"/>
                </a:ext>
              </a:extLst>
            </p:cNvPr>
            <p:cNvSpPr/>
            <p:nvPr/>
          </p:nvSpPr>
          <p:spPr bwMode="ltGray">
            <a:xfrm>
              <a:off x="460549" y="3279561"/>
              <a:ext cx="56050" cy="47082"/>
            </a:xfrm>
            <a:custGeom>
              <a:avLst/>
              <a:gdLst>
                <a:gd name="connsiteX0" fmla="*/ 49305 w 56049"/>
                <a:gd name="connsiteY0" fmla="*/ 41430 h 47081"/>
                <a:gd name="connsiteX1" fmla="*/ 41439 w 56049"/>
                <a:gd name="connsiteY1" fmla="*/ 41430 h 47081"/>
                <a:gd name="connsiteX2" fmla="*/ 25904 w 56049"/>
                <a:gd name="connsiteY2" fmla="*/ 25895 h 47081"/>
                <a:gd name="connsiteX3" fmla="*/ 33770 w 56049"/>
                <a:gd name="connsiteY3" fmla="*/ 25895 h 47081"/>
                <a:gd name="connsiteX4" fmla="*/ 49305 w 56049"/>
                <a:gd name="connsiteY4" fmla="*/ 41430 h 47081"/>
                <a:gd name="connsiteX5" fmla="*/ 16880 w 56049"/>
                <a:gd name="connsiteY5" fmla="*/ 9005 h 47081"/>
                <a:gd name="connsiteX6" fmla="*/ 9015 w 56049"/>
                <a:gd name="connsiteY6" fmla="*/ 9005 h 47081"/>
                <a:gd name="connsiteX7" fmla="*/ 7006 w 56049"/>
                <a:gd name="connsiteY7" fmla="*/ 7006 h 47081"/>
                <a:gd name="connsiteX8" fmla="*/ 14881 w 56049"/>
                <a:gd name="connsiteY8" fmla="*/ 7006 h 47081"/>
                <a:gd name="connsiteX9" fmla="*/ 16880 w 56049"/>
                <a:gd name="connsiteY9" fmla="*/ 9005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049" h="47081">
                  <a:moveTo>
                    <a:pt x="49305" y="41430"/>
                  </a:moveTo>
                  <a:lnTo>
                    <a:pt x="41439" y="41430"/>
                  </a:lnTo>
                  <a:lnTo>
                    <a:pt x="25904" y="25895"/>
                  </a:lnTo>
                  <a:lnTo>
                    <a:pt x="33770" y="25895"/>
                  </a:lnTo>
                  <a:lnTo>
                    <a:pt x="49305" y="41430"/>
                  </a:lnTo>
                  <a:close/>
                  <a:moveTo>
                    <a:pt x="16880" y="9005"/>
                  </a:moveTo>
                  <a:lnTo>
                    <a:pt x="9015" y="9005"/>
                  </a:lnTo>
                  <a:lnTo>
                    <a:pt x="7006" y="7006"/>
                  </a:lnTo>
                  <a:lnTo>
                    <a:pt x="14881" y="7006"/>
                  </a:lnTo>
                  <a:lnTo>
                    <a:pt x="16880" y="900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6" name="Freeform: Shape 13475">
              <a:extLst>
                <a:ext uri="{FF2B5EF4-FFF2-40B4-BE49-F238E27FC236}">
                  <a16:creationId xmlns:a16="http://schemas.microsoft.com/office/drawing/2014/main" id="{FE2DF4FE-710C-4443-84F7-8A08FD599403}"/>
                </a:ext>
              </a:extLst>
            </p:cNvPr>
            <p:cNvSpPr/>
            <p:nvPr/>
          </p:nvSpPr>
          <p:spPr bwMode="ltGray">
            <a:xfrm>
              <a:off x="1031574" y="3279561"/>
              <a:ext cx="127793" cy="47082"/>
            </a:xfrm>
            <a:custGeom>
              <a:avLst/>
              <a:gdLst>
                <a:gd name="connsiteX0" fmla="*/ 86597 w 127793"/>
                <a:gd name="connsiteY0" fmla="*/ 41430 h 47081"/>
                <a:gd name="connsiteX1" fmla="*/ 7006 w 127793"/>
                <a:gd name="connsiteY1" fmla="*/ 41430 h 47081"/>
                <a:gd name="connsiteX2" fmla="*/ 41430 w 127793"/>
                <a:gd name="connsiteY2" fmla="*/ 7006 h 47081"/>
                <a:gd name="connsiteX3" fmla="*/ 121030 w 127793"/>
                <a:gd name="connsiteY3" fmla="*/ 7006 h 47081"/>
                <a:gd name="connsiteX4" fmla="*/ 86597 w 127793"/>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0"/>
                  </a:moveTo>
                  <a:lnTo>
                    <a:pt x="7006" y="41430"/>
                  </a:lnTo>
                  <a:lnTo>
                    <a:pt x="41430" y="7006"/>
                  </a:lnTo>
                  <a:lnTo>
                    <a:pt x="121030" y="7006"/>
                  </a:lnTo>
                  <a:lnTo>
                    <a:pt x="8659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7" name="Freeform: Shape 13476">
              <a:extLst>
                <a:ext uri="{FF2B5EF4-FFF2-40B4-BE49-F238E27FC236}">
                  <a16:creationId xmlns:a16="http://schemas.microsoft.com/office/drawing/2014/main" id="{BEB5A05F-0425-45C9-8FD6-638520AC271D}"/>
                </a:ext>
              </a:extLst>
            </p:cNvPr>
            <p:cNvSpPr/>
            <p:nvPr/>
          </p:nvSpPr>
          <p:spPr bwMode="ltGray">
            <a:xfrm>
              <a:off x="3104862" y="3266015"/>
              <a:ext cx="105373" cy="60534"/>
            </a:xfrm>
            <a:custGeom>
              <a:avLst/>
              <a:gdLst>
                <a:gd name="connsiteX0" fmla="*/ 22924 w 105373"/>
                <a:gd name="connsiteY0" fmla="*/ 54976 h 60533"/>
                <a:gd name="connsiteX1" fmla="*/ 7006 w 105373"/>
                <a:gd name="connsiteY1" fmla="*/ 54976 h 60533"/>
                <a:gd name="connsiteX2" fmla="*/ 54985 w 105373"/>
                <a:gd name="connsiteY2" fmla="*/ 7006 h 60533"/>
                <a:gd name="connsiteX3" fmla="*/ 98601 w 105373"/>
                <a:gd name="connsiteY3" fmla="*/ 7006 h 60533"/>
                <a:gd name="connsiteX4" fmla="*/ 87344 w 105373"/>
                <a:gd name="connsiteY4" fmla="*/ 18263 h 60533"/>
                <a:gd name="connsiteX5" fmla="*/ 59646 w 105373"/>
                <a:gd name="connsiteY5" fmla="*/ 18263 h 60533"/>
                <a:gd name="connsiteX6" fmla="*/ 22924 w 105373"/>
                <a:gd name="connsiteY6" fmla="*/ 54976 h 6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373" h="60533">
                  <a:moveTo>
                    <a:pt x="22924" y="54976"/>
                  </a:moveTo>
                  <a:lnTo>
                    <a:pt x="7006" y="54976"/>
                  </a:lnTo>
                  <a:lnTo>
                    <a:pt x="54985" y="7006"/>
                  </a:lnTo>
                  <a:lnTo>
                    <a:pt x="98601" y="7006"/>
                  </a:lnTo>
                  <a:lnTo>
                    <a:pt x="87344" y="18263"/>
                  </a:lnTo>
                  <a:lnTo>
                    <a:pt x="59646" y="18263"/>
                  </a:lnTo>
                  <a:lnTo>
                    <a:pt x="22924" y="5497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8" name="Freeform: Shape 13477">
              <a:extLst>
                <a:ext uri="{FF2B5EF4-FFF2-40B4-BE49-F238E27FC236}">
                  <a16:creationId xmlns:a16="http://schemas.microsoft.com/office/drawing/2014/main" id="{3E8342B8-4EFC-41D0-BA4F-46CC96C3AE2A}"/>
                </a:ext>
              </a:extLst>
            </p:cNvPr>
            <p:cNvSpPr/>
            <p:nvPr/>
          </p:nvSpPr>
          <p:spPr bwMode="ltGray">
            <a:xfrm>
              <a:off x="316941" y="3281560"/>
              <a:ext cx="717436" cy="44840"/>
            </a:xfrm>
            <a:custGeom>
              <a:avLst/>
              <a:gdLst>
                <a:gd name="connsiteX0" fmla="*/ 30883 w 717435"/>
                <a:gd name="connsiteY0" fmla="*/ 39431 h 44839"/>
                <a:gd name="connsiteX1" fmla="*/ 7006 w 717435"/>
                <a:gd name="connsiteY1" fmla="*/ 39431 h 44839"/>
                <a:gd name="connsiteX2" fmla="*/ 39431 w 717435"/>
                <a:gd name="connsiteY2" fmla="*/ 7006 h 44839"/>
                <a:gd name="connsiteX3" fmla="*/ 710598 w 717435"/>
                <a:gd name="connsiteY3" fmla="*/ 7006 h 44839"/>
                <a:gd name="connsiteX4" fmla="*/ 710598 w 717435"/>
                <a:gd name="connsiteY4" fmla="*/ 23896 h 44839"/>
                <a:gd name="connsiteX5" fmla="*/ 177379 w 717435"/>
                <a:gd name="connsiteY5" fmla="*/ 23896 h 44839"/>
                <a:gd name="connsiteX6" fmla="*/ 169513 w 717435"/>
                <a:gd name="connsiteY6" fmla="*/ 23896 h 44839"/>
                <a:gd name="connsiteX7" fmla="*/ 46418 w 717435"/>
                <a:gd name="connsiteY7" fmla="*/ 23896 h 44839"/>
                <a:gd name="connsiteX8" fmla="*/ 30883 w 717435"/>
                <a:gd name="connsiteY8" fmla="*/ 39431 h 44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435" h="44839">
                  <a:moveTo>
                    <a:pt x="30883" y="39431"/>
                  </a:moveTo>
                  <a:lnTo>
                    <a:pt x="7006" y="39431"/>
                  </a:lnTo>
                  <a:lnTo>
                    <a:pt x="39431" y="7006"/>
                  </a:lnTo>
                  <a:lnTo>
                    <a:pt x="710598" y="7006"/>
                  </a:lnTo>
                  <a:lnTo>
                    <a:pt x="710598" y="23896"/>
                  </a:lnTo>
                  <a:lnTo>
                    <a:pt x="177379" y="23896"/>
                  </a:lnTo>
                  <a:lnTo>
                    <a:pt x="169513" y="23896"/>
                  </a:lnTo>
                  <a:lnTo>
                    <a:pt x="46418" y="23896"/>
                  </a:lnTo>
                  <a:lnTo>
                    <a:pt x="30883" y="3943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9" name="Freeform: Shape 13478">
              <a:extLst>
                <a:ext uri="{FF2B5EF4-FFF2-40B4-BE49-F238E27FC236}">
                  <a16:creationId xmlns:a16="http://schemas.microsoft.com/office/drawing/2014/main" id="{5364D97E-D716-460A-9C15-649019AA951C}"/>
                </a:ext>
              </a:extLst>
            </p:cNvPr>
            <p:cNvSpPr/>
            <p:nvPr/>
          </p:nvSpPr>
          <p:spPr bwMode="ltGray">
            <a:xfrm>
              <a:off x="3248975" y="2784147"/>
              <a:ext cx="616546" cy="394590"/>
            </a:xfrm>
            <a:custGeom>
              <a:avLst/>
              <a:gdLst>
                <a:gd name="connsiteX0" fmla="*/ 55695 w 616546"/>
                <a:gd name="connsiteY0" fmla="*/ 387668 h 394589"/>
                <a:gd name="connsiteX1" fmla="*/ 7006 w 616546"/>
                <a:gd name="connsiteY1" fmla="*/ 387668 h 394589"/>
                <a:gd name="connsiteX2" fmla="*/ 78535 w 616546"/>
                <a:gd name="connsiteY2" fmla="*/ 316139 h 394589"/>
                <a:gd name="connsiteX3" fmla="*/ 184348 w 616546"/>
                <a:gd name="connsiteY3" fmla="*/ 210327 h 394589"/>
                <a:gd name="connsiteX4" fmla="*/ 193764 w 616546"/>
                <a:gd name="connsiteY4" fmla="*/ 210327 h 394589"/>
                <a:gd name="connsiteX5" fmla="*/ 213391 w 616546"/>
                <a:gd name="connsiteY5" fmla="*/ 229963 h 394589"/>
                <a:gd name="connsiteX6" fmla="*/ 127214 w 616546"/>
                <a:gd name="connsiteY6" fmla="*/ 316139 h 394589"/>
                <a:gd name="connsiteX7" fmla="*/ 55695 w 616546"/>
                <a:gd name="connsiteY7" fmla="*/ 387668 h 394589"/>
                <a:gd name="connsiteX8" fmla="*/ 225189 w 616546"/>
                <a:gd name="connsiteY8" fmla="*/ 218164 h 394589"/>
                <a:gd name="connsiteX9" fmla="*/ 200845 w 616546"/>
                <a:gd name="connsiteY9" fmla="*/ 193820 h 394589"/>
                <a:gd name="connsiteX10" fmla="*/ 247712 w 616546"/>
                <a:gd name="connsiteY10" fmla="*/ 146953 h 394589"/>
                <a:gd name="connsiteX11" fmla="*/ 266600 w 616546"/>
                <a:gd name="connsiteY11" fmla="*/ 146953 h 394589"/>
                <a:gd name="connsiteX12" fmla="*/ 281500 w 616546"/>
                <a:gd name="connsiteY12" fmla="*/ 161862 h 394589"/>
                <a:gd name="connsiteX13" fmla="*/ 225189 w 616546"/>
                <a:gd name="connsiteY13" fmla="*/ 218164 h 394589"/>
                <a:gd name="connsiteX14" fmla="*/ 285480 w 616546"/>
                <a:gd name="connsiteY14" fmla="*/ 157883 h 394589"/>
                <a:gd name="connsiteX15" fmla="*/ 268927 w 616546"/>
                <a:gd name="connsiteY15" fmla="*/ 141329 h 394589"/>
                <a:gd name="connsiteX16" fmla="*/ 253345 w 616546"/>
                <a:gd name="connsiteY16" fmla="*/ 141329 h 394589"/>
                <a:gd name="connsiteX17" fmla="*/ 387659 w 616546"/>
                <a:gd name="connsiteY17" fmla="*/ 7006 h 394589"/>
                <a:gd name="connsiteX18" fmla="*/ 610914 w 616546"/>
                <a:gd name="connsiteY18" fmla="*/ 7006 h 394589"/>
                <a:gd name="connsiteX19" fmla="*/ 610914 w 616546"/>
                <a:gd name="connsiteY19" fmla="*/ 41439 h 394589"/>
                <a:gd name="connsiteX20" fmla="*/ 401923 w 616546"/>
                <a:gd name="connsiteY20" fmla="*/ 41439 h 394589"/>
                <a:gd name="connsiteX21" fmla="*/ 285480 w 616546"/>
                <a:gd name="connsiteY21" fmla="*/ 157883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6546" h="394589">
                  <a:moveTo>
                    <a:pt x="55695" y="387668"/>
                  </a:moveTo>
                  <a:lnTo>
                    <a:pt x="7006" y="387668"/>
                  </a:lnTo>
                  <a:lnTo>
                    <a:pt x="78535" y="316139"/>
                  </a:lnTo>
                  <a:lnTo>
                    <a:pt x="184348" y="210327"/>
                  </a:lnTo>
                  <a:lnTo>
                    <a:pt x="193764" y="210327"/>
                  </a:lnTo>
                  <a:lnTo>
                    <a:pt x="213391" y="229963"/>
                  </a:lnTo>
                  <a:lnTo>
                    <a:pt x="127214" y="316139"/>
                  </a:lnTo>
                  <a:lnTo>
                    <a:pt x="55695" y="387668"/>
                  </a:lnTo>
                  <a:close/>
                  <a:moveTo>
                    <a:pt x="225189" y="218164"/>
                  </a:moveTo>
                  <a:lnTo>
                    <a:pt x="200845" y="193820"/>
                  </a:lnTo>
                  <a:lnTo>
                    <a:pt x="247712" y="146953"/>
                  </a:lnTo>
                  <a:lnTo>
                    <a:pt x="266600" y="146953"/>
                  </a:lnTo>
                  <a:lnTo>
                    <a:pt x="281500" y="161862"/>
                  </a:lnTo>
                  <a:lnTo>
                    <a:pt x="225189" y="218164"/>
                  </a:lnTo>
                  <a:close/>
                  <a:moveTo>
                    <a:pt x="285480" y="157883"/>
                  </a:moveTo>
                  <a:lnTo>
                    <a:pt x="268927" y="141329"/>
                  </a:lnTo>
                  <a:lnTo>
                    <a:pt x="253345" y="141329"/>
                  </a:lnTo>
                  <a:lnTo>
                    <a:pt x="387659" y="7006"/>
                  </a:lnTo>
                  <a:lnTo>
                    <a:pt x="610914" y="7006"/>
                  </a:lnTo>
                  <a:lnTo>
                    <a:pt x="610914" y="41439"/>
                  </a:lnTo>
                  <a:lnTo>
                    <a:pt x="401923" y="41439"/>
                  </a:lnTo>
                  <a:lnTo>
                    <a:pt x="285480" y="15788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0" name="Freeform: Shape 13479">
              <a:extLst>
                <a:ext uri="{FF2B5EF4-FFF2-40B4-BE49-F238E27FC236}">
                  <a16:creationId xmlns:a16="http://schemas.microsoft.com/office/drawing/2014/main" id="{0D7E8B37-C2DD-40D2-ACDA-E99B1B5A3045}"/>
                </a:ext>
              </a:extLst>
            </p:cNvPr>
            <p:cNvSpPr/>
            <p:nvPr/>
          </p:nvSpPr>
          <p:spPr bwMode="ltGray">
            <a:xfrm>
              <a:off x="3426317" y="2970961"/>
              <a:ext cx="53808" cy="49324"/>
            </a:xfrm>
            <a:custGeom>
              <a:avLst/>
              <a:gdLst>
                <a:gd name="connsiteX0" fmla="*/ 36049 w 53807"/>
                <a:gd name="connsiteY0" fmla="*/ 43149 h 49323"/>
                <a:gd name="connsiteX1" fmla="*/ 16423 w 53807"/>
                <a:gd name="connsiteY1" fmla="*/ 23513 h 49323"/>
                <a:gd name="connsiteX2" fmla="*/ 7006 w 53807"/>
                <a:gd name="connsiteY2" fmla="*/ 23513 h 49323"/>
                <a:gd name="connsiteX3" fmla="*/ 23503 w 53807"/>
                <a:gd name="connsiteY3" fmla="*/ 7006 h 49323"/>
                <a:gd name="connsiteX4" fmla="*/ 47848 w 53807"/>
                <a:gd name="connsiteY4" fmla="*/ 31350 h 49323"/>
                <a:gd name="connsiteX5" fmla="*/ 36049 w 53807"/>
                <a:gd name="connsiteY5" fmla="*/ 43149 h 4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07" h="49323">
                  <a:moveTo>
                    <a:pt x="36049" y="43149"/>
                  </a:moveTo>
                  <a:lnTo>
                    <a:pt x="16423" y="23513"/>
                  </a:lnTo>
                  <a:lnTo>
                    <a:pt x="7006" y="23513"/>
                  </a:lnTo>
                  <a:lnTo>
                    <a:pt x="23503" y="7006"/>
                  </a:lnTo>
                  <a:lnTo>
                    <a:pt x="47848" y="31350"/>
                  </a:lnTo>
                  <a:lnTo>
                    <a:pt x="36049" y="4314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1" name="Freeform: Shape 13480">
              <a:extLst>
                <a:ext uri="{FF2B5EF4-FFF2-40B4-BE49-F238E27FC236}">
                  <a16:creationId xmlns:a16="http://schemas.microsoft.com/office/drawing/2014/main" id="{30A1C48B-4214-4D8F-A731-DF971749DF7D}"/>
                </a:ext>
              </a:extLst>
            </p:cNvPr>
            <p:cNvSpPr/>
            <p:nvPr/>
          </p:nvSpPr>
          <p:spPr bwMode="ltGray">
            <a:xfrm>
              <a:off x="3489681" y="2918470"/>
              <a:ext cx="51566" cy="33630"/>
            </a:xfrm>
            <a:custGeom>
              <a:avLst/>
              <a:gdLst>
                <a:gd name="connsiteX0" fmla="*/ 40795 w 51565"/>
                <a:gd name="connsiteY0" fmla="*/ 27539 h 33629"/>
                <a:gd name="connsiteX1" fmla="*/ 25895 w 51565"/>
                <a:gd name="connsiteY1" fmla="*/ 12630 h 33629"/>
                <a:gd name="connsiteX2" fmla="*/ 7006 w 51565"/>
                <a:gd name="connsiteY2" fmla="*/ 12630 h 33629"/>
                <a:gd name="connsiteX3" fmla="*/ 12639 w 51565"/>
                <a:gd name="connsiteY3" fmla="*/ 7006 h 33629"/>
                <a:gd name="connsiteX4" fmla="*/ 28221 w 51565"/>
                <a:gd name="connsiteY4" fmla="*/ 7006 h 33629"/>
                <a:gd name="connsiteX5" fmla="*/ 44774 w 51565"/>
                <a:gd name="connsiteY5" fmla="*/ 23560 h 33629"/>
                <a:gd name="connsiteX6" fmla="*/ 40795 w 51565"/>
                <a:gd name="connsiteY6" fmla="*/ 27539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33629">
                  <a:moveTo>
                    <a:pt x="40795" y="27539"/>
                  </a:moveTo>
                  <a:lnTo>
                    <a:pt x="25895" y="12630"/>
                  </a:lnTo>
                  <a:lnTo>
                    <a:pt x="7006" y="12630"/>
                  </a:lnTo>
                  <a:lnTo>
                    <a:pt x="12639" y="7006"/>
                  </a:lnTo>
                  <a:lnTo>
                    <a:pt x="28221" y="7006"/>
                  </a:lnTo>
                  <a:lnTo>
                    <a:pt x="44774" y="23560"/>
                  </a:lnTo>
                  <a:lnTo>
                    <a:pt x="40795" y="275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2" name="Freeform: Shape 13481">
              <a:extLst>
                <a:ext uri="{FF2B5EF4-FFF2-40B4-BE49-F238E27FC236}">
                  <a16:creationId xmlns:a16="http://schemas.microsoft.com/office/drawing/2014/main" id="{79E95478-7879-4610-90B5-1175952F6221}"/>
                </a:ext>
              </a:extLst>
            </p:cNvPr>
            <p:cNvSpPr/>
            <p:nvPr/>
          </p:nvSpPr>
          <p:spPr bwMode="ltGray">
            <a:xfrm>
              <a:off x="3232095" y="3164808"/>
              <a:ext cx="78470" cy="29146"/>
            </a:xfrm>
            <a:custGeom>
              <a:avLst/>
              <a:gdLst>
                <a:gd name="connsiteX0" fmla="*/ 55685 w 78469"/>
                <a:gd name="connsiteY0" fmla="*/ 23886 h 29145"/>
                <a:gd name="connsiteX1" fmla="*/ 7006 w 78469"/>
                <a:gd name="connsiteY1" fmla="*/ 23886 h 29145"/>
                <a:gd name="connsiteX2" fmla="*/ 23886 w 78469"/>
                <a:gd name="connsiteY2" fmla="*/ 7006 h 29145"/>
                <a:gd name="connsiteX3" fmla="*/ 72575 w 78469"/>
                <a:gd name="connsiteY3" fmla="*/ 7006 h 29145"/>
                <a:gd name="connsiteX4" fmla="*/ 55685 w 78469"/>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9" h="29145">
                  <a:moveTo>
                    <a:pt x="55685" y="23886"/>
                  </a:moveTo>
                  <a:lnTo>
                    <a:pt x="7006" y="23886"/>
                  </a:lnTo>
                  <a:lnTo>
                    <a:pt x="23886" y="7006"/>
                  </a:lnTo>
                  <a:lnTo>
                    <a:pt x="72575" y="7006"/>
                  </a:lnTo>
                  <a:lnTo>
                    <a:pt x="5568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3" name="Freeform: Shape 13482">
              <a:extLst>
                <a:ext uri="{FF2B5EF4-FFF2-40B4-BE49-F238E27FC236}">
                  <a16:creationId xmlns:a16="http://schemas.microsoft.com/office/drawing/2014/main" id="{BE2F2136-E6B8-467F-9E38-3BFD5F97C184}"/>
                </a:ext>
              </a:extLst>
            </p:cNvPr>
            <p:cNvSpPr/>
            <p:nvPr/>
          </p:nvSpPr>
          <p:spPr bwMode="ltGray">
            <a:xfrm>
              <a:off x="699125" y="2338505"/>
              <a:ext cx="2979600" cy="219715"/>
            </a:xfrm>
            <a:custGeom>
              <a:avLst/>
              <a:gdLst>
                <a:gd name="connsiteX0" fmla="*/ 2020256 w 2979599"/>
                <a:gd name="connsiteY0" fmla="*/ 213577 h 219714"/>
                <a:gd name="connsiteX1" fmla="*/ 7006 w 2979599"/>
                <a:gd name="connsiteY1" fmla="*/ 213577 h 219714"/>
                <a:gd name="connsiteX2" fmla="*/ 41430 w 2979599"/>
                <a:gd name="connsiteY2" fmla="*/ 179144 h 219714"/>
                <a:gd name="connsiteX3" fmla="*/ 2006000 w 2979599"/>
                <a:gd name="connsiteY3" fmla="*/ 179144 h 219714"/>
                <a:gd name="connsiteX4" fmla="*/ 2178148 w 2979599"/>
                <a:gd name="connsiteY4" fmla="*/ 7006 h 219714"/>
                <a:gd name="connsiteX5" fmla="*/ 2460825 w 2979599"/>
                <a:gd name="connsiteY5" fmla="*/ 7006 h 219714"/>
                <a:gd name="connsiteX6" fmla="*/ 2426392 w 2979599"/>
                <a:gd name="connsiteY6" fmla="*/ 41430 h 219714"/>
                <a:gd name="connsiteX7" fmla="*/ 2384962 w 2979599"/>
                <a:gd name="connsiteY7" fmla="*/ 41430 h 219714"/>
                <a:gd name="connsiteX8" fmla="*/ 2192403 w 2979599"/>
                <a:gd name="connsiteY8" fmla="*/ 41430 h 219714"/>
                <a:gd name="connsiteX9" fmla="*/ 2177232 w 2979599"/>
                <a:gd name="connsiteY9" fmla="*/ 56610 h 219714"/>
                <a:gd name="connsiteX10" fmla="*/ 2169647 w 2979599"/>
                <a:gd name="connsiteY10" fmla="*/ 56610 h 219714"/>
                <a:gd name="connsiteX11" fmla="*/ 2169647 w 2979599"/>
                <a:gd name="connsiteY11" fmla="*/ 64186 h 219714"/>
                <a:gd name="connsiteX12" fmla="*/ 2020256 w 2979599"/>
                <a:gd name="connsiteY12" fmla="*/ 213577 h 219714"/>
                <a:gd name="connsiteX13" fmla="*/ 2938415 w 2979599"/>
                <a:gd name="connsiteY13" fmla="*/ 41430 h 219714"/>
                <a:gd name="connsiteX14" fmla="*/ 2547263 w 2979599"/>
                <a:gd name="connsiteY14" fmla="*/ 41430 h 219714"/>
                <a:gd name="connsiteX15" fmla="*/ 2438368 w 2979599"/>
                <a:gd name="connsiteY15" fmla="*/ 41430 h 219714"/>
                <a:gd name="connsiteX16" fmla="*/ 2472791 w 2979599"/>
                <a:gd name="connsiteY16" fmla="*/ 7006 h 219714"/>
                <a:gd name="connsiteX17" fmla="*/ 2972839 w 2979599"/>
                <a:gd name="connsiteY17" fmla="*/ 7006 h 219714"/>
                <a:gd name="connsiteX18" fmla="*/ 2938415 w 2979599"/>
                <a:gd name="connsiteY18" fmla="*/ 41430 h 21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9599" h="219714">
                  <a:moveTo>
                    <a:pt x="2020256" y="213577"/>
                  </a:moveTo>
                  <a:lnTo>
                    <a:pt x="7006" y="213577"/>
                  </a:lnTo>
                  <a:lnTo>
                    <a:pt x="41430" y="179144"/>
                  </a:lnTo>
                  <a:lnTo>
                    <a:pt x="2006000" y="179144"/>
                  </a:lnTo>
                  <a:lnTo>
                    <a:pt x="2178148" y="7006"/>
                  </a:lnTo>
                  <a:lnTo>
                    <a:pt x="2460825" y="7006"/>
                  </a:lnTo>
                  <a:lnTo>
                    <a:pt x="2426392" y="41430"/>
                  </a:lnTo>
                  <a:lnTo>
                    <a:pt x="2384962" y="41430"/>
                  </a:lnTo>
                  <a:lnTo>
                    <a:pt x="2192403" y="41430"/>
                  </a:lnTo>
                  <a:lnTo>
                    <a:pt x="2177232" y="56610"/>
                  </a:lnTo>
                  <a:lnTo>
                    <a:pt x="2169647" y="56610"/>
                  </a:lnTo>
                  <a:lnTo>
                    <a:pt x="2169647" y="64186"/>
                  </a:lnTo>
                  <a:lnTo>
                    <a:pt x="2020256" y="213577"/>
                  </a:lnTo>
                  <a:close/>
                  <a:moveTo>
                    <a:pt x="2938415" y="41430"/>
                  </a:moveTo>
                  <a:lnTo>
                    <a:pt x="2547263" y="41430"/>
                  </a:lnTo>
                  <a:lnTo>
                    <a:pt x="2438368" y="41430"/>
                  </a:lnTo>
                  <a:lnTo>
                    <a:pt x="2472791" y="7006"/>
                  </a:lnTo>
                  <a:lnTo>
                    <a:pt x="2972839" y="7006"/>
                  </a:lnTo>
                  <a:lnTo>
                    <a:pt x="2938415"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4" name="Freeform: Shape 13483">
              <a:extLst>
                <a:ext uri="{FF2B5EF4-FFF2-40B4-BE49-F238E27FC236}">
                  <a16:creationId xmlns:a16="http://schemas.microsoft.com/office/drawing/2014/main" id="{804E6A72-FFC0-41BD-81C1-3F6D977B53CE}"/>
                </a:ext>
              </a:extLst>
            </p:cNvPr>
            <p:cNvSpPr/>
            <p:nvPr/>
          </p:nvSpPr>
          <p:spPr bwMode="ltGray">
            <a:xfrm>
              <a:off x="2861765" y="2338505"/>
              <a:ext cx="316120" cy="69502"/>
            </a:xfrm>
            <a:custGeom>
              <a:avLst/>
              <a:gdLst>
                <a:gd name="connsiteX0" fmla="*/ 7006 w 316120"/>
                <a:gd name="connsiteY0" fmla="*/ 64186 h 69501"/>
                <a:gd name="connsiteX1" fmla="*/ 7006 w 316120"/>
                <a:gd name="connsiteY1" fmla="*/ 56610 h 69501"/>
                <a:gd name="connsiteX2" fmla="*/ 14591 w 316120"/>
                <a:gd name="connsiteY2" fmla="*/ 56610 h 69501"/>
                <a:gd name="connsiteX3" fmla="*/ 7006 w 316120"/>
                <a:gd name="connsiteY3" fmla="*/ 64186 h 69501"/>
                <a:gd name="connsiteX4" fmla="*/ 275727 w 316120"/>
                <a:gd name="connsiteY4" fmla="*/ 41430 h 69501"/>
                <a:gd name="connsiteX5" fmla="*/ 263751 w 316120"/>
                <a:gd name="connsiteY5" fmla="*/ 41430 h 69501"/>
                <a:gd name="connsiteX6" fmla="*/ 298184 w 316120"/>
                <a:gd name="connsiteY6" fmla="*/ 7006 h 69501"/>
                <a:gd name="connsiteX7" fmla="*/ 310151 w 316120"/>
                <a:gd name="connsiteY7" fmla="*/ 7006 h 69501"/>
                <a:gd name="connsiteX8" fmla="*/ 275727 w 316120"/>
                <a:gd name="connsiteY8" fmla="*/ 4143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120" h="69501">
                  <a:moveTo>
                    <a:pt x="7006" y="64186"/>
                  </a:moveTo>
                  <a:lnTo>
                    <a:pt x="7006" y="56610"/>
                  </a:lnTo>
                  <a:lnTo>
                    <a:pt x="14591" y="56610"/>
                  </a:lnTo>
                  <a:lnTo>
                    <a:pt x="7006" y="64186"/>
                  </a:lnTo>
                  <a:close/>
                  <a:moveTo>
                    <a:pt x="275727" y="41430"/>
                  </a:moveTo>
                  <a:lnTo>
                    <a:pt x="263751" y="41430"/>
                  </a:lnTo>
                  <a:lnTo>
                    <a:pt x="298184" y="7006"/>
                  </a:lnTo>
                  <a:lnTo>
                    <a:pt x="310151" y="7006"/>
                  </a:lnTo>
                  <a:lnTo>
                    <a:pt x="27572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5" name="Freeform: Shape 13484">
              <a:extLst>
                <a:ext uri="{FF2B5EF4-FFF2-40B4-BE49-F238E27FC236}">
                  <a16:creationId xmlns:a16="http://schemas.microsoft.com/office/drawing/2014/main" id="{ABB9B4A0-48C8-47AF-810E-A597BC7DA25C}"/>
                </a:ext>
              </a:extLst>
            </p:cNvPr>
            <p:cNvSpPr/>
            <p:nvPr/>
          </p:nvSpPr>
          <p:spPr bwMode="ltGray">
            <a:xfrm>
              <a:off x="-2860" y="2510643"/>
              <a:ext cx="742097" cy="47082"/>
            </a:xfrm>
            <a:custGeom>
              <a:avLst/>
              <a:gdLst>
                <a:gd name="connsiteX0" fmla="*/ 701023 w 742097"/>
                <a:gd name="connsiteY0" fmla="*/ 41439 h 47081"/>
                <a:gd name="connsiteX1" fmla="*/ 7006 w 742097"/>
                <a:gd name="connsiteY1" fmla="*/ 41439 h 47081"/>
                <a:gd name="connsiteX2" fmla="*/ 7006 w 742097"/>
                <a:gd name="connsiteY2" fmla="*/ 7006 h 47081"/>
                <a:gd name="connsiteX3" fmla="*/ 735456 w 742097"/>
                <a:gd name="connsiteY3" fmla="*/ 7006 h 47081"/>
                <a:gd name="connsiteX4" fmla="*/ 701023 w 742097"/>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097" h="47081">
                  <a:moveTo>
                    <a:pt x="701023" y="41439"/>
                  </a:moveTo>
                  <a:lnTo>
                    <a:pt x="7006" y="41439"/>
                  </a:lnTo>
                  <a:lnTo>
                    <a:pt x="7006" y="7006"/>
                  </a:lnTo>
                  <a:lnTo>
                    <a:pt x="735456" y="7006"/>
                  </a:lnTo>
                  <a:lnTo>
                    <a:pt x="701023"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6" name="Freeform: Shape 13485">
              <a:extLst>
                <a:ext uri="{FF2B5EF4-FFF2-40B4-BE49-F238E27FC236}">
                  <a16:creationId xmlns:a16="http://schemas.microsoft.com/office/drawing/2014/main" id="{62B699C2-003D-465B-BD7B-42A55EC75F48}"/>
                </a:ext>
              </a:extLst>
            </p:cNvPr>
            <p:cNvSpPr/>
            <p:nvPr/>
          </p:nvSpPr>
          <p:spPr bwMode="ltGray">
            <a:xfrm>
              <a:off x="691157" y="2510643"/>
              <a:ext cx="56050" cy="47082"/>
            </a:xfrm>
            <a:custGeom>
              <a:avLst/>
              <a:gdLst>
                <a:gd name="connsiteX0" fmla="*/ 14975 w 56049"/>
                <a:gd name="connsiteY0" fmla="*/ 41439 h 47081"/>
                <a:gd name="connsiteX1" fmla="*/ 7006 w 56049"/>
                <a:gd name="connsiteY1" fmla="*/ 41439 h 47081"/>
                <a:gd name="connsiteX2" fmla="*/ 41439 w 56049"/>
                <a:gd name="connsiteY2" fmla="*/ 7006 h 47081"/>
                <a:gd name="connsiteX3" fmla="*/ 49398 w 56049"/>
                <a:gd name="connsiteY3" fmla="*/ 7006 h 47081"/>
                <a:gd name="connsiteX4" fmla="*/ 1497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975" y="41439"/>
                  </a:moveTo>
                  <a:lnTo>
                    <a:pt x="7006" y="41439"/>
                  </a:lnTo>
                  <a:lnTo>
                    <a:pt x="41439" y="7006"/>
                  </a:lnTo>
                  <a:lnTo>
                    <a:pt x="49398" y="7006"/>
                  </a:lnTo>
                  <a:lnTo>
                    <a:pt x="1497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7" name="Freeform: Shape 13486">
              <a:extLst>
                <a:ext uri="{FF2B5EF4-FFF2-40B4-BE49-F238E27FC236}">
                  <a16:creationId xmlns:a16="http://schemas.microsoft.com/office/drawing/2014/main" id="{3B431A08-E426-43B7-8BEB-CEBBA987266F}"/>
                </a:ext>
              </a:extLst>
            </p:cNvPr>
            <p:cNvSpPr/>
            <p:nvPr/>
          </p:nvSpPr>
          <p:spPr bwMode="ltGray">
            <a:xfrm>
              <a:off x="3646751" y="2338505"/>
              <a:ext cx="605336" cy="47082"/>
            </a:xfrm>
            <a:custGeom>
              <a:avLst/>
              <a:gdLst>
                <a:gd name="connsiteX0" fmla="*/ 599134 w 605336"/>
                <a:gd name="connsiteY0" fmla="*/ 41430 h 47081"/>
                <a:gd name="connsiteX1" fmla="*/ 7006 w 605336"/>
                <a:gd name="connsiteY1" fmla="*/ 41430 h 47081"/>
                <a:gd name="connsiteX2" fmla="*/ 41439 w 605336"/>
                <a:gd name="connsiteY2" fmla="*/ 7006 h 47081"/>
                <a:gd name="connsiteX3" fmla="*/ 599134 w 605336"/>
                <a:gd name="connsiteY3" fmla="*/ 7006 h 47081"/>
                <a:gd name="connsiteX4" fmla="*/ 599134 w 605336"/>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6" h="47081">
                  <a:moveTo>
                    <a:pt x="599134" y="41430"/>
                  </a:moveTo>
                  <a:lnTo>
                    <a:pt x="7006" y="41430"/>
                  </a:lnTo>
                  <a:lnTo>
                    <a:pt x="41439" y="7006"/>
                  </a:lnTo>
                  <a:lnTo>
                    <a:pt x="599134" y="7006"/>
                  </a:lnTo>
                  <a:lnTo>
                    <a:pt x="599134"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8" name="Freeform: Shape 13487">
              <a:extLst>
                <a:ext uri="{FF2B5EF4-FFF2-40B4-BE49-F238E27FC236}">
                  <a16:creationId xmlns:a16="http://schemas.microsoft.com/office/drawing/2014/main" id="{D5620784-6634-422B-92FB-0A111D25F534}"/>
                </a:ext>
              </a:extLst>
            </p:cNvPr>
            <p:cNvSpPr/>
            <p:nvPr/>
          </p:nvSpPr>
          <p:spPr bwMode="ltGray">
            <a:xfrm>
              <a:off x="7740369" y="4000313"/>
              <a:ext cx="1320530" cy="47082"/>
            </a:xfrm>
            <a:custGeom>
              <a:avLst/>
              <a:gdLst>
                <a:gd name="connsiteX0" fmla="*/ 7006 w 1320529"/>
                <a:gd name="connsiteY0" fmla="*/ 7006 h 47081"/>
                <a:gd name="connsiteX1" fmla="*/ 1314449 w 1320529"/>
                <a:gd name="connsiteY1" fmla="*/ 7006 h 47081"/>
                <a:gd name="connsiteX2" fmla="*/ 1314449 w 1320529"/>
                <a:gd name="connsiteY2" fmla="*/ 41430 h 47081"/>
                <a:gd name="connsiteX3" fmla="*/ 7006 w 1320529"/>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320529" h="47081">
                  <a:moveTo>
                    <a:pt x="7006" y="7006"/>
                  </a:moveTo>
                  <a:lnTo>
                    <a:pt x="1314449" y="7006"/>
                  </a:lnTo>
                  <a:lnTo>
                    <a:pt x="1314449"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9" name="Freeform: Shape 13488">
              <a:extLst>
                <a:ext uri="{FF2B5EF4-FFF2-40B4-BE49-F238E27FC236}">
                  <a16:creationId xmlns:a16="http://schemas.microsoft.com/office/drawing/2014/main" id="{8AA149CD-2723-4FE5-A0E8-4A82DD5CE056}"/>
                </a:ext>
              </a:extLst>
            </p:cNvPr>
            <p:cNvSpPr/>
            <p:nvPr/>
          </p:nvSpPr>
          <p:spPr bwMode="ltGray">
            <a:xfrm>
              <a:off x="2854096" y="3332705"/>
              <a:ext cx="930424" cy="495479"/>
            </a:xfrm>
            <a:custGeom>
              <a:avLst/>
              <a:gdLst>
                <a:gd name="connsiteX0" fmla="*/ 414263 w 930424"/>
                <a:gd name="connsiteY0" fmla="*/ 490379 h 495478"/>
                <a:gd name="connsiteX1" fmla="*/ 354552 w 930424"/>
                <a:gd name="connsiteY1" fmla="*/ 490379 h 495478"/>
                <a:gd name="connsiteX2" fmla="*/ 364323 w 930424"/>
                <a:gd name="connsiteY2" fmla="*/ 478907 h 495478"/>
                <a:gd name="connsiteX3" fmla="*/ 418710 w 930424"/>
                <a:gd name="connsiteY3" fmla="*/ 478907 h 495478"/>
                <a:gd name="connsiteX4" fmla="*/ 414263 w 930424"/>
                <a:gd name="connsiteY4" fmla="*/ 490379 h 495478"/>
                <a:gd name="connsiteX5" fmla="*/ 269459 w 930424"/>
                <a:gd name="connsiteY5" fmla="*/ 490379 h 495478"/>
                <a:gd name="connsiteX6" fmla="*/ 209747 w 930424"/>
                <a:gd name="connsiteY6" fmla="*/ 490379 h 495478"/>
                <a:gd name="connsiteX7" fmla="*/ 205301 w 930424"/>
                <a:gd name="connsiteY7" fmla="*/ 478907 h 495478"/>
                <a:gd name="connsiteX8" fmla="*/ 259688 w 930424"/>
                <a:gd name="connsiteY8" fmla="*/ 478907 h 495478"/>
                <a:gd name="connsiteX9" fmla="*/ 269459 w 930424"/>
                <a:gd name="connsiteY9" fmla="*/ 490379 h 495478"/>
                <a:gd name="connsiteX10" fmla="*/ 467903 w 930424"/>
                <a:gd name="connsiteY10" fmla="*/ 464484 h 495478"/>
                <a:gd name="connsiteX11" fmla="*/ 469164 w 930424"/>
                <a:gd name="connsiteY11" fmla="*/ 446987 h 495478"/>
                <a:gd name="connsiteX12" fmla="*/ 602049 w 930424"/>
                <a:gd name="connsiteY12" fmla="*/ 314102 h 495478"/>
                <a:gd name="connsiteX13" fmla="*/ 642628 w 930424"/>
                <a:gd name="connsiteY13" fmla="*/ 273532 h 495478"/>
                <a:gd name="connsiteX14" fmla="*/ 841082 w 930424"/>
                <a:gd name="connsiteY14" fmla="*/ 75069 h 495478"/>
                <a:gd name="connsiteX15" fmla="*/ 857308 w 930424"/>
                <a:gd name="connsiteY15" fmla="*/ 58843 h 495478"/>
                <a:gd name="connsiteX16" fmla="*/ 909145 w 930424"/>
                <a:gd name="connsiteY16" fmla="*/ 7006 h 495478"/>
                <a:gd name="connsiteX17" fmla="*/ 925371 w 930424"/>
                <a:gd name="connsiteY17" fmla="*/ 7006 h 495478"/>
                <a:gd name="connsiteX18" fmla="*/ 865426 w 930424"/>
                <a:gd name="connsiteY18" fmla="*/ 66961 h 495478"/>
                <a:gd name="connsiteX19" fmla="*/ 849200 w 930424"/>
                <a:gd name="connsiteY19" fmla="*/ 83187 h 495478"/>
                <a:gd name="connsiteX20" fmla="*/ 650737 w 930424"/>
                <a:gd name="connsiteY20" fmla="*/ 281640 h 495478"/>
                <a:gd name="connsiteX21" fmla="*/ 610167 w 930424"/>
                <a:gd name="connsiteY21" fmla="*/ 322220 h 495478"/>
                <a:gd name="connsiteX22" fmla="*/ 467903 w 930424"/>
                <a:gd name="connsiteY22" fmla="*/ 464484 h 495478"/>
                <a:gd name="connsiteX23" fmla="*/ 155006 w 930424"/>
                <a:gd name="connsiteY23" fmla="*/ 452003 h 495478"/>
                <a:gd name="connsiteX24" fmla="*/ 7006 w 930424"/>
                <a:gd name="connsiteY24" fmla="*/ 304004 h 495478"/>
                <a:gd name="connsiteX25" fmla="*/ 23233 w 930424"/>
                <a:gd name="connsiteY25" fmla="*/ 304004 h 495478"/>
                <a:gd name="connsiteX26" fmla="*/ 155043 w 930424"/>
                <a:gd name="connsiteY26" fmla="*/ 435824 h 495478"/>
                <a:gd name="connsiteX27" fmla="*/ 154819 w 930424"/>
                <a:gd name="connsiteY27" fmla="*/ 444306 h 495478"/>
                <a:gd name="connsiteX28" fmla="*/ 155006 w 930424"/>
                <a:gd name="connsiteY28" fmla="*/ 452003 h 49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30424" h="495478">
                  <a:moveTo>
                    <a:pt x="414263" y="490379"/>
                  </a:moveTo>
                  <a:lnTo>
                    <a:pt x="354552" y="490379"/>
                  </a:lnTo>
                  <a:cubicBezTo>
                    <a:pt x="358242" y="486969"/>
                    <a:pt x="361530" y="483111"/>
                    <a:pt x="364323" y="478907"/>
                  </a:cubicBezTo>
                  <a:lnTo>
                    <a:pt x="418710" y="478907"/>
                  </a:lnTo>
                  <a:cubicBezTo>
                    <a:pt x="417440" y="482831"/>
                    <a:pt x="415954" y="486661"/>
                    <a:pt x="414263" y="490379"/>
                  </a:cubicBezTo>
                  <a:close/>
                  <a:moveTo>
                    <a:pt x="269459" y="490379"/>
                  </a:moveTo>
                  <a:lnTo>
                    <a:pt x="209747" y="490379"/>
                  </a:lnTo>
                  <a:cubicBezTo>
                    <a:pt x="208066" y="486661"/>
                    <a:pt x="206581" y="482831"/>
                    <a:pt x="205301" y="478907"/>
                  </a:cubicBezTo>
                  <a:lnTo>
                    <a:pt x="259688" y="478907"/>
                  </a:lnTo>
                  <a:cubicBezTo>
                    <a:pt x="262481" y="483111"/>
                    <a:pt x="265769" y="486969"/>
                    <a:pt x="269459" y="490379"/>
                  </a:cubicBezTo>
                  <a:close/>
                  <a:moveTo>
                    <a:pt x="467903" y="464484"/>
                  </a:moveTo>
                  <a:cubicBezTo>
                    <a:pt x="468641" y="458739"/>
                    <a:pt x="469071" y="452900"/>
                    <a:pt x="469164" y="446987"/>
                  </a:cubicBezTo>
                  <a:lnTo>
                    <a:pt x="602049" y="314102"/>
                  </a:lnTo>
                  <a:lnTo>
                    <a:pt x="642628" y="273532"/>
                  </a:lnTo>
                  <a:lnTo>
                    <a:pt x="841082" y="75069"/>
                  </a:lnTo>
                  <a:lnTo>
                    <a:pt x="857308" y="58843"/>
                  </a:lnTo>
                  <a:lnTo>
                    <a:pt x="909145" y="7006"/>
                  </a:lnTo>
                  <a:lnTo>
                    <a:pt x="925371" y="7006"/>
                  </a:lnTo>
                  <a:lnTo>
                    <a:pt x="865426" y="66961"/>
                  </a:lnTo>
                  <a:lnTo>
                    <a:pt x="849200" y="83187"/>
                  </a:lnTo>
                  <a:lnTo>
                    <a:pt x="650737" y="281640"/>
                  </a:lnTo>
                  <a:lnTo>
                    <a:pt x="610167" y="322220"/>
                  </a:lnTo>
                  <a:lnTo>
                    <a:pt x="467903" y="464484"/>
                  </a:lnTo>
                  <a:close/>
                  <a:moveTo>
                    <a:pt x="155006" y="452003"/>
                  </a:moveTo>
                  <a:lnTo>
                    <a:pt x="7006" y="304004"/>
                  </a:lnTo>
                  <a:lnTo>
                    <a:pt x="23233" y="304004"/>
                  </a:lnTo>
                  <a:lnTo>
                    <a:pt x="155043" y="435824"/>
                  </a:lnTo>
                  <a:cubicBezTo>
                    <a:pt x="154893" y="438626"/>
                    <a:pt x="154819" y="441457"/>
                    <a:pt x="154819" y="444306"/>
                  </a:cubicBezTo>
                  <a:cubicBezTo>
                    <a:pt x="154819" y="446884"/>
                    <a:pt x="154884" y="449453"/>
                    <a:pt x="155006" y="45200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0" name="Freeform: Shape 13489">
              <a:extLst>
                <a:ext uri="{FF2B5EF4-FFF2-40B4-BE49-F238E27FC236}">
                  <a16:creationId xmlns:a16="http://schemas.microsoft.com/office/drawing/2014/main" id="{FAB10177-D1C1-4B98-9887-2B3188A8F9B8}"/>
                </a:ext>
              </a:extLst>
            </p:cNvPr>
            <p:cNvSpPr/>
            <p:nvPr/>
          </p:nvSpPr>
          <p:spPr bwMode="ltGray">
            <a:xfrm>
              <a:off x="3106777" y="3804606"/>
              <a:ext cx="116583" cy="24662"/>
            </a:xfrm>
            <a:custGeom>
              <a:avLst/>
              <a:gdLst>
                <a:gd name="connsiteX0" fmla="*/ 101870 w 116583"/>
                <a:gd name="connsiteY0" fmla="*/ 18478 h 24661"/>
                <a:gd name="connsiteX1" fmla="*/ 16777 w 116583"/>
                <a:gd name="connsiteY1" fmla="*/ 18478 h 24661"/>
                <a:gd name="connsiteX2" fmla="*/ 7006 w 116583"/>
                <a:gd name="connsiteY2" fmla="*/ 7006 h 24661"/>
                <a:gd name="connsiteX3" fmla="*/ 111642 w 116583"/>
                <a:gd name="connsiteY3" fmla="*/ 7006 h 24661"/>
                <a:gd name="connsiteX4" fmla="*/ 101870 w 116583"/>
                <a:gd name="connsiteY4" fmla="*/ 18478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3" h="24661">
                  <a:moveTo>
                    <a:pt x="101870" y="18478"/>
                  </a:moveTo>
                  <a:lnTo>
                    <a:pt x="16777" y="18478"/>
                  </a:lnTo>
                  <a:cubicBezTo>
                    <a:pt x="13088" y="15068"/>
                    <a:pt x="9799" y="11210"/>
                    <a:pt x="7006" y="7006"/>
                  </a:cubicBezTo>
                  <a:lnTo>
                    <a:pt x="111642" y="7006"/>
                  </a:lnTo>
                  <a:cubicBezTo>
                    <a:pt x="108849" y="11210"/>
                    <a:pt x="105560" y="15068"/>
                    <a:pt x="101870" y="18478"/>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1" name="Freeform: Shape 13490">
              <a:extLst>
                <a:ext uri="{FF2B5EF4-FFF2-40B4-BE49-F238E27FC236}">
                  <a16:creationId xmlns:a16="http://schemas.microsoft.com/office/drawing/2014/main" id="{D311B630-8F72-4550-B05D-F926FAC3738C}"/>
                </a:ext>
              </a:extLst>
            </p:cNvPr>
            <p:cNvSpPr/>
            <p:nvPr/>
          </p:nvSpPr>
          <p:spPr bwMode="ltGray">
            <a:xfrm>
              <a:off x="3001908" y="3761523"/>
              <a:ext cx="327330" cy="67260"/>
            </a:xfrm>
            <a:custGeom>
              <a:avLst/>
              <a:gdLst>
                <a:gd name="connsiteX0" fmla="*/ 294186 w 327329"/>
                <a:gd name="connsiteY0" fmla="*/ 61561 h 67259"/>
                <a:gd name="connsiteX1" fmla="*/ 266451 w 327329"/>
                <a:gd name="connsiteY1" fmla="*/ 61561 h 67259"/>
                <a:gd name="connsiteX2" fmla="*/ 270898 w 327329"/>
                <a:gd name="connsiteY2" fmla="*/ 50090 h 67259"/>
                <a:gd name="connsiteX3" fmla="*/ 289441 w 327329"/>
                <a:gd name="connsiteY3" fmla="*/ 50090 h 67259"/>
                <a:gd name="connsiteX4" fmla="*/ 321352 w 327329"/>
                <a:gd name="connsiteY4" fmla="*/ 18170 h 67259"/>
                <a:gd name="connsiteX5" fmla="*/ 320091 w 327329"/>
                <a:gd name="connsiteY5" fmla="*/ 35666 h 67259"/>
                <a:gd name="connsiteX6" fmla="*/ 294186 w 327329"/>
                <a:gd name="connsiteY6" fmla="*/ 61561 h 67259"/>
                <a:gd name="connsiteX7" fmla="*/ 61935 w 327329"/>
                <a:gd name="connsiteY7" fmla="*/ 61561 h 67259"/>
                <a:gd name="connsiteX8" fmla="*/ 45569 w 327329"/>
                <a:gd name="connsiteY8" fmla="*/ 61561 h 67259"/>
                <a:gd name="connsiteX9" fmla="*/ 7193 w 327329"/>
                <a:gd name="connsiteY9" fmla="*/ 23186 h 67259"/>
                <a:gd name="connsiteX10" fmla="*/ 7006 w 327329"/>
                <a:gd name="connsiteY10" fmla="*/ 15488 h 67259"/>
                <a:gd name="connsiteX11" fmla="*/ 7231 w 327329"/>
                <a:gd name="connsiteY11" fmla="*/ 7006 h 67259"/>
                <a:gd name="connsiteX12" fmla="*/ 50314 w 327329"/>
                <a:gd name="connsiteY12" fmla="*/ 50090 h 67259"/>
                <a:gd name="connsiteX13" fmla="*/ 57489 w 327329"/>
                <a:gd name="connsiteY13" fmla="*/ 50090 h 67259"/>
                <a:gd name="connsiteX14" fmla="*/ 61935 w 327329"/>
                <a:gd name="connsiteY14" fmla="*/ 61561 h 6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7329" h="67259">
                  <a:moveTo>
                    <a:pt x="294186" y="61561"/>
                  </a:moveTo>
                  <a:lnTo>
                    <a:pt x="266451" y="61561"/>
                  </a:lnTo>
                  <a:cubicBezTo>
                    <a:pt x="268142" y="57843"/>
                    <a:pt x="269627" y="54013"/>
                    <a:pt x="270898" y="50090"/>
                  </a:cubicBezTo>
                  <a:lnTo>
                    <a:pt x="289441" y="50090"/>
                  </a:lnTo>
                  <a:lnTo>
                    <a:pt x="321352" y="18170"/>
                  </a:lnTo>
                  <a:cubicBezTo>
                    <a:pt x="321258" y="24083"/>
                    <a:pt x="320828" y="29921"/>
                    <a:pt x="320091" y="35666"/>
                  </a:cubicBezTo>
                  <a:lnTo>
                    <a:pt x="294186" y="61561"/>
                  </a:lnTo>
                  <a:close/>
                  <a:moveTo>
                    <a:pt x="61935" y="61561"/>
                  </a:moveTo>
                  <a:lnTo>
                    <a:pt x="45569" y="61561"/>
                  </a:lnTo>
                  <a:lnTo>
                    <a:pt x="7193" y="23186"/>
                  </a:lnTo>
                  <a:cubicBezTo>
                    <a:pt x="7072" y="20636"/>
                    <a:pt x="7006" y="18067"/>
                    <a:pt x="7006" y="15488"/>
                  </a:cubicBezTo>
                  <a:cubicBezTo>
                    <a:pt x="7006" y="12639"/>
                    <a:pt x="7081" y="9809"/>
                    <a:pt x="7231" y="7006"/>
                  </a:cubicBezTo>
                  <a:lnTo>
                    <a:pt x="50314" y="50090"/>
                  </a:lnTo>
                  <a:lnTo>
                    <a:pt x="57489" y="50090"/>
                  </a:lnTo>
                  <a:cubicBezTo>
                    <a:pt x="58768" y="54013"/>
                    <a:pt x="60254" y="57843"/>
                    <a:pt x="61935" y="6156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2" name="Freeform: Shape 13491">
              <a:extLst>
                <a:ext uri="{FF2B5EF4-FFF2-40B4-BE49-F238E27FC236}">
                  <a16:creationId xmlns:a16="http://schemas.microsoft.com/office/drawing/2014/main" id="{A4329765-5B33-4057-89BE-526398E98B26}"/>
                </a:ext>
              </a:extLst>
            </p:cNvPr>
            <p:cNvSpPr/>
            <p:nvPr/>
          </p:nvSpPr>
          <p:spPr bwMode="ltGray">
            <a:xfrm>
              <a:off x="2177342" y="3459359"/>
              <a:ext cx="688290" cy="165907"/>
            </a:xfrm>
            <a:custGeom>
              <a:avLst/>
              <a:gdLst>
                <a:gd name="connsiteX0" fmla="*/ 683106 w 688289"/>
                <a:gd name="connsiteY0" fmla="*/ 160470 h 165906"/>
                <a:gd name="connsiteX1" fmla="*/ 666879 w 688289"/>
                <a:gd name="connsiteY1" fmla="*/ 160470 h 165906"/>
                <a:gd name="connsiteX2" fmla="*/ 597163 w 688289"/>
                <a:gd name="connsiteY2" fmla="*/ 90745 h 165906"/>
                <a:gd name="connsiteX3" fmla="*/ 613389 w 688289"/>
                <a:gd name="connsiteY3" fmla="*/ 90745 h 165906"/>
                <a:gd name="connsiteX4" fmla="*/ 683106 w 688289"/>
                <a:gd name="connsiteY4" fmla="*/ 160470 h 165906"/>
                <a:gd name="connsiteX5" fmla="*/ 602133 w 688289"/>
                <a:gd name="connsiteY5" fmla="*/ 79488 h 165906"/>
                <a:gd name="connsiteX6" fmla="*/ 585906 w 688289"/>
                <a:gd name="connsiteY6" fmla="*/ 79488 h 165906"/>
                <a:gd name="connsiteX7" fmla="*/ 524887 w 688289"/>
                <a:gd name="connsiteY7" fmla="*/ 18478 h 165906"/>
                <a:gd name="connsiteX8" fmla="*/ 440401 w 688289"/>
                <a:gd name="connsiteY8" fmla="*/ 18478 h 165906"/>
                <a:gd name="connsiteX9" fmla="*/ 391713 w 688289"/>
                <a:gd name="connsiteY9" fmla="*/ 18478 h 165906"/>
                <a:gd name="connsiteX10" fmla="*/ 7006 w 688289"/>
                <a:gd name="connsiteY10" fmla="*/ 18478 h 165906"/>
                <a:gd name="connsiteX11" fmla="*/ 7006 w 688289"/>
                <a:gd name="connsiteY11" fmla="*/ 7006 h 165906"/>
                <a:gd name="connsiteX12" fmla="*/ 529642 w 688289"/>
                <a:gd name="connsiteY12" fmla="*/ 7006 h 165906"/>
                <a:gd name="connsiteX13" fmla="*/ 602133 w 688289"/>
                <a:gd name="connsiteY13" fmla="*/ 79488 h 16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8289" h="165906">
                  <a:moveTo>
                    <a:pt x="683106" y="160470"/>
                  </a:moveTo>
                  <a:lnTo>
                    <a:pt x="666879" y="160470"/>
                  </a:lnTo>
                  <a:lnTo>
                    <a:pt x="597163" y="90745"/>
                  </a:lnTo>
                  <a:lnTo>
                    <a:pt x="613389" y="90745"/>
                  </a:lnTo>
                  <a:lnTo>
                    <a:pt x="683106" y="160470"/>
                  </a:lnTo>
                  <a:close/>
                  <a:moveTo>
                    <a:pt x="602133" y="79488"/>
                  </a:moveTo>
                  <a:lnTo>
                    <a:pt x="585906" y="79488"/>
                  </a:lnTo>
                  <a:lnTo>
                    <a:pt x="524887" y="18478"/>
                  </a:lnTo>
                  <a:lnTo>
                    <a:pt x="440401" y="18478"/>
                  </a:lnTo>
                  <a:lnTo>
                    <a:pt x="391713" y="18478"/>
                  </a:lnTo>
                  <a:lnTo>
                    <a:pt x="7006" y="18478"/>
                  </a:lnTo>
                  <a:lnTo>
                    <a:pt x="7006" y="7006"/>
                  </a:lnTo>
                  <a:lnTo>
                    <a:pt x="529642" y="7006"/>
                  </a:lnTo>
                  <a:lnTo>
                    <a:pt x="602133" y="7948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3" name="Freeform: Shape 13492">
              <a:extLst>
                <a:ext uri="{FF2B5EF4-FFF2-40B4-BE49-F238E27FC236}">
                  <a16:creationId xmlns:a16="http://schemas.microsoft.com/office/drawing/2014/main" id="{8B6917BC-EBF9-4D55-AB46-9BC677A8B9D8}"/>
                </a:ext>
              </a:extLst>
            </p:cNvPr>
            <p:cNvSpPr/>
            <p:nvPr/>
          </p:nvSpPr>
          <p:spPr bwMode="ltGray">
            <a:xfrm>
              <a:off x="2756242" y="3531840"/>
              <a:ext cx="40356" cy="24662"/>
            </a:xfrm>
            <a:custGeom>
              <a:avLst/>
              <a:gdLst>
                <a:gd name="connsiteX0" fmla="*/ 34489 w 40355"/>
                <a:gd name="connsiteY0" fmla="*/ 18263 h 24661"/>
                <a:gd name="connsiteX1" fmla="*/ 18263 w 40355"/>
                <a:gd name="connsiteY1" fmla="*/ 18263 h 24661"/>
                <a:gd name="connsiteX2" fmla="*/ 7006 w 40355"/>
                <a:gd name="connsiteY2" fmla="*/ 7006 h 24661"/>
                <a:gd name="connsiteX3" fmla="*/ 23233 w 40355"/>
                <a:gd name="connsiteY3" fmla="*/ 7006 h 24661"/>
                <a:gd name="connsiteX4" fmla="*/ 34489 w 40355"/>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24661">
                  <a:moveTo>
                    <a:pt x="34489" y="18263"/>
                  </a:moveTo>
                  <a:lnTo>
                    <a:pt x="18263" y="18263"/>
                  </a:lnTo>
                  <a:lnTo>
                    <a:pt x="7006" y="7006"/>
                  </a:lnTo>
                  <a:lnTo>
                    <a:pt x="23233" y="7006"/>
                  </a:lnTo>
                  <a:lnTo>
                    <a:pt x="34489"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4" name="Freeform: Shape 13493">
              <a:extLst>
                <a:ext uri="{FF2B5EF4-FFF2-40B4-BE49-F238E27FC236}">
                  <a16:creationId xmlns:a16="http://schemas.microsoft.com/office/drawing/2014/main" id="{5964A6E6-12D8-4BD0-9FDB-15A1EC4EC549}"/>
                </a:ext>
              </a:extLst>
            </p:cNvPr>
            <p:cNvSpPr/>
            <p:nvPr/>
          </p:nvSpPr>
          <p:spPr bwMode="ltGray">
            <a:xfrm>
              <a:off x="2837215" y="3612823"/>
              <a:ext cx="47082" cy="29146"/>
            </a:xfrm>
            <a:custGeom>
              <a:avLst/>
              <a:gdLst>
                <a:gd name="connsiteX0" fmla="*/ 40113 w 47081"/>
                <a:gd name="connsiteY0" fmla="*/ 23887 h 29145"/>
                <a:gd name="connsiteX1" fmla="*/ 23887 w 47081"/>
                <a:gd name="connsiteY1" fmla="*/ 23887 h 29145"/>
                <a:gd name="connsiteX2" fmla="*/ 7006 w 47081"/>
                <a:gd name="connsiteY2" fmla="*/ 7006 h 29145"/>
                <a:gd name="connsiteX3" fmla="*/ 23233 w 47081"/>
                <a:gd name="connsiteY3" fmla="*/ 7006 h 29145"/>
                <a:gd name="connsiteX4" fmla="*/ 40113 w 47081"/>
                <a:gd name="connsiteY4" fmla="*/ 23887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40113" y="23887"/>
                  </a:moveTo>
                  <a:lnTo>
                    <a:pt x="23887" y="23887"/>
                  </a:lnTo>
                  <a:lnTo>
                    <a:pt x="7006" y="7006"/>
                  </a:lnTo>
                  <a:lnTo>
                    <a:pt x="23233" y="7006"/>
                  </a:lnTo>
                  <a:lnTo>
                    <a:pt x="40113"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5" name="Freeform: Shape 13494">
              <a:extLst>
                <a:ext uri="{FF2B5EF4-FFF2-40B4-BE49-F238E27FC236}">
                  <a16:creationId xmlns:a16="http://schemas.microsoft.com/office/drawing/2014/main" id="{8307C446-87C2-43A7-AA7F-881016A7667D}"/>
                </a:ext>
              </a:extLst>
            </p:cNvPr>
            <p:cNvSpPr/>
            <p:nvPr/>
          </p:nvSpPr>
          <p:spPr bwMode="ltGray">
            <a:xfrm>
              <a:off x="3756235" y="3319150"/>
              <a:ext cx="33630" cy="26904"/>
            </a:xfrm>
            <a:custGeom>
              <a:avLst/>
              <a:gdLst>
                <a:gd name="connsiteX0" fmla="*/ 23233 w 33629"/>
                <a:gd name="connsiteY0" fmla="*/ 20561 h 26903"/>
                <a:gd name="connsiteX1" fmla="*/ 7006 w 33629"/>
                <a:gd name="connsiteY1" fmla="*/ 20561 h 26903"/>
                <a:gd name="connsiteX2" fmla="*/ 20561 w 33629"/>
                <a:gd name="connsiteY2" fmla="*/ 7006 h 26903"/>
                <a:gd name="connsiteX3" fmla="*/ 28679 w 33629"/>
                <a:gd name="connsiteY3" fmla="*/ 15115 h 26903"/>
                <a:gd name="connsiteX4" fmla="*/ 23233 w 33629"/>
                <a:gd name="connsiteY4" fmla="*/ 20561 h 26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26903">
                  <a:moveTo>
                    <a:pt x="23233" y="20561"/>
                  </a:moveTo>
                  <a:lnTo>
                    <a:pt x="7006" y="20561"/>
                  </a:lnTo>
                  <a:lnTo>
                    <a:pt x="20561" y="7006"/>
                  </a:lnTo>
                  <a:lnTo>
                    <a:pt x="28679" y="15115"/>
                  </a:lnTo>
                  <a:lnTo>
                    <a:pt x="23233" y="2056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6" name="Freeform: Shape 13495">
              <a:extLst>
                <a:ext uri="{FF2B5EF4-FFF2-40B4-BE49-F238E27FC236}">
                  <a16:creationId xmlns:a16="http://schemas.microsoft.com/office/drawing/2014/main" id="{901AAD4A-D391-4B4B-84B7-10660CA80E4E}"/>
                </a:ext>
              </a:extLst>
            </p:cNvPr>
            <p:cNvSpPr/>
            <p:nvPr/>
          </p:nvSpPr>
          <p:spPr bwMode="ltGray">
            <a:xfrm>
              <a:off x="8569643" y="3116232"/>
              <a:ext cx="968538" cy="58292"/>
            </a:xfrm>
            <a:custGeom>
              <a:avLst/>
              <a:gdLst>
                <a:gd name="connsiteX0" fmla="*/ 7006 w 968538"/>
                <a:gd name="connsiteY0" fmla="*/ 7006 h 58291"/>
                <a:gd name="connsiteX1" fmla="*/ 963327 w 968538"/>
                <a:gd name="connsiteY1" fmla="*/ 7006 h 58291"/>
                <a:gd name="connsiteX2" fmla="*/ 963327 w 968538"/>
                <a:gd name="connsiteY2" fmla="*/ 52911 h 58291"/>
                <a:gd name="connsiteX3" fmla="*/ 7006 w 968538"/>
                <a:gd name="connsiteY3" fmla="*/ 52911 h 58291"/>
              </a:gdLst>
              <a:ahLst/>
              <a:cxnLst>
                <a:cxn ang="0">
                  <a:pos x="connsiteX0" y="connsiteY0"/>
                </a:cxn>
                <a:cxn ang="0">
                  <a:pos x="connsiteX1" y="connsiteY1"/>
                </a:cxn>
                <a:cxn ang="0">
                  <a:pos x="connsiteX2" y="connsiteY2"/>
                </a:cxn>
                <a:cxn ang="0">
                  <a:pos x="connsiteX3" y="connsiteY3"/>
                </a:cxn>
              </a:cxnLst>
              <a:rect l="l" t="t" r="r" b="b"/>
              <a:pathLst>
                <a:path w="968538" h="58291">
                  <a:moveTo>
                    <a:pt x="7006" y="7006"/>
                  </a:moveTo>
                  <a:lnTo>
                    <a:pt x="963327" y="7006"/>
                  </a:lnTo>
                  <a:lnTo>
                    <a:pt x="963327"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7" name="Freeform: Shape 13496">
              <a:extLst>
                <a:ext uri="{FF2B5EF4-FFF2-40B4-BE49-F238E27FC236}">
                  <a16:creationId xmlns:a16="http://schemas.microsoft.com/office/drawing/2014/main" id="{3F132652-5F5E-403D-A8F2-737B3F6C95D7}"/>
                </a:ext>
              </a:extLst>
            </p:cNvPr>
            <p:cNvSpPr/>
            <p:nvPr/>
          </p:nvSpPr>
          <p:spPr bwMode="ltGray">
            <a:xfrm>
              <a:off x="9384437" y="4000313"/>
              <a:ext cx="360960" cy="47082"/>
            </a:xfrm>
            <a:custGeom>
              <a:avLst/>
              <a:gdLst>
                <a:gd name="connsiteX0" fmla="*/ 354141 w 360959"/>
                <a:gd name="connsiteY0" fmla="*/ 41430 h 47081"/>
                <a:gd name="connsiteX1" fmla="*/ 7006 w 360959"/>
                <a:gd name="connsiteY1" fmla="*/ 41430 h 47081"/>
                <a:gd name="connsiteX2" fmla="*/ 7006 w 360959"/>
                <a:gd name="connsiteY2" fmla="*/ 24223 h 47081"/>
                <a:gd name="connsiteX3" fmla="*/ 7006 w 360959"/>
                <a:gd name="connsiteY3" fmla="*/ 7006 h 47081"/>
                <a:gd name="connsiteX4" fmla="*/ 354141 w 360959"/>
                <a:gd name="connsiteY4" fmla="*/ 7006 h 47081"/>
                <a:gd name="connsiteX5" fmla="*/ 354141 w 360959"/>
                <a:gd name="connsiteY5"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959" h="47081">
                  <a:moveTo>
                    <a:pt x="354141" y="41430"/>
                  </a:moveTo>
                  <a:lnTo>
                    <a:pt x="7006" y="41430"/>
                  </a:lnTo>
                  <a:lnTo>
                    <a:pt x="7006" y="24223"/>
                  </a:lnTo>
                  <a:lnTo>
                    <a:pt x="7006" y="7006"/>
                  </a:lnTo>
                  <a:lnTo>
                    <a:pt x="354141" y="7006"/>
                  </a:lnTo>
                  <a:lnTo>
                    <a:pt x="354141"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8" name="Freeform: Shape 13497">
              <a:extLst>
                <a:ext uri="{FF2B5EF4-FFF2-40B4-BE49-F238E27FC236}">
                  <a16:creationId xmlns:a16="http://schemas.microsoft.com/office/drawing/2014/main" id="{179C047B-12F3-4120-A009-7D1BBE145FE8}"/>
                </a:ext>
              </a:extLst>
            </p:cNvPr>
            <p:cNvSpPr/>
            <p:nvPr/>
          </p:nvSpPr>
          <p:spPr bwMode="ltGray">
            <a:xfrm>
              <a:off x="5673153" y="2590981"/>
              <a:ext cx="3661164" cy="354234"/>
            </a:xfrm>
            <a:custGeom>
              <a:avLst/>
              <a:gdLst>
                <a:gd name="connsiteX0" fmla="*/ 3656290 w 3661163"/>
                <a:gd name="connsiteY0" fmla="*/ 349386 h 354233"/>
                <a:gd name="connsiteX1" fmla="*/ 1322203 w 3661163"/>
                <a:gd name="connsiteY1" fmla="*/ 349386 h 354233"/>
                <a:gd name="connsiteX2" fmla="*/ 1165956 w 3661163"/>
                <a:gd name="connsiteY2" fmla="*/ 193147 h 354233"/>
                <a:gd name="connsiteX3" fmla="*/ 1214644 w 3661163"/>
                <a:gd name="connsiteY3" fmla="*/ 193147 h 354233"/>
                <a:gd name="connsiteX4" fmla="*/ 1336459 w 3661163"/>
                <a:gd name="connsiteY4" fmla="*/ 314953 h 354233"/>
                <a:gd name="connsiteX5" fmla="*/ 3656290 w 3661163"/>
                <a:gd name="connsiteY5" fmla="*/ 314953 h 354233"/>
                <a:gd name="connsiteX6" fmla="*/ 3656290 w 3661163"/>
                <a:gd name="connsiteY6" fmla="*/ 349386 h 354233"/>
                <a:gd name="connsiteX7" fmla="*/ 1191701 w 3661163"/>
                <a:gd name="connsiteY7" fmla="*/ 170195 h 354233"/>
                <a:gd name="connsiteX8" fmla="*/ 1143012 w 3661163"/>
                <a:gd name="connsiteY8" fmla="*/ 170195 h 354233"/>
                <a:gd name="connsiteX9" fmla="*/ 1014238 w 3661163"/>
                <a:gd name="connsiteY9" fmla="*/ 41439 h 354233"/>
                <a:gd name="connsiteX10" fmla="*/ 917104 w 3661163"/>
                <a:gd name="connsiteY10" fmla="*/ 41439 h 354233"/>
                <a:gd name="connsiteX11" fmla="*/ 882680 w 3661163"/>
                <a:gd name="connsiteY11" fmla="*/ 7006 h 354233"/>
                <a:gd name="connsiteX12" fmla="*/ 1028512 w 3661163"/>
                <a:gd name="connsiteY12" fmla="*/ 7006 h 354233"/>
                <a:gd name="connsiteX13" fmla="*/ 1191701 w 3661163"/>
                <a:gd name="connsiteY13" fmla="*/ 170195 h 354233"/>
                <a:gd name="connsiteX14" fmla="*/ 884651 w 3661163"/>
                <a:gd name="connsiteY14" fmla="*/ 41439 h 354233"/>
                <a:gd name="connsiteX15" fmla="*/ 810489 w 3661163"/>
                <a:gd name="connsiteY15" fmla="*/ 41439 h 354233"/>
                <a:gd name="connsiteX16" fmla="*/ 844921 w 3661163"/>
                <a:gd name="connsiteY16" fmla="*/ 7006 h 354233"/>
                <a:gd name="connsiteX17" fmla="*/ 850227 w 3661163"/>
                <a:gd name="connsiteY17" fmla="*/ 7006 h 354233"/>
                <a:gd name="connsiteX18" fmla="*/ 884651 w 3661163"/>
                <a:gd name="connsiteY18" fmla="*/ 41439 h 354233"/>
                <a:gd name="connsiteX19" fmla="*/ 794252 w 3661163"/>
                <a:gd name="connsiteY19" fmla="*/ 41439 h 354233"/>
                <a:gd name="connsiteX20" fmla="*/ 7006 w 3661163"/>
                <a:gd name="connsiteY20" fmla="*/ 41439 h 354233"/>
                <a:gd name="connsiteX21" fmla="*/ 7006 w 3661163"/>
                <a:gd name="connsiteY21" fmla="*/ 7006 h 354233"/>
                <a:gd name="connsiteX22" fmla="*/ 828686 w 3661163"/>
                <a:gd name="connsiteY22" fmla="*/ 7006 h 354233"/>
                <a:gd name="connsiteX23" fmla="*/ 794252 w 3661163"/>
                <a:gd name="connsiteY23" fmla="*/ 41439 h 35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61163" h="354233">
                  <a:moveTo>
                    <a:pt x="3656290" y="349386"/>
                  </a:moveTo>
                  <a:lnTo>
                    <a:pt x="1322203" y="349386"/>
                  </a:lnTo>
                  <a:lnTo>
                    <a:pt x="1165956" y="193147"/>
                  </a:lnTo>
                  <a:lnTo>
                    <a:pt x="1214644" y="193147"/>
                  </a:lnTo>
                  <a:lnTo>
                    <a:pt x="1336459" y="314953"/>
                  </a:lnTo>
                  <a:lnTo>
                    <a:pt x="3656290" y="314953"/>
                  </a:lnTo>
                  <a:lnTo>
                    <a:pt x="3656290" y="349386"/>
                  </a:lnTo>
                  <a:close/>
                  <a:moveTo>
                    <a:pt x="1191701" y="170195"/>
                  </a:moveTo>
                  <a:lnTo>
                    <a:pt x="1143012" y="170195"/>
                  </a:lnTo>
                  <a:lnTo>
                    <a:pt x="1014238" y="41439"/>
                  </a:lnTo>
                  <a:lnTo>
                    <a:pt x="917104" y="41439"/>
                  </a:lnTo>
                  <a:lnTo>
                    <a:pt x="882680" y="7006"/>
                  </a:lnTo>
                  <a:lnTo>
                    <a:pt x="1028512" y="7006"/>
                  </a:lnTo>
                  <a:lnTo>
                    <a:pt x="1191701" y="170195"/>
                  </a:lnTo>
                  <a:close/>
                  <a:moveTo>
                    <a:pt x="884651" y="41439"/>
                  </a:moveTo>
                  <a:lnTo>
                    <a:pt x="810489" y="41439"/>
                  </a:lnTo>
                  <a:lnTo>
                    <a:pt x="844921" y="7006"/>
                  </a:lnTo>
                  <a:lnTo>
                    <a:pt x="850227" y="7006"/>
                  </a:lnTo>
                  <a:lnTo>
                    <a:pt x="884651" y="41439"/>
                  </a:lnTo>
                  <a:close/>
                  <a:moveTo>
                    <a:pt x="794252" y="41439"/>
                  </a:moveTo>
                  <a:lnTo>
                    <a:pt x="7006" y="41439"/>
                  </a:lnTo>
                  <a:lnTo>
                    <a:pt x="7006" y="7006"/>
                  </a:lnTo>
                  <a:lnTo>
                    <a:pt x="828686" y="7006"/>
                  </a:lnTo>
                  <a:lnTo>
                    <a:pt x="794252"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9" name="Freeform: Shape 13498">
              <a:extLst>
                <a:ext uri="{FF2B5EF4-FFF2-40B4-BE49-F238E27FC236}">
                  <a16:creationId xmlns:a16="http://schemas.microsoft.com/office/drawing/2014/main" id="{6A11BF2A-6EB5-4A18-9CA6-73299EA71496}"/>
                </a:ext>
              </a:extLst>
            </p:cNvPr>
            <p:cNvSpPr/>
            <p:nvPr/>
          </p:nvSpPr>
          <p:spPr bwMode="ltGray">
            <a:xfrm>
              <a:off x="5436605" y="2270115"/>
              <a:ext cx="2246470" cy="511173"/>
            </a:xfrm>
            <a:custGeom>
              <a:avLst/>
              <a:gdLst>
                <a:gd name="connsiteX0" fmla="*/ 904539 w 2246470"/>
                <a:gd name="connsiteY0" fmla="*/ 504802 h 511172"/>
                <a:gd name="connsiteX1" fmla="*/ 7006 w 2246470"/>
                <a:gd name="connsiteY1" fmla="*/ 504802 h 511172"/>
                <a:gd name="connsiteX2" fmla="*/ 7006 w 2246470"/>
                <a:gd name="connsiteY2" fmla="*/ 493322 h 511172"/>
                <a:gd name="connsiteX3" fmla="*/ 899785 w 2246470"/>
                <a:gd name="connsiteY3" fmla="*/ 493322 h 511172"/>
                <a:gd name="connsiteX4" fmla="*/ 1030800 w 2246470"/>
                <a:gd name="connsiteY4" fmla="*/ 362305 h 511172"/>
                <a:gd name="connsiteX5" fmla="*/ 1065234 w 2246470"/>
                <a:gd name="connsiteY5" fmla="*/ 327872 h 511172"/>
                <a:gd name="connsiteX6" fmla="*/ 1076005 w 2246470"/>
                <a:gd name="connsiteY6" fmla="*/ 317101 h 511172"/>
                <a:gd name="connsiteX7" fmla="*/ 1084123 w 2246470"/>
                <a:gd name="connsiteY7" fmla="*/ 325219 h 511172"/>
                <a:gd name="connsiteX8" fmla="*/ 1081470 w 2246470"/>
                <a:gd name="connsiteY8" fmla="*/ 327872 h 511172"/>
                <a:gd name="connsiteX9" fmla="*/ 1047037 w 2246470"/>
                <a:gd name="connsiteY9" fmla="*/ 362305 h 511172"/>
                <a:gd name="connsiteX10" fmla="*/ 904539 w 2246470"/>
                <a:gd name="connsiteY10" fmla="*/ 504802 h 511172"/>
                <a:gd name="connsiteX11" fmla="*/ 1100349 w 2246470"/>
                <a:gd name="connsiteY11" fmla="*/ 308993 h 511172"/>
                <a:gd name="connsiteX12" fmla="*/ 1092231 w 2246470"/>
                <a:gd name="connsiteY12" fmla="*/ 300875 h 511172"/>
                <a:gd name="connsiteX13" fmla="*/ 1386100 w 2246470"/>
                <a:gd name="connsiteY13" fmla="*/ 7006 h 511172"/>
                <a:gd name="connsiteX14" fmla="*/ 2240325 w 2246470"/>
                <a:gd name="connsiteY14" fmla="*/ 7006 h 511172"/>
                <a:gd name="connsiteX15" fmla="*/ 2240325 w 2246470"/>
                <a:gd name="connsiteY15" fmla="*/ 18487 h 511172"/>
                <a:gd name="connsiteX16" fmla="*/ 1390845 w 2246470"/>
                <a:gd name="connsiteY16" fmla="*/ 18487 h 511172"/>
                <a:gd name="connsiteX17" fmla="*/ 1100349 w 2246470"/>
                <a:gd name="connsiteY17" fmla="*/ 308993 h 51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6470" h="511172">
                  <a:moveTo>
                    <a:pt x="904539" y="504802"/>
                  </a:moveTo>
                  <a:lnTo>
                    <a:pt x="7006" y="504802"/>
                  </a:lnTo>
                  <a:lnTo>
                    <a:pt x="7006" y="493322"/>
                  </a:lnTo>
                  <a:lnTo>
                    <a:pt x="899785" y="493322"/>
                  </a:lnTo>
                  <a:lnTo>
                    <a:pt x="1030800" y="362305"/>
                  </a:lnTo>
                  <a:lnTo>
                    <a:pt x="1065234" y="327872"/>
                  </a:lnTo>
                  <a:lnTo>
                    <a:pt x="1076005" y="317101"/>
                  </a:lnTo>
                  <a:lnTo>
                    <a:pt x="1084123" y="325219"/>
                  </a:lnTo>
                  <a:lnTo>
                    <a:pt x="1081470" y="327872"/>
                  </a:lnTo>
                  <a:lnTo>
                    <a:pt x="1047037" y="362305"/>
                  </a:lnTo>
                  <a:lnTo>
                    <a:pt x="904539" y="504802"/>
                  </a:lnTo>
                  <a:close/>
                  <a:moveTo>
                    <a:pt x="1100349" y="308993"/>
                  </a:moveTo>
                  <a:lnTo>
                    <a:pt x="1092231" y="300875"/>
                  </a:lnTo>
                  <a:lnTo>
                    <a:pt x="1386100" y="7006"/>
                  </a:lnTo>
                  <a:lnTo>
                    <a:pt x="2240325" y="7006"/>
                  </a:lnTo>
                  <a:lnTo>
                    <a:pt x="2240325" y="18487"/>
                  </a:lnTo>
                  <a:lnTo>
                    <a:pt x="1390845" y="18487"/>
                  </a:lnTo>
                  <a:lnTo>
                    <a:pt x="1100349" y="30899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0" name="Freeform: Shape 13499">
              <a:extLst>
                <a:ext uri="{FF2B5EF4-FFF2-40B4-BE49-F238E27FC236}">
                  <a16:creationId xmlns:a16="http://schemas.microsoft.com/office/drawing/2014/main" id="{E604EEC5-A6FE-41B0-8EEF-A08AC7B7C70B}"/>
                </a:ext>
              </a:extLst>
            </p:cNvPr>
            <p:cNvSpPr/>
            <p:nvPr/>
          </p:nvSpPr>
          <p:spPr bwMode="ltGray">
            <a:xfrm>
              <a:off x="5608752" y="2344241"/>
              <a:ext cx="3181379" cy="446155"/>
            </a:xfrm>
            <a:custGeom>
              <a:avLst/>
              <a:gdLst>
                <a:gd name="connsiteX0" fmla="*/ 3174468 w 3181378"/>
                <a:gd name="connsiteY0" fmla="*/ 439887 h 446155"/>
                <a:gd name="connsiteX1" fmla="*/ 1279045 w 3181378"/>
                <a:gd name="connsiteY1" fmla="*/ 439887 h 446155"/>
                <a:gd name="connsiteX2" fmla="*/ 1230357 w 3181378"/>
                <a:gd name="connsiteY2" fmla="*/ 439887 h 446155"/>
                <a:gd name="connsiteX3" fmla="*/ 1100770 w 3181378"/>
                <a:gd name="connsiteY3" fmla="*/ 439887 h 446155"/>
                <a:gd name="connsiteX4" fmla="*/ 949052 w 3181378"/>
                <a:gd name="connsiteY4" fmla="*/ 288179 h 446155"/>
                <a:gd name="connsiteX5" fmla="*/ 914628 w 3181378"/>
                <a:gd name="connsiteY5" fmla="*/ 253746 h 446155"/>
                <a:gd name="connsiteX6" fmla="*/ 911975 w 3181378"/>
                <a:gd name="connsiteY6" fmla="*/ 251093 h 446155"/>
                <a:gd name="connsiteX7" fmla="*/ 903857 w 3181378"/>
                <a:gd name="connsiteY7" fmla="*/ 242975 h 446155"/>
                <a:gd name="connsiteX8" fmla="*/ 690841 w 3181378"/>
                <a:gd name="connsiteY8" fmla="*/ 29959 h 446155"/>
                <a:gd name="connsiteX9" fmla="*/ 7006 w 3181378"/>
                <a:gd name="connsiteY9" fmla="*/ 29959 h 446155"/>
                <a:gd name="connsiteX10" fmla="*/ 7006 w 3181378"/>
                <a:gd name="connsiteY10" fmla="*/ 7006 h 446155"/>
                <a:gd name="connsiteX11" fmla="*/ 700332 w 3181378"/>
                <a:gd name="connsiteY11" fmla="*/ 7006 h 446155"/>
                <a:gd name="connsiteX12" fmla="*/ 920084 w 3181378"/>
                <a:gd name="connsiteY12" fmla="*/ 226749 h 446155"/>
                <a:gd name="connsiteX13" fmla="*/ 928202 w 3181378"/>
                <a:gd name="connsiteY13" fmla="*/ 234867 h 446155"/>
                <a:gd name="connsiteX14" fmla="*/ 947081 w 3181378"/>
                <a:gd name="connsiteY14" fmla="*/ 253746 h 446155"/>
                <a:gd name="connsiteX15" fmla="*/ 981505 w 3181378"/>
                <a:gd name="connsiteY15" fmla="*/ 288179 h 446155"/>
                <a:gd name="connsiteX16" fmla="*/ 1110270 w 3181378"/>
                <a:gd name="connsiteY16" fmla="*/ 416935 h 446155"/>
                <a:gd name="connsiteX17" fmla="*/ 3174468 w 3181378"/>
                <a:gd name="connsiteY17" fmla="*/ 416935 h 446155"/>
                <a:gd name="connsiteX18" fmla="*/ 3174468 w 3181378"/>
                <a:gd name="connsiteY18" fmla="*/ 439887 h 44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1378" h="446155">
                  <a:moveTo>
                    <a:pt x="3174468" y="439887"/>
                  </a:moveTo>
                  <a:lnTo>
                    <a:pt x="1279045" y="439887"/>
                  </a:lnTo>
                  <a:lnTo>
                    <a:pt x="1230357" y="439887"/>
                  </a:lnTo>
                  <a:lnTo>
                    <a:pt x="1100770" y="439887"/>
                  </a:lnTo>
                  <a:lnTo>
                    <a:pt x="949052" y="288179"/>
                  </a:lnTo>
                  <a:lnTo>
                    <a:pt x="914628" y="253746"/>
                  </a:lnTo>
                  <a:lnTo>
                    <a:pt x="911975" y="251093"/>
                  </a:lnTo>
                  <a:lnTo>
                    <a:pt x="903857" y="242975"/>
                  </a:lnTo>
                  <a:lnTo>
                    <a:pt x="690841" y="29959"/>
                  </a:lnTo>
                  <a:lnTo>
                    <a:pt x="7006" y="29959"/>
                  </a:lnTo>
                  <a:lnTo>
                    <a:pt x="7006" y="7006"/>
                  </a:lnTo>
                  <a:lnTo>
                    <a:pt x="700332" y="7006"/>
                  </a:lnTo>
                  <a:lnTo>
                    <a:pt x="920084" y="226749"/>
                  </a:lnTo>
                  <a:lnTo>
                    <a:pt x="928202" y="234867"/>
                  </a:lnTo>
                  <a:lnTo>
                    <a:pt x="947081" y="253746"/>
                  </a:lnTo>
                  <a:lnTo>
                    <a:pt x="981505" y="288179"/>
                  </a:lnTo>
                  <a:lnTo>
                    <a:pt x="1110270" y="416935"/>
                  </a:lnTo>
                  <a:lnTo>
                    <a:pt x="3174468" y="416935"/>
                  </a:lnTo>
                  <a:lnTo>
                    <a:pt x="3174468" y="4398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1" name="Freeform: Shape 13500">
              <a:extLst>
                <a:ext uri="{FF2B5EF4-FFF2-40B4-BE49-F238E27FC236}">
                  <a16:creationId xmlns:a16="http://schemas.microsoft.com/office/drawing/2014/main" id="{89A74766-C73D-4AFC-AC57-5337F87BA493}"/>
                </a:ext>
              </a:extLst>
            </p:cNvPr>
            <p:cNvSpPr/>
            <p:nvPr/>
          </p:nvSpPr>
          <p:spPr bwMode="ltGray">
            <a:xfrm>
              <a:off x="7389414" y="4588788"/>
              <a:ext cx="2354086" cy="199537"/>
            </a:xfrm>
            <a:custGeom>
              <a:avLst/>
              <a:gdLst>
                <a:gd name="connsiteX0" fmla="*/ 506745 w 2354085"/>
                <a:gd name="connsiteY0" fmla="*/ 193278 h 199536"/>
                <a:gd name="connsiteX1" fmla="*/ 7006 w 2354085"/>
                <a:gd name="connsiteY1" fmla="*/ 193278 h 199536"/>
                <a:gd name="connsiteX2" fmla="*/ 7006 w 2354085"/>
                <a:gd name="connsiteY2" fmla="*/ 176024 h 199536"/>
                <a:gd name="connsiteX3" fmla="*/ 499590 w 2354085"/>
                <a:gd name="connsiteY3" fmla="*/ 176024 h 199536"/>
                <a:gd name="connsiteX4" fmla="*/ 668608 w 2354085"/>
                <a:gd name="connsiteY4" fmla="*/ 7006 h 199536"/>
                <a:gd name="connsiteX5" fmla="*/ 2349165 w 2354085"/>
                <a:gd name="connsiteY5" fmla="*/ 7006 h 199536"/>
                <a:gd name="connsiteX6" fmla="*/ 2349165 w 2354085"/>
                <a:gd name="connsiteY6" fmla="*/ 24269 h 199536"/>
                <a:gd name="connsiteX7" fmla="*/ 675763 w 2354085"/>
                <a:gd name="connsiteY7" fmla="*/ 24269 h 199536"/>
                <a:gd name="connsiteX8" fmla="*/ 506745 w 2354085"/>
                <a:gd name="connsiteY8" fmla="*/ 193278 h 19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4085" h="199536">
                  <a:moveTo>
                    <a:pt x="506745" y="193278"/>
                  </a:moveTo>
                  <a:lnTo>
                    <a:pt x="7006" y="193278"/>
                  </a:lnTo>
                  <a:lnTo>
                    <a:pt x="7006" y="176024"/>
                  </a:lnTo>
                  <a:lnTo>
                    <a:pt x="499590" y="176024"/>
                  </a:lnTo>
                  <a:lnTo>
                    <a:pt x="668608" y="7006"/>
                  </a:lnTo>
                  <a:lnTo>
                    <a:pt x="2349165" y="7006"/>
                  </a:lnTo>
                  <a:lnTo>
                    <a:pt x="2349165" y="24269"/>
                  </a:lnTo>
                  <a:lnTo>
                    <a:pt x="675763" y="24269"/>
                  </a:lnTo>
                  <a:lnTo>
                    <a:pt x="506745" y="1932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2" name="Freeform: Shape 13501">
              <a:extLst>
                <a:ext uri="{FF2B5EF4-FFF2-40B4-BE49-F238E27FC236}">
                  <a16:creationId xmlns:a16="http://schemas.microsoft.com/office/drawing/2014/main" id="{95466864-B48E-44C5-9F67-108B926D944A}"/>
                </a:ext>
              </a:extLst>
            </p:cNvPr>
            <p:cNvSpPr/>
            <p:nvPr/>
          </p:nvSpPr>
          <p:spPr bwMode="ltGray">
            <a:xfrm>
              <a:off x="8198566" y="4749221"/>
              <a:ext cx="1275690" cy="47082"/>
            </a:xfrm>
            <a:custGeom>
              <a:avLst/>
              <a:gdLst>
                <a:gd name="connsiteX0" fmla="*/ 7006 w 1275690"/>
                <a:gd name="connsiteY0" fmla="*/ 7006 h 47081"/>
                <a:gd name="connsiteX1" fmla="*/ 1269386 w 1275690"/>
                <a:gd name="connsiteY1" fmla="*/ 7006 h 47081"/>
                <a:gd name="connsiteX2" fmla="*/ 1269386 w 1275690"/>
                <a:gd name="connsiteY2" fmla="*/ 41430 h 47081"/>
                <a:gd name="connsiteX3" fmla="*/ 7006 w 1275690"/>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275690" h="47081">
                  <a:moveTo>
                    <a:pt x="7006" y="7006"/>
                  </a:moveTo>
                  <a:lnTo>
                    <a:pt x="1269386" y="7006"/>
                  </a:lnTo>
                  <a:lnTo>
                    <a:pt x="1269386"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3" name="Freeform: Shape 13502">
              <a:extLst>
                <a:ext uri="{FF2B5EF4-FFF2-40B4-BE49-F238E27FC236}">
                  <a16:creationId xmlns:a16="http://schemas.microsoft.com/office/drawing/2014/main" id="{F903462F-FBBF-43B3-989A-C8C91986098C}"/>
                </a:ext>
              </a:extLst>
            </p:cNvPr>
            <p:cNvSpPr/>
            <p:nvPr/>
          </p:nvSpPr>
          <p:spPr bwMode="ltGray">
            <a:xfrm>
              <a:off x="3562144" y="2063077"/>
              <a:ext cx="717436" cy="24662"/>
            </a:xfrm>
            <a:custGeom>
              <a:avLst/>
              <a:gdLst>
                <a:gd name="connsiteX0" fmla="*/ 710888 w 717435"/>
                <a:gd name="connsiteY0" fmla="*/ 18478 h 24661"/>
                <a:gd name="connsiteX1" fmla="*/ 390003 w 717435"/>
                <a:gd name="connsiteY1" fmla="*/ 18478 h 24661"/>
                <a:gd name="connsiteX2" fmla="*/ 401475 w 717435"/>
                <a:gd name="connsiteY2" fmla="*/ 7006 h 24661"/>
                <a:gd name="connsiteX3" fmla="*/ 710888 w 717435"/>
                <a:gd name="connsiteY3" fmla="*/ 7006 h 24661"/>
                <a:gd name="connsiteX4" fmla="*/ 710888 w 717435"/>
                <a:gd name="connsiteY4" fmla="*/ 18478 h 24661"/>
                <a:gd name="connsiteX5" fmla="*/ 373777 w 717435"/>
                <a:gd name="connsiteY5" fmla="*/ 18478 h 24661"/>
                <a:gd name="connsiteX6" fmla="*/ 7006 w 717435"/>
                <a:gd name="connsiteY6" fmla="*/ 18478 h 24661"/>
                <a:gd name="connsiteX7" fmla="*/ 7006 w 717435"/>
                <a:gd name="connsiteY7" fmla="*/ 7006 h 24661"/>
                <a:gd name="connsiteX8" fmla="*/ 385248 w 717435"/>
                <a:gd name="connsiteY8" fmla="*/ 7006 h 24661"/>
                <a:gd name="connsiteX9" fmla="*/ 373777 w 717435"/>
                <a:gd name="connsiteY9" fmla="*/ 18478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35" h="24661">
                  <a:moveTo>
                    <a:pt x="710888" y="18478"/>
                  </a:moveTo>
                  <a:lnTo>
                    <a:pt x="390003" y="18478"/>
                  </a:lnTo>
                  <a:lnTo>
                    <a:pt x="401475" y="7006"/>
                  </a:lnTo>
                  <a:lnTo>
                    <a:pt x="710888" y="7006"/>
                  </a:lnTo>
                  <a:lnTo>
                    <a:pt x="710888" y="18478"/>
                  </a:lnTo>
                  <a:close/>
                  <a:moveTo>
                    <a:pt x="373777" y="18478"/>
                  </a:moveTo>
                  <a:lnTo>
                    <a:pt x="7006" y="18478"/>
                  </a:lnTo>
                  <a:lnTo>
                    <a:pt x="7006" y="7006"/>
                  </a:lnTo>
                  <a:lnTo>
                    <a:pt x="385248" y="7006"/>
                  </a:lnTo>
                  <a:lnTo>
                    <a:pt x="37377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4" name="Freeform: Shape 13503">
              <a:extLst>
                <a:ext uri="{FF2B5EF4-FFF2-40B4-BE49-F238E27FC236}">
                  <a16:creationId xmlns:a16="http://schemas.microsoft.com/office/drawing/2014/main" id="{848C8C04-F858-478D-AEB4-14436A63F2D2}"/>
                </a:ext>
              </a:extLst>
            </p:cNvPr>
            <p:cNvSpPr/>
            <p:nvPr/>
          </p:nvSpPr>
          <p:spPr bwMode="ltGray">
            <a:xfrm>
              <a:off x="5126752" y="2958228"/>
              <a:ext cx="80712" cy="24662"/>
            </a:xfrm>
            <a:custGeom>
              <a:avLst/>
              <a:gdLst>
                <a:gd name="connsiteX0" fmla="*/ 7006 w 80711"/>
                <a:gd name="connsiteY0" fmla="*/ 7006 h 24661"/>
                <a:gd name="connsiteX1" fmla="*/ 75863 w 80711"/>
                <a:gd name="connsiteY1" fmla="*/ 7006 h 24661"/>
                <a:gd name="connsiteX2" fmla="*/ 7586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63" y="7006"/>
                  </a:lnTo>
                  <a:lnTo>
                    <a:pt x="7586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5" name="Freeform: Shape 13504">
              <a:extLst>
                <a:ext uri="{FF2B5EF4-FFF2-40B4-BE49-F238E27FC236}">
                  <a16:creationId xmlns:a16="http://schemas.microsoft.com/office/drawing/2014/main" id="{1A5C43CA-62B1-450D-81FA-1D955A35E8F0}"/>
                </a:ext>
              </a:extLst>
            </p:cNvPr>
            <p:cNvSpPr/>
            <p:nvPr/>
          </p:nvSpPr>
          <p:spPr bwMode="ltGray">
            <a:xfrm>
              <a:off x="6463566"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6" name="Freeform: Shape 13505">
              <a:extLst>
                <a:ext uri="{FF2B5EF4-FFF2-40B4-BE49-F238E27FC236}">
                  <a16:creationId xmlns:a16="http://schemas.microsoft.com/office/drawing/2014/main" id="{FA735DCF-094E-466F-A832-16E2761B6CBC}"/>
                </a:ext>
              </a:extLst>
            </p:cNvPr>
            <p:cNvSpPr/>
            <p:nvPr/>
          </p:nvSpPr>
          <p:spPr bwMode="ltGray">
            <a:xfrm>
              <a:off x="5336490"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7" name="Freeform: Shape 13506">
              <a:extLst>
                <a:ext uri="{FF2B5EF4-FFF2-40B4-BE49-F238E27FC236}">
                  <a16:creationId xmlns:a16="http://schemas.microsoft.com/office/drawing/2014/main" id="{D5666F8C-4E26-4DC0-B96B-CDC7F86DF54F}"/>
                </a:ext>
              </a:extLst>
            </p:cNvPr>
            <p:cNvSpPr/>
            <p:nvPr/>
          </p:nvSpPr>
          <p:spPr bwMode="ltGray">
            <a:xfrm>
              <a:off x="6181804" y="2958228"/>
              <a:ext cx="154697" cy="24662"/>
            </a:xfrm>
            <a:custGeom>
              <a:avLst/>
              <a:gdLst>
                <a:gd name="connsiteX0" fmla="*/ 7006 w 154697"/>
                <a:gd name="connsiteY0" fmla="*/ 7006 h 24661"/>
                <a:gd name="connsiteX1" fmla="*/ 147878 w 154697"/>
                <a:gd name="connsiteY1" fmla="*/ 7006 h 24661"/>
                <a:gd name="connsiteX2" fmla="*/ 147878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78" y="7006"/>
                  </a:lnTo>
                  <a:lnTo>
                    <a:pt x="147878"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8" name="Freeform: Shape 13507">
              <a:extLst>
                <a:ext uri="{FF2B5EF4-FFF2-40B4-BE49-F238E27FC236}">
                  <a16:creationId xmlns:a16="http://schemas.microsoft.com/office/drawing/2014/main" id="{3D7F3628-146F-416F-AEF6-3AD7409D0448}"/>
                </a:ext>
              </a:extLst>
            </p:cNvPr>
            <p:cNvSpPr/>
            <p:nvPr/>
          </p:nvSpPr>
          <p:spPr bwMode="ltGray">
            <a:xfrm>
              <a:off x="5618262"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9" name="Freeform: Shape 13508">
              <a:extLst>
                <a:ext uri="{FF2B5EF4-FFF2-40B4-BE49-F238E27FC236}">
                  <a16:creationId xmlns:a16="http://schemas.microsoft.com/office/drawing/2014/main" id="{F0578C82-D8AA-4431-B2D0-1A2A6F068B23}"/>
                </a:ext>
              </a:extLst>
            </p:cNvPr>
            <p:cNvSpPr/>
            <p:nvPr/>
          </p:nvSpPr>
          <p:spPr bwMode="ltGray">
            <a:xfrm>
              <a:off x="5900024"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0" name="Freeform: Shape 13509">
              <a:extLst>
                <a:ext uri="{FF2B5EF4-FFF2-40B4-BE49-F238E27FC236}">
                  <a16:creationId xmlns:a16="http://schemas.microsoft.com/office/drawing/2014/main" id="{3A3C34C8-28DD-4A9B-930C-D497D0069E39}"/>
                </a:ext>
              </a:extLst>
            </p:cNvPr>
            <p:cNvSpPr/>
            <p:nvPr/>
          </p:nvSpPr>
          <p:spPr bwMode="ltGray">
            <a:xfrm>
              <a:off x="6745337" y="2958228"/>
              <a:ext cx="132277" cy="85195"/>
            </a:xfrm>
            <a:custGeom>
              <a:avLst/>
              <a:gdLst>
                <a:gd name="connsiteX0" fmla="*/ 118125 w 132277"/>
                <a:gd name="connsiteY0" fmla="*/ 78843 h 85195"/>
                <a:gd name="connsiteX1" fmla="*/ 57750 w 132277"/>
                <a:gd name="connsiteY1" fmla="*/ 18478 h 85195"/>
                <a:gd name="connsiteX2" fmla="*/ 7006 w 132277"/>
                <a:gd name="connsiteY2" fmla="*/ 18478 h 85195"/>
                <a:gd name="connsiteX3" fmla="*/ 7006 w 132277"/>
                <a:gd name="connsiteY3" fmla="*/ 7006 h 85195"/>
                <a:gd name="connsiteX4" fmla="*/ 62505 w 132277"/>
                <a:gd name="connsiteY4" fmla="*/ 7006 h 85195"/>
                <a:gd name="connsiteX5" fmla="*/ 126233 w 132277"/>
                <a:gd name="connsiteY5" fmla="*/ 70735 h 85195"/>
                <a:gd name="connsiteX6" fmla="*/ 118125 w 132277"/>
                <a:gd name="connsiteY6" fmla="*/ 78843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277" h="85195">
                  <a:moveTo>
                    <a:pt x="118125" y="78843"/>
                  </a:moveTo>
                  <a:lnTo>
                    <a:pt x="57750" y="18478"/>
                  </a:lnTo>
                  <a:lnTo>
                    <a:pt x="7006" y="18478"/>
                  </a:lnTo>
                  <a:lnTo>
                    <a:pt x="7006" y="7006"/>
                  </a:lnTo>
                  <a:lnTo>
                    <a:pt x="62505" y="7006"/>
                  </a:lnTo>
                  <a:lnTo>
                    <a:pt x="126233" y="70735"/>
                  </a:lnTo>
                  <a:lnTo>
                    <a:pt x="118125" y="7884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1" name="Freeform: Shape 13510">
              <a:extLst>
                <a:ext uri="{FF2B5EF4-FFF2-40B4-BE49-F238E27FC236}">
                  <a16:creationId xmlns:a16="http://schemas.microsoft.com/office/drawing/2014/main" id="{66FEF91C-32B1-478C-92E5-A983BFD25647}"/>
                </a:ext>
              </a:extLst>
            </p:cNvPr>
            <p:cNvSpPr/>
            <p:nvPr/>
          </p:nvSpPr>
          <p:spPr bwMode="ltGray">
            <a:xfrm>
              <a:off x="7279267"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2" name="Freeform: Shape 13511">
              <a:extLst>
                <a:ext uri="{FF2B5EF4-FFF2-40B4-BE49-F238E27FC236}">
                  <a16:creationId xmlns:a16="http://schemas.microsoft.com/office/drawing/2014/main" id="{F6347E13-DA3A-47BB-9E94-8C7C63826489}"/>
                </a:ext>
              </a:extLst>
            </p:cNvPr>
            <p:cNvSpPr/>
            <p:nvPr/>
          </p:nvSpPr>
          <p:spPr bwMode="ltGray">
            <a:xfrm>
              <a:off x="7561038"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3" name="Freeform: Shape 13512">
              <a:extLst>
                <a:ext uri="{FF2B5EF4-FFF2-40B4-BE49-F238E27FC236}">
                  <a16:creationId xmlns:a16="http://schemas.microsoft.com/office/drawing/2014/main" id="{9172BFCB-5ACC-4733-A6EF-E7DBB9260675}"/>
                </a:ext>
              </a:extLst>
            </p:cNvPr>
            <p:cNvSpPr/>
            <p:nvPr/>
          </p:nvSpPr>
          <p:spPr bwMode="ltGray">
            <a:xfrm>
              <a:off x="6997505"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4" name="Freeform: Shape 13513">
              <a:extLst>
                <a:ext uri="{FF2B5EF4-FFF2-40B4-BE49-F238E27FC236}">
                  <a16:creationId xmlns:a16="http://schemas.microsoft.com/office/drawing/2014/main" id="{92B9C2D9-CB6A-463B-9F07-A5642DF5BAA6}"/>
                </a:ext>
              </a:extLst>
            </p:cNvPr>
            <p:cNvSpPr/>
            <p:nvPr/>
          </p:nvSpPr>
          <p:spPr bwMode="ltGray">
            <a:xfrm>
              <a:off x="7842809" y="3029691"/>
              <a:ext cx="80712" cy="24662"/>
            </a:xfrm>
            <a:custGeom>
              <a:avLst/>
              <a:gdLst>
                <a:gd name="connsiteX0" fmla="*/ 7006 w 80711"/>
                <a:gd name="connsiteY0" fmla="*/ 7006 h 24661"/>
                <a:gd name="connsiteX1" fmla="*/ 75854 w 80711"/>
                <a:gd name="connsiteY1" fmla="*/ 7006 h 24661"/>
                <a:gd name="connsiteX2" fmla="*/ 75854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54" y="7006"/>
                  </a:lnTo>
                  <a:lnTo>
                    <a:pt x="75854"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5" name="Freeform: Shape 13514">
              <a:extLst>
                <a:ext uri="{FF2B5EF4-FFF2-40B4-BE49-F238E27FC236}">
                  <a16:creationId xmlns:a16="http://schemas.microsoft.com/office/drawing/2014/main" id="{02C16C29-2042-441A-BE9A-B3BC98FDC336}"/>
                </a:ext>
              </a:extLst>
            </p:cNvPr>
            <p:cNvSpPr/>
            <p:nvPr/>
          </p:nvSpPr>
          <p:spPr bwMode="ltGray">
            <a:xfrm>
              <a:off x="8566663" y="4351119"/>
              <a:ext cx="150213" cy="24662"/>
            </a:xfrm>
            <a:custGeom>
              <a:avLst/>
              <a:gdLst>
                <a:gd name="connsiteX0" fmla="*/ 7006 w 150213"/>
                <a:gd name="connsiteY0" fmla="*/ 7006 h 24661"/>
                <a:gd name="connsiteX1" fmla="*/ 144729 w 150213"/>
                <a:gd name="connsiteY1" fmla="*/ 7006 h 24661"/>
                <a:gd name="connsiteX2" fmla="*/ 144729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9" y="7006"/>
                  </a:lnTo>
                  <a:lnTo>
                    <a:pt x="144729"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6" name="Freeform: Shape 13515">
              <a:extLst>
                <a:ext uri="{FF2B5EF4-FFF2-40B4-BE49-F238E27FC236}">
                  <a16:creationId xmlns:a16="http://schemas.microsoft.com/office/drawing/2014/main" id="{55A5A081-00FC-4F4F-966E-7F91BE017D06}"/>
                </a:ext>
              </a:extLst>
            </p:cNvPr>
            <p:cNvSpPr/>
            <p:nvPr/>
          </p:nvSpPr>
          <p:spPr bwMode="ltGray">
            <a:xfrm>
              <a:off x="8842100"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7" name="Freeform: Shape 13516">
              <a:extLst>
                <a:ext uri="{FF2B5EF4-FFF2-40B4-BE49-F238E27FC236}">
                  <a16:creationId xmlns:a16="http://schemas.microsoft.com/office/drawing/2014/main" id="{AB76FC7F-BE1B-4320-A60D-AEE6CF922BCE}"/>
                </a:ext>
              </a:extLst>
            </p:cNvPr>
            <p:cNvSpPr/>
            <p:nvPr/>
          </p:nvSpPr>
          <p:spPr bwMode="ltGray">
            <a:xfrm>
              <a:off x="911752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8" name="Freeform: Shape 13517">
              <a:extLst>
                <a:ext uri="{FF2B5EF4-FFF2-40B4-BE49-F238E27FC236}">
                  <a16:creationId xmlns:a16="http://schemas.microsoft.com/office/drawing/2014/main" id="{18218F66-C7C6-465B-9A29-940388FFB204}"/>
                </a:ext>
              </a:extLst>
            </p:cNvPr>
            <p:cNvSpPr/>
            <p:nvPr/>
          </p:nvSpPr>
          <p:spPr bwMode="ltGray">
            <a:xfrm>
              <a:off x="8291235"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9" name="Freeform: Shape 13518">
              <a:extLst>
                <a:ext uri="{FF2B5EF4-FFF2-40B4-BE49-F238E27FC236}">
                  <a16:creationId xmlns:a16="http://schemas.microsoft.com/office/drawing/2014/main" id="{548590A6-F190-431B-A6DA-7880EB58E2BC}"/>
                </a:ext>
              </a:extLst>
            </p:cNvPr>
            <p:cNvSpPr/>
            <p:nvPr/>
          </p:nvSpPr>
          <p:spPr bwMode="ltGray">
            <a:xfrm>
              <a:off x="774036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0" name="Freeform: Shape 13519">
              <a:extLst>
                <a:ext uri="{FF2B5EF4-FFF2-40B4-BE49-F238E27FC236}">
                  <a16:creationId xmlns:a16="http://schemas.microsoft.com/office/drawing/2014/main" id="{441DB3DB-5F98-47AF-85F2-735FAD43BCC4}"/>
                </a:ext>
              </a:extLst>
            </p:cNvPr>
            <p:cNvSpPr/>
            <p:nvPr/>
          </p:nvSpPr>
          <p:spPr bwMode="ltGray">
            <a:xfrm>
              <a:off x="9392938"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1" name="Freeform: Shape 13520">
              <a:extLst>
                <a:ext uri="{FF2B5EF4-FFF2-40B4-BE49-F238E27FC236}">
                  <a16:creationId xmlns:a16="http://schemas.microsoft.com/office/drawing/2014/main" id="{DB158C9F-398E-42F1-B778-E903DF229CEE}"/>
                </a:ext>
              </a:extLst>
            </p:cNvPr>
            <p:cNvSpPr/>
            <p:nvPr/>
          </p:nvSpPr>
          <p:spPr bwMode="ltGray">
            <a:xfrm>
              <a:off x="8015797" y="4351119"/>
              <a:ext cx="150213" cy="24662"/>
            </a:xfrm>
            <a:custGeom>
              <a:avLst/>
              <a:gdLst>
                <a:gd name="connsiteX0" fmla="*/ 7006 w 150213"/>
                <a:gd name="connsiteY0" fmla="*/ 7006 h 24661"/>
                <a:gd name="connsiteX1" fmla="*/ 144730 w 150213"/>
                <a:gd name="connsiteY1" fmla="*/ 7006 h 24661"/>
                <a:gd name="connsiteX2" fmla="*/ 14473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30" y="7006"/>
                  </a:lnTo>
                  <a:lnTo>
                    <a:pt x="14473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2" name="Freeform: Shape 13521">
              <a:extLst>
                <a:ext uri="{FF2B5EF4-FFF2-40B4-BE49-F238E27FC236}">
                  <a16:creationId xmlns:a16="http://schemas.microsoft.com/office/drawing/2014/main" id="{DABBF2C7-4500-42A2-B7D5-38D2573B845B}"/>
                </a:ext>
              </a:extLst>
            </p:cNvPr>
            <p:cNvSpPr/>
            <p:nvPr/>
          </p:nvSpPr>
          <p:spPr bwMode="ltGray">
            <a:xfrm>
              <a:off x="11045564"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3" name="Freeform: Shape 13522">
              <a:extLst>
                <a:ext uri="{FF2B5EF4-FFF2-40B4-BE49-F238E27FC236}">
                  <a16:creationId xmlns:a16="http://schemas.microsoft.com/office/drawing/2014/main" id="{CE71B7F2-4D27-4119-95F2-17D60B04CAA1}"/>
                </a:ext>
              </a:extLst>
            </p:cNvPr>
            <p:cNvSpPr/>
            <p:nvPr/>
          </p:nvSpPr>
          <p:spPr bwMode="ltGray">
            <a:xfrm>
              <a:off x="10770079"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4" name="Freeform: Shape 13523">
              <a:extLst>
                <a:ext uri="{FF2B5EF4-FFF2-40B4-BE49-F238E27FC236}">
                  <a16:creationId xmlns:a16="http://schemas.microsoft.com/office/drawing/2014/main" id="{C033B59E-6130-4B9E-AB90-E23EAD63BDF9}"/>
                </a:ext>
              </a:extLst>
            </p:cNvPr>
            <p:cNvSpPr/>
            <p:nvPr/>
          </p:nvSpPr>
          <p:spPr bwMode="ltGray">
            <a:xfrm>
              <a:off x="10494689"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5" name="Freeform: Shape 13524">
              <a:extLst>
                <a:ext uri="{FF2B5EF4-FFF2-40B4-BE49-F238E27FC236}">
                  <a16:creationId xmlns:a16="http://schemas.microsoft.com/office/drawing/2014/main" id="{3B001A8F-3226-4CB7-A6C4-77A6E19C8B37}"/>
                </a:ext>
              </a:extLst>
            </p:cNvPr>
            <p:cNvSpPr/>
            <p:nvPr/>
          </p:nvSpPr>
          <p:spPr bwMode="ltGray">
            <a:xfrm>
              <a:off x="9668422" y="4351119"/>
              <a:ext cx="150213" cy="24662"/>
            </a:xfrm>
            <a:custGeom>
              <a:avLst/>
              <a:gdLst>
                <a:gd name="connsiteX0" fmla="*/ 7007 w 150213"/>
                <a:gd name="connsiteY0" fmla="*/ 7006 h 24661"/>
                <a:gd name="connsiteX1" fmla="*/ 144702 w 150213"/>
                <a:gd name="connsiteY1" fmla="*/ 7006 h 24661"/>
                <a:gd name="connsiteX2" fmla="*/ 144702 w 150213"/>
                <a:gd name="connsiteY2" fmla="*/ 18478 h 24661"/>
                <a:gd name="connsiteX3" fmla="*/ 7007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7" y="7006"/>
                  </a:moveTo>
                  <a:lnTo>
                    <a:pt x="144702" y="7006"/>
                  </a:lnTo>
                  <a:lnTo>
                    <a:pt x="144702" y="18478"/>
                  </a:lnTo>
                  <a:lnTo>
                    <a:pt x="700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6" name="Freeform: Shape 13525">
              <a:extLst>
                <a:ext uri="{FF2B5EF4-FFF2-40B4-BE49-F238E27FC236}">
                  <a16:creationId xmlns:a16="http://schemas.microsoft.com/office/drawing/2014/main" id="{FF8A519A-2245-4D19-90E4-02FD0A452630}"/>
                </a:ext>
              </a:extLst>
            </p:cNvPr>
            <p:cNvSpPr/>
            <p:nvPr/>
          </p:nvSpPr>
          <p:spPr bwMode="ltGray">
            <a:xfrm>
              <a:off x="11320955" y="4351119"/>
              <a:ext cx="80712" cy="24662"/>
            </a:xfrm>
            <a:custGeom>
              <a:avLst/>
              <a:gdLst>
                <a:gd name="connsiteX0" fmla="*/ 7006 w 80711"/>
                <a:gd name="connsiteY0" fmla="*/ 7006 h 24661"/>
                <a:gd name="connsiteX1" fmla="*/ 75013 w 80711"/>
                <a:gd name="connsiteY1" fmla="*/ 7006 h 24661"/>
                <a:gd name="connsiteX2" fmla="*/ 7501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013" y="7006"/>
                  </a:lnTo>
                  <a:lnTo>
                    <a:pt x="7501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7" name="Freeform: Shape 13526">
              <a:extLst>
                <a:ext uri="{FF2B5EF4-FFF2-40B4-BE49-F238E27FC236}">
                  <a16:creationId xmlns:a16="http://schemas.microsoft.com/office/drawing/2014/main" id="{A32C4949-39AC-469E-96A3-67B551E2E569}"/>
                </a:ext>
              </a:extLst>
            </p:cNvPr>
            <p:cNvSpPr/>
            <p:nvPr/>
          </p:nvSpPr>
          <p:spPr bwMode="ltGray">
            <a:xfrm>
              <a:off x="10219204"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8" name="Freeform: Shape 13527">
              <a:extLst>
                <a:ext uri="{FF2B5EF4-FFF2-40B4-BE49-F238E27FC236}">
                  <a16:creationId xmlns:a16="http://schemas.microsoft.com/office/drawing/2014/main" id="{0B3DE764-A536-4B3E-95DF-4360CA60CA71}"/>
                </a:ext>
              </a:extLst>
            </p:cNvPr>
            <p:cNvSpPr/>
            <p:nvPr/>
          </p:nvSpPr>
          <p:spPr bwMode="ltGray">
            <a:xfrm>
              <a:off x="9943813" y="4351119"/>
              <a:ext cx="150213" cy="24662"/>
            </a:xfrm>
            <a:custGeom>
              <a:avLst/>
              <a:gdLst>
                <a:gd name="connsiteX0" fmla="*/ 7006 w 150213"/>
                <a:gd name="connsiteY0" fmla="*/ 7006 h 24661"/>
                <a:gd name="connsiteX1" fmla="*/ 144702 w 150213"/>
                <a:gd name="connsiteY1" fmla="*/ 7006 h 24661"/>
                <a:gd name="connsiteX2" fmla="*/ 144702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2" y="7006"/>
                  </a:lnTo>
                  <a:lnTo>
                    <a:pt x="144702"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9" name="Freeform: Shape 13528">
              <a:extLst>
                <a:ext uri="{FF2B5EF4-FFF2-40B4-BE49-F238E27FC236}">
                  <a16:creationId xmlns:a16="http://schemas.microsoft.com/office/drawing/2014/main" id="{93FF005D-5989-4C2F-AE67-024B3F508A33}"/>
                </a:ext>
              </a:extLst>
            </p:cNvPr>
            <p:cNvSpPr/>
            <p:nvPr/>
          </p:nvSpPr>
          <p:spPr bwMode="ltGray">
            <a:xfrm>
              <a:off x="6871141" y="5468563"/>
              <a:ext cx="793663" cy="24662"/>
            </a:xfrm>
            <a:custGeom>
              <a:avLst/>
              <a:gdLst>
                <a:gd name="connsiteX0" fmla="*/ 7006 w 793663"/>
                <a:gd name="connsiteY0" fmla="*/ 7006 h 24661"/>
                <a:gd name="connsiteX1" fmla="*/ 787395 w 793663"/>
                <a:gd name="connsiteY1" fmla="*/ 7006 h 24661"/>
                <a:gd name="connsiteX2" fmla="*/ 787395 w 793663"/>
                <a:gd name="connsiteY2" fmla="*/ 18478 h 24661"/>
                <a:gd name="connsiteX3" fmla="*/ 7006 w 79366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793663" h="24661">
                  <a:moveTo>
                    <a:pt x="7006" y="7006"/>
                  </a:moveTo>
                  <a:lnTo>
                    <a:pt x="787395" y="7006"/>
                  </a:lnTo>
                  <a:lnTo>
                    <a:pt x="7873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0" name="Freeform: Shape 13529">
              <a:extLst>
                <a:ext uri="{FF2B5EF4-FFF2-40B4-BE49-F238E27FC236}">
                  <a16:creationId xmlns:a16="http://schemas.microsoft.com/office/drawing/2014/main" id="{CF93AF04-BD7B-42E7-922F-ECA309D7A98E}"/>
                </a:ext>
              </a:extLst>
            </p:cNvPr>
            <p:cNvSpPr/>
            <p:nvPr/>
          </p:nvSpPr>
          <p:spPr bwMode="ltGray">
            <a:xfrm>
              <a:off x="7949920" y="5451347"/>
              <a:ext cx="262312" cy="58292"/>
            </a:xfrm>
            <a:custGeom>
              <a:avLst/>
              <a:gdLst>
                <a:gd name="connsiteX0" fmla="*/ 7006 w 262312"/>
                <a:gd name="connsiteY0" fmla="*/ 7006 h 58291"/>
                <a:gd name="connsiteX1" fmla="*/ 255652 w 262312"/>
                <a:gd name="connsiteY1" fmla="*/ 7006 h 58291"/>
                <a:gd name="connsiteX2" fmla="*/ 255652 w 262312"/>
                <a:gd name="connsiteY2" fmla="*/ 52911 h 58291"/>
                <a:gd name="connsiteX3" fmla="*/ 7006 w 262312"/>
                <a:gd name="connsiteY3" fmla="*/ 52911 h 58291"/>
              </a:gdLst>
              <a:ahLst/>
              <a:cxnLst>
                <a:cxn ang="0">
                  <a:pos x="connsiteX0" y="connsiteY0"/>
                </a:cxn>
                <a:cxn ang="0">
                  <a:pos x="connsiteX1" y="connsiteY1"/>
                </a:cxn>
                <a:cxn ang="0">
                  <a:pos x="connsiteX2" y="connsiteY2"/>
                </a:cxn>
                <a:cxn ang="0">
                  <a:pos x="connsiteX3" y="connsiteY3"/>
                </a:cxn>
              </a:cxnLst>
              <a:rect l="l" t="t" r="r" b="b"/>
              <a:pathLst>
                <a:path w="262312" h="58291">
                  <a:moveTo>
                    <a:pt x="7006" y="7006"/>
                  </a:moveTo>
                  <a:lnTo>
                    <a:pt x="255652" y="7006"/>
                  </a:lnTo>
                  <a:lnTo>
                    <a:pt x="255652"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1" name="Freeform: Shape 13530">
              <a:extLst>
                <a:ext uri="{FF2B5EF4-FFF2-40B4-BE49-F238E27FC236}">
                  <a16:creationId xmlns:a16="http://schemas.microsoft.com/office/drawing/2014/main" id="{500063FD-13BB-44FC-9960-CDB6393536B1}"/>
                </a:ext>
              </a:extLst>
            </p:cNvPr>
            <p:cNvSpPr/>
            <p:nvPr/>
          </p:nvSpPr>
          <p:spPr bwMode="ltGray">
            <a:xfrm>
              <a:off x="437093" y="2313684"/>
              <a:ext cx="3282268" cy="506689"/>
            </a:xfrm>
            <a:custGeom>
              <a:avLst/>
              <a:gdLst>
                <a:gd name="connsiteX0" fmla="*/ 2747099 w 3282267"/>
                <a:gd name="connsiteY0" fmla="*/ 500430 h 506688"/>
                <a:gd name="connsiteX1" fmla="*/ 2476575 w 3282267"/>
                <a:gd name="connsiteY1" fmla="*/ 500430 h 506688"/>
                <a:gd name="connsiteX2" fmla="*/ 2444113 w 3282267"/>
                <a:gd name="connsiteY2" fmla="*/ 500430 h 506688"/>
                <a:gd name="connsiteX3" fmla="*/ 2186023 w 3282267"/>
                <a:gd name="connsiteY3" fmla="*/ 500430 h 506688"/>
                <a:gd name="connsiteX4" fmla="*/ 2179390 w 3282267"/>
                <a:gd name="connsiteY4" fmla="*/ 488949 h 506688"/>
                <a:gd name="connsiteX5" fmla="*/ 2758580 w 3282267"/>
                <a:gd name="connsiteY5" fmla="*/ 488949 h 506688"/>
                <a:gd name="connsiteX6" fmla="*/ 2747099 w 3282267"/>
                <a:gd name="connsiteY6" fmla="*/ 500430 h 506688"/>
                <a:gd name="connsiteX7" fmla="*/ 2166751 w 3282267"/>
                <a:gd name="connsiteY7" fmla="*/ 500430 h 506688"/>
                <a:gd name="connsiteX8" fmla="*/ 1512856 w 3282267"/>
                <a:gd name="connsiteY8" fmla="*/ 500430 h 506688"/>
                <a:gd name="connsiteX9" fmla="*/ 1519489 w 3282267"/>
                <a:gd name="connsiteY9" fmla="*/ 488949 h 506688"/>
                <a:gd name="connsiteX10" fmla="*/ 2160128 w 3282267"/>
                <a:gd name="connsiteY10" fmla="*/ 488949 h 506688"/>
                <a:gd name="connsiteX11" fmla="*/ 2166751 w 3282267"/>
                <a:gd name="connsiteY11" fmla="*/ 500430 h 506688"/>
                <a:gd name="connsiteX12" fmla="*/ 1493594 w 3282267"/>
                <a:gd name="connsiteY12" fmla="*/ 500430 h 506688"/>
                <a:gd name="connsiteX13" fmla="*/ 848368 w 3282267"/>
                <a:gd name="connsiteY13" fmla="*/ 500430 h 506688"/>
                <a:gd name="connsiteX14" fmla="*/ 852572 w 3282267"/>
                <a:gd name="connsiteY14" fmla="*/ 488949 h 506688"/>
                <a:gd name="connsiteX15" fmla="*/ 1500217 w 3282267"/>
                <a:gd name="connsiteY15" fmla="*/ 488949 h 506688"/>
                <a:gd name="connsiteX16" fmla="*/ 1493594 w 3282267"/>
                <a:gd name="connsiteY16" fmla="*/ 500430 h 506688"/>
                <a:gd name="connsiteX17" fmla="*/ 817279 w 3282267"/>
                <a:gd name="connsiteY17" fmla="*/ 500430 h 506688"/>
                <a:gd name="connsiteX18" fmla="*/ 604459 w 3282267"/>
                <a:gd name="connsiteY18" fmla="*/ 500430 h 506688"/>
                <a:gd name="connsiteX19" fmla="*/ 599069 w 3282267"/>
                <a:gd name="connsiteY19" fmla="*/ 488949 h 506688"/>
                <a:gd name="connsiteX20" fmla="*/ 822660 w 3282267"/>
                <a:gd name="connsiteY20" fmla="*/ 488949 h 506688"/>
                <a:gd name="connsiteX21" fmla="*/ 817279 w 3282267"/>
                <a:gd name="connsiteY21" fmla="*/ 500430 h 506688"/>
                <a:gd name="connsiteX22" fmla="*/ 573360 w 3282267"/>
                <a:gd name="connsiteY22" fmla="*/ 500430 h 506688"/>
                <a:gd name="connsiteX23" fmla="*/ 146140 w 3282267"/>
                <a:gd name="connsiteY23" fmla="*/ 500430 h 506688"/>
                <a:gd name="connsiteX24" fmla="*/ 157621 w 3282267"/>
                <a:gd name="connsiteY24" fmla="*/ 488949 h 506688"/>
                <a:gd name="connsiteX25" fmla="*/ 569157 w 3282267"/>
                <a:gd name="connsiteY25" fmla="*/ 488949 h 506688"/>
                <a:gd name="connsiteX26" fmla="*/ 573360 w 3282267"/>
                <a:gd name="connsiteY26" fmla="*/ 500430 h 506688"/>
                <a:gd name="connsiteX27" fmla="*/ 66550 w 3282267"/>
                <a:gd name="connsiteY27" fmla="*/ 500430 h 506688"/>
                <a:gd name="connsiteX28" fmla="*/ 7006 w 3282267"/>
                <a:gd name="connsiteY28" fmla="*/ 500430 h 506688"/>
                <a:gd name="connsiteX29" fmla="*/ 18487 w 3282267"/>
                <a:gd name="connsiteY29" fmla="*/ 488949 h 506688"/>
                <a:gd name="connsiteX30" fmla="*/ 78031 w 3282267"/>
                <a:gd name="connsiteY30" fmla="*/ 488949 h 506688"/>
                <a:gd name="connsiteX31" fmla="*/ 66550 w 3282267"/>
                <a:gd name="connsiteY31" fmla="*/ 500430 h 506688"/>
                <a:gd name="connsiteX32" fmla="*/ 2959910 w 3282267"/>
                <a:gd name="connsiteY32" fmla="*/ 323014 h 506688"/>
                <a:gd name="connsiteX33" fmla="*/ 2943684 w 3282267"/>
                <a:gd name="connsiteY33" fmla="*/ 323014 h 506688"/>
                <a:gd name="connsiteX34" fmla="*/ 3004862 w 3282267"/>
                <a:gd name="connsiteY34" fmla="*/ 261836 h 506688"/>
                <a:gd name="connsiteX35" fmla="*/ 3021088 w 3282267"/>
                <a:gd name="connsiteY35" fmla="*/ 261836 h 506688"/>
                <a:gd name="connsiteX36" fmla="*/ 2959910 w 3282267"/>
                <a:gd name="connsiteY36" fmla="*/ 323014 h 506688"/>
                <a:gd name="connsiteX37" fmla="*/ 3037978 w 3282267"/>
                <a:gd name="connsiteY37" fmla="*/ 244946 h 506688"/>
                <a:gd name="connsiteX38" fmla="*/ 3021752 w 3282267"/>
                <a:gd name="connsiteY38" fmla="*/ 244946 h 506688"/>
                <a:gd name="connsiteX39" fmla="*/ 3100212 w 3282267"/>
                <a:gd name="connsiteY39" fmla="*/ 166486 h 506688"/>
                <a:gd name="connsiteX40" fmla="*/ 3123164 w 3282267"/>
                <a:gd name="connsiteY40" fmla="*/ 143534 h 506688"/>
                <a:gd name="connsiteX41" fmla="*/ 3200447 w 3282267"/>
                <a:gd name="connsiteY41" fmla="*/ 66251 h 506688"/>
                <a:gd name="connsiteX42" fmla="*/ 3234871 w 3282267"/>
                <a:gd name="connsiteY42" fmla="*/ 31827 h 506688"/>
                <a:gd name="connsiteX43" fmla="*/ 3259692 w 3282267"/>
                <a:gd name="connsiteY43" fmla="*/ 7006 h 506688"/>
                <a:gd name="connsiteX44" fmla="*/ 3275918 w 3282267"/>
                <a:gd name="connsiteY44" fmla="*/ 7006 h 506688"/>
                <a:gd name="connsiteX45" fmla="*/ 3251098 w 3282267"/>
                <a:gd name="connsiteY45" fmla="*/ 31827 h 506688"/>
                <a:gd name="connsiteX46" fmla="*/ 3216665 w 3282267"/>
                <a:gd name="connsiteY46" fmla="*/ 66251 h 506688"/>
                <a:gd name="connsiteX47" fmla="*/ 3139391 w 3282267"/>
                <a:gd name="connsiteY47" fmla="*/ 143534 h 506688"/>
                <a:gd name="connsiteX48" fmla="*/ 3116438 w 3282267"/>
                <a:gd name="connsiteY48" fmla="*/ 166486 h 506688"/>
                <a:gd name="connsiteX49" fmla="*/ 3037978 w 3282267"/>
                <a:gd name="connsiteY49" fmla="*/ 24494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82267" h="506688">
                  <a:moveTo>
                    <a:pt x="2747099" y="500430"/>
                  </a:moveTo>
                  <a:lnTo>
                    <a:pt x="2476575" y="500430"/>
                  </a:lnTo>
                  <a:lnTo>
                    <a:pt x="2444113" y="500430"/>
                  </a:lnTo>
                  <a:lnTo>
                    <a:pt x="2186023" y="500430"/>
                  </a:lnTo>
                  <a:lnTo>
                    <a:pt x="2179390" y="488949"/>
                  </a:lnTo>
                  <a:lnTo>
                    <a:pt x="2758580" y="488949"/>
                  </a:lnTo>
                  <a:lnTo>
                    <a:pt x="2747099" y="500430"/>
                  </a:lnTo>
                  <a:close/>
                  <a:moveTo>
                    <a:pt x="2166751" y="500430"/>
                  </a:moveTo>
                  <a:lnTo>
                    <a:pt x="1512856" y="500430"/>
                  </a:lnTo>
                  <a:lnTo>
                    <a:pt x="1519489" y="488949"/>
                  </a:lnTo>
                  <a:lnTo>
                    <a:pt x="2160128" y="488949"/>
                  </a:lnTo>
                  <a:lnTo>
                    <a:pt x="2166751" y="500430"/>
                  </a:lnTo>
                  <a:close/>
                  <a:moveTo>
                    <a:pt x="1493594" y="500430"/>
                  </a:moveTo>
                  <a:lnTo>
                    <a:pt x="848368" y="500430"/>
                  </a:lnTo>
                  <a:cubicBezTo>
                    <a:pt x="849919" y="496675"/>
                    <a:pt x="851330" y="492845"/>
                    <a:pt x="852572" y="488949"/>
                  </a:cubicBezTo>
                  <a:lnTo>
                    <a:pt x="1500217" y="488949"/>
                  </a:lnTo>
                  <a:lnTo>
                    <a:pt x="1493594" y="500430"/>
                  </a:lnTo>
                  <a:close/>
                  <a:moveTo>
                    <a:pt x="817279" y="500430"/>
                  </a:moveTo>
                  <a:lnTo>
                    <a:pt x="604459" y="500430"/>
                  </a:lnTo>
                  <a:cubicBezTo>
                    <a:pt x="602469" y="496712"/>
                    <a:pt x="600666" y="492883"/>
                    <a:pt x="599069" y="488949"/>
                  </a:cubicBezTo>
                  <a:lnTo>
                    <a:pt x="822660" y="488949"/>
                  </a:lnTo>
                  <a:cubicBezTo>
                    <a:pt x="821063" y="492883"/>
                    <a:pt x="819260" y="496712"/>
                    <a:pt x="817279" y="500430"/>
                  </a:cubicBezTo>
                  <a:close/>
                  <a:moveTo>
                    <a:pt x="573360" y="500430"/>
                  </a:moveTo>
                  <a:lnTo>
                    <a:pt x="146140" y="500430"/>
                  </a:lnTo>
                  <a:lnTo>
                    <a:pt x="157621" y="488949"/>
                  </a:lnTo>
                  <a:lnTo>
                    <a:pt x="569157" y="488949"/>
                  </a:lnTo>
                  <a:cubicBezTo>
                    <a:pt x="570408" y="492845"/>
                    <a:pt x="571810" y="496675"/>
                    <a:pt x="573360" y="500430"/>
                  </a:cubicBezTo>
                  <a:close/>
                  <a:moveTo>
                    <a:pt x="66550" y="500430"/>
                  </a:moveTo>
                  <a:lnTo>
                    <a:pt x="7006" y="500430"/>
                  </a:lnTo>
                  <a:lnTo>
                    <a:pt x="18487" y="488949"/>
                  </a:lnTo>
                  <a:lnTo>
                    <a:pt x="78031" y="488949"/>
                  </a:lnTo>
                  <a:lnTo>
                    <a:pt x="66550" y="500430"/>
                  </a:lnTo>
                  <a:close/>
                  <a:moveTo>
                    <a:pt x="2959910" y="323014"/>
                  </a:moveTo>
                  <a:lnTo>
                    <a:pt x="2943684" y="323014"/>
                  </a:lnTo>
                  <a:lnTo>
                    <a:pt x="3004862" y="261836"/>
                  </a:lnTo>
                  <a:lnTo>
                    <a:pt x="3021088" y="261836"/>
                  </a:lnTo>
                  <a:lnTo>
                    <a:pt x="2959910" y="323014"/>
                  </a:lnTo>
                  <a:close/>
                  <a:moveTo>
                    <a:pt x="3037978" y="244946"/>
                  </a:moveTo>
                  <a:lnTo>
                    <a:pt x="3021752" y="244946"/>
                  </a:lnTo>
                  <a:lnTo>
                    <a:pt x="3100212" y="166486"/>
                  </a:lnTo>
                  <a:lnTo>
                    <a:pt x="3123164" y="143534"/>
                  </a:lnTo>
                  <a:lnTo>
                    <a:pt x="3200447" y="66251"/>
                  </a:lnTo>
                  <a:lnTo>
                    <a:pt x="3234871" y="31827"/>
                  </a:lnTo>
                  <a:lnTo>
                    <a:pt x="3259692" y="7006"/>
                  </a:lnTo>
                  <a:lnTo>
                    <a:pt x="3275918" y="7006"/>
                  </a:lnTo>
                  <a:lnTo>
                    <a:pt x="3251098" y="31827"/>
                  </a:lnTo>
                  <a:lnTo>
                    <a:pt x="3216665" y="66251"/>
                  </a:lnTo>
                  <a:lnTo>
                    <a:pt x="3139391" y="143534"/>
                  </a:lnTo>
                  <a:lnTo>
                    <a:pt x="3116438" y="166486"/>
                  </a:lnTo>
                  <a:lnTo>
                    <a:pt x="3037978" y="24494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2" name="Freeform: Shape 13531">
              <a:extLst>
                <a:ext uri="{FF2B5EF4-FFF2-40B4-BE49-F238E27FC236}">
                  <a16:creationId xmlns:a16="http://schemas.microsoft.com/office/drawing/2014/main" id="{A6BF484A-0620-4BFF-BAB7-09E750DAAE18}"/>
                </a:ext>
              </a:extLst>
            </p:cNvPr>
            <p:cNvSpPr/>
            <p:nvPr/>
          </p:nvSpPr>
          <p:spPr bwMode="ltGray">
            <a:xfrm>
              <a:off x="1923680" y="2795628"/>
              <a:ext cx="706226" cy="24662"/>
            </a:xfrm>
            <a:custGeom>
              <a:avLst/>
              <a:gdLst>
                <a:gd name="connsiteX0" fmla="*/ 699435 w 706225"/>
                <a:gd name="connsiteY0" fmla="*/ 18487 h 24661"/>
                <a:gd name="connsiteX1" fmla="*/ 680163 w 706225"/>
                <a:gd name="connsiteY1" fmla="*/ 18487 h 24661"/>
                <a:gd name="connsiteX2" fmla="*/ 673540 w 706225"/>
                <a:gd name="connsiteY2" fmla="*/ 7006 h 24661"/>
                <a:gd name="connsiteX3" fmla="*/ 692802 w 706225"/>
                <a:gd name="connsiteY3" fmla="*/ 7006 h 24661"/>
                <a:gd name="connsiteX4" fmla="*/ 699435 w 706225"/>
                <a:gd name="connsiteY4" fmla="*/ 18487 h 24661"/>
                <a:gd name="connsiteX5" fmla="*/ 26269 w 706225"/>
                <a:gd name="connsiteY5" fmla="*/ 18487 h 24661"/>
                <a:gd name="connsiteX6" fmla="*/ 7006 w 706225"/>
                <a:gd name="connsiteY6" fmla="*/ 18487 h 24661"/>
                <a:gd name="connsiteX7" fmla="*/ 13629 w 706225"/>
                <a:gd name="connsiteY7" fmla="*/ 7006 h 24661"/>
                <a:gd name="connsiteX8" fmla="*/ 32901 w 706225"/>
                <a:gd name="connsiteY8" fmla="*/ 7006 h 24661"/>
                <a:gd name="connsiteX9" fmla="*/ 26269 w 706225"/>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225" h="24661">
                  <a:moveTo>
                    <a:pt x="699435" y="18487"/>
                  </a:moveTo>
                  <a:lnTo>
                    <a:pt x="680163" y="18487"/>
                  </a:lnTo>
                  <a:lnTo>
                    <a:pt x="673540" y="7006"/>
                  </a:lnTo>
                  <a:lnTo>
                    <a:pt x="692802" y="7006"/>
                  </a:lnTo>
                  <a:lnTo>
                    <a:pt x="699435" y="18487"/>
                  </a:lnTo>
                  <a:close/>
                  <a:moveTo>
                    <a:pt x="26269" y="18487"/>
                  </a:moveTo>
                  <a:lnTo>
                    <a:pt x="7006" y="18487"/>
                  </a:lnTo>
                  <a:lnTo>
                    <a:pt x="13629" y="7006"/>
                  </a:lnTo>
                  <a:lnTo>
                    <a:pt x="32901" y="7006"/>
                  </a:lnTo>
                  <a:lnTo>
                    <a:pt x="26269"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3" name="Freeform: Shape 13532">
              <a:extLst>
                <a:ext uri="{FF2B5EF4-FFF2-40B4-BE49-F238E27FC236}">
                  <a16:creationId xmlns:a16="http://schemas.microsoft.com/office/drawing/2014/main" id="{A5EF672F-0896-442F-868B-D4091C4D75BC}"/>
                </a:ext>
              </a:extLst>
            </p:cNvPr>
            <p:cNvSpPr/>
            <p:nvPr/>
          </p:nvSpPr>
          <p:spPr bwMode="ltGray">
            <a:xfrm>
              <a:off x="3177185" y="2629692"/>
              <a:ext cx="226441" cy="190569"/>
            </a:xfrm>
            <a:custGeom>
              <a:avLst/>
              <a:gdLst>
                <a:gd name="connsiteX0" fmla="*/ 42402 w 226440"/>
                <a:gd name="connsiteY0" fmla="*/ 184422 h 190568"/>
                <a:gd name="connsiteX1" fmla="*/ 7006 w 226440"/>
                <a:gd name="connsiteY1" fmla="*/ 184422 h 190568"/>
                <a:gd name="connsiteX2" fmla="*/ 18487 w 226440"/>
                <a:gd name="connsiteY2" fmla="*/ 172941 h 190568"/>
                <a:gd name="connsiteX3" fmla="*/ 37656 w 226440"/>
                <a:gd name="connsiteY3" fmla="*/ 172941 h 190568"/>
                <a:gd name="connsiteX4" fmla="*/ 203591 w 226440"/>
                <a:gd name="connsiteY4" fmla="*/ 7006 h 190568"/>
                <a:gd name="connsiteX5" fmla="*/ 219818 w 226440"/>
                <a:gd name="connsiteY5" fmla="*/ 7006 h 190568"/>
                <a:gd name="connsiteX6" fmla="*/ 42402 w 226440"/>
                <a:gd name="connsiteY6" fmla="*/ 184422 h 19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40" h="190568">
                  <a:moveTo>
                    <a:pt x="42402" y="184422"/>
                  </a:moveTo>
                  <a:lnTo>
                    <a:pt x="7006" y="184422"/>
                  </a:lnTo>
                  <a:lnTo>
                    <a:pt x="18487" y="172941"/>
                  </a:lnTo>
                  <a:lnTo>
                    <a:pt x="37656" y="172941"/>
                  </a:lnTo>
                  <a:lnTo>
                    <a:pt x="203591" y="7006"/>
                  </a:lnTo>
                  <a:lnTo>
                    <a:pt x="219818" y="7006"/>
                  </a:lnTo>
                  <a:lnTo>
                    <a:pt x="42402" y="184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4" name="Freeform: Shape 13533">
              <a:extLst>
                <a:ext uri="{FF2B5EF4-FFF2-40B4-BE49-F238E27FC236}">
                  <a16:creationId xmlns:a16="http://schemas.microsoft.com/office/drawing/2014/main" id="{59A60870-A50F-4D63-B214-08F2EAA9D8BF}"/>
                </a:ext>
              </a:extLst>
            </p:cNvPr>
            <p:cNvSpPr/>
            <p:nvPr/>
          </p:nvSpPr>
          <p:spPr bwMode="ltGray">
            <a:xfrm>
              <a:off x="999243" y="2795628"/>
              <a:ext cx="295942" cy="24662"/>
            </a:xfrm>
            <a:custGeom>
              <a:avLst/>
              <a:gdLst>
                <a:gd name="connsiteX0" fmla="*/ 286218 w 295942"/>
                <a:gd name="connsiteY0" fmla="*/ 18487 h 24661"/>
                <a:gd name="connsiteX1" fmla="*/ 255129 w 295942"/>
                <a:gd name="connsiteY1" fmla="*/ 18487 h 24661"/>
                <a:gd name="connsiteX2" fmla="*/ 260510 w 295942"/>
                <a:gd name="connsiteY2" fmla="*/ 7006 h 24661"/>
                <a:gd name="connsiteX3" fmla="*/ 290422 w 295942"/>
                <a:gd name="connsiteY3" fmla="*/ 7006 h 24661"/>
                <a:gd name="connsiteX4" fmla="*/ 286218 w 295942"/>
                <a:gd name="connsiteY4" fmla="*/ 18487 h 24661"/>
                <a:gd name="connsiteX5" fmla="*/ 42308 w 295942"/>
                <a:gd name="connsiteY5" fmla="*/ 18487 h 24661"/>
                <a:gd name="connsiteX6" fmla="*/ 11210 w 295942"/>
                <a:gd name="connsiteY6" fmla="*/ 18487 h 24661"/>
                <a:gd name="connsiteX7" fmla="*/ 7006 w 295942"/>
                <a:gd name="connsiteY7" fmla="*/ 7006 h 24661"/>
                <a:gd name="connsiteX8" fmla="*/ 36918 w 295942"/>
                <a:gd name="connsiteY8" fmla="*/ 7006 h 24661"/>
                <a:gd name="connsiteX9" fmla="*/ 42308 w 295942"/>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942" h="24661">
                  <a:moveTo>
                    <a:pt x="286218" y="18487"/>
                  </a:moveTo>
                  <a:lnTo>
                    <a:pt x="255129" y="18487"/>
                  </a:lnTo>
                  <a:cubicBezTo>
                    <a:pt x="257109" y="14769"/>
                    <a:pt x="258912" y="10939"/>
                    <a:pt x="260510" y="7006"/>
                  </a:cubicBezTo>
                  <a:lnTo>
                    <a:pt x="290422" y="7006"/>
                  </a:lnTo>
                  <a:cubicBezTo>
                    <a:pt x="289179" y="10902"/>
                    <a:pt x="287769" y="14732"/>
                    <a:pt x="286218" y="18487"/>
                  </a:cubicBezTo>
                  <a:close/>
                  <a:moveTo>
                    <a:pt x="42308" y="18487"/>
                  </a:moveTo>
                  <a:lnTo>
                    <a:pt x="11210" y="18487"/>
                  </a:lnTo>
                  <a:cubicBezTo>
                    <a:pt x="9659" y="14732"/>
                    <a:pt x="8258" y="10902"/>
                    <a:pt x="7006" y="7006"/>
                  </a:cubicBezTo>
                  <a:lnTo>
                    <a:pt x="36918" y="7006"/>
                  </a:lnTo>
                  <a:cubicBezTo>
                    <a:pt x="38515" y="10939"/>
                    <a:pt x="40318" y="14769"/>
                    <a:pt x="42308" y="184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5" name="Freeform: Shape 13534">
              <a:extLst>
                <a:ext uri="{FF2B5EF4-FFF2-40B4-BE49-F238E27FC236}">
                  <a16:creationId xmlns:a16="http://schemas.microsoft.com/office/drawing/2014/main" id="{8BECC371-482C-43A8-9C08-368B5204A33E}"/>
                </a:ext>
              </a:extLst>
            </p:cNvPr>
            <p:cNvSpPr/>
            <p:nvPr/>
          </p:nvSpPr>
          <p:spPr bwMode="ltGray">
            <a:xfrm>
              <a:off x="496636" y="2795628"/>
              <a:ext cx="103131" cy="24662"/>
            </a:xfrm>
            <a:custGeom>
              <a:avLst/>
              <a:gdLst>
                <a:gd name="connsiteX0" fmla="*/ 86597 w 103131"/>
                <a:gd name="connsiteY0" fmla="*/ 18487 h 24661"/>
                <a:gd name="connsiteX1" fmla="*/ 7006 w 103131"/>
                <a:gd name="connsiteY1" fmla="*/ 18487 h 24661"/>
                <a:gd name="connsiteX2" fmla="*/ 18487 w 103131"/>
                <a:gd name="connsiteY2" fmla="*/ 7006 h 24661"/>
                <a:gd name="connsiteX3" fmla="*/ 98078 w 103131"/>
                <a:gd name="connsiteY3" fmla="*/ 7006 h 24661"/>
                <a:gd name="connsiteX4" fmla="*/ 86597 w 103131"/>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1" h="24661">
                  <a:moveTo>
                    <a:pt x="86597" y="18487"/>
                  </a:moveTo>
                  <a:lnTo>
                    <a:pt x="7006" y="18487"/>
                  </a:lnTo>
                  <a:lnTo>
                    <a:pt x="18487" y="7006"/>
                  </a:lnTo>
                  <a:lnTo>
                    <a:pt x="98078" y="7006"/>
                  </a:lnTo>
                  <a:lnTo>
                    <a:pt x="86597"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6" name="Freeform: Shape 13535">
              <a:extLst>
                <a:ext uri="{FF2B5EF4-FFF2-40B4-BE49-F238E27FC236}">
                  <a16:creationId xmlns:a16="http://schemas.microsoft.com/office/drawing/2014/main" id="{B86E2BF8-56AA-4102-B7CA-BF399ADCBBD3}"/>
                </a:ext>
              </a:extLst>
            </p:cNvPr>
            <p:cNvSpPr/>
            <p:nvPr/>
          </p:nvSpPr>
          <p:spPr bwMode="ltGray">
            <a:xfrm>
              <a:off x="3434948" y="2551625"/>
              <a:ext cx="47082" cy="29146"/>
            </a:xfrm>
            <a:custGeom>
              <a:avLst/>
              <a:gdLst>
                <a:gd name="connsiteX0" fmla="*/ 23233 w 47081"/>
                <a:gd name="connsiteY0" fmla="*/ 23896 h 29145"/>
                <a:gd name="connsiteX1" fmla="*/ 7006 w 47081"/>
                <a:gd name="connsiteY1" fmla="*/ 23896 h 29145"/>
                <a:gd name="connsiteX2" fmla="*/ 23896 w 47081"/>
                <a:gd name="connsiteY2" fmla="*/ 7006 h 29145"/>
                <a:gd name="connsiteX3" fmla="*/ 40122 w 47081"/>
                <a:gd name="connsiteY3" fmla="*/ 7006 h 29145"/>
                <a:gd name="connsiteX4" fmla="*/ 23233 w 47081"/>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23233" y="23896"/>
                  </a:moveTo>
                  <a:lnTo>
                    <a:pt x="7006" y="23896"/>
                  </a:lnTo>
                  <a:lnTo>
                    <a:pt x="23896" y="7006"/>
                  </a:lnTo>
                  <a:lnTo>
                    <a:pt x="40122" y="7006"/>
                  </a:lnTo>
                  <a:lnTo>
                    <a:pt x="23233"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7" name="Freeform: Shape 13536">
              <a:extLst>
                <a:ext uri="{FF2B5EF4-FFF2-40B4-BE49-F238E27FC236}">
                  <a16:creationId xmlns:a16="http://schemas.microsoft.com/office/drawing/2014/main" id="{0B8643C1-1B8A-4973-BEBE-ADF347123535}"/>
                </a:ext>
              </a:extLst>
            </p:cNvPr>
            <p:cNvSpPr/>
            <p:nvPr/>
          </p:nvSpPr>
          <p:spPr bwMode="ltGray">
            <a:xfrm>
              <a:off x="3698242" y="1294159"/>
              <a:ext cx="3546822" cy="1024588"/>
            </a:xfrm>
            <a:custGeom>
              <a:avLst/>
              <a:gdLst>
                <a:gd name="connsiteX0" fmla="*/ 23233 w 3546822"/>
                <a:gd name="connsiteY0" fmla="*/ 1018068 h 1024587"/>
                <a:gd name="connsiteX1" fmla="*/ 7006 w 3546822"/>
                <a:gd name="connsiteY1" fmla="*/ 1018068 h 1024587"/>
                <a:gd name="connsiteX2" fmla="*/ 83626 w 3546822"/>
                <a:gd name="connsiteY2" fmla="*/ 941448 h 1024587"/>
                <a:gd name="connsiteX3" fmla="*/ 198388 w 3546822"/>
                <a:gd name="connsiteY3" fmla="*/ 826686 h 1024587"/>
                <a:gd name="connsiteX4" fmla="*/ 237679 w 3546822"/>
                <a:gd name="connsiteY4" fmla="*/ 787396 h 1024587"/>
                <a:gd name="connsiteX5" fmla="*/ 249150 w 3546822"/>
                <a:gd name="connsiteY5" fmla="*/ 775924 h 1024587"/>
                <a:gd name="connsiteX6" fmla="*/ 355318 w 3546822"/>
                <a:gd name="connsiteY6" fmla="*/ 669757 h 1024587"/>
                <a:gd name="connsiteX7" fmla="*/ 571735 w 3546822"/>
                <a:gd name="connsiteY7" fmla="*/ 669757 h 1024587"/>
                <a:gd name="connsiteX8" fmla="*/ 847163 w 3546822"/>
                <a:gd name="connsiteY8" fmla="*/ 259482 h 1024587"/>
                <a:gd name="connsiteX9" fmla="*/ 2901992 w 3546822"/>
                <a:gd name="connsiteY9" fmla="*/ 259482 h 1024587"/>
                <a:gd name="connsiteX10" fmla="*/ 3139176 w 3546822"/>
                <a:gd name="connsiteY10" fmla="*/ 7006 h 1024587"/>
                <a:gd name="connsiteX11" fmla="*/ 3541417 w 3546822"/>
                <a:gd name="connsiteY11" fmla="*/ 7006 h 1024587"/>
                <a:gd name="connsiteX12" fmla="*/ 3541417 w 3546822"/>
                <a:gd name="connsiteY12" fmla="*/ 18478 h 1024587"/>
                <a:gd name="connsiteX13" fmla="*/ 3144136 w 3546822"/>
                <a:gd name="connsiteY13" fmla="*/ 18478 h 1024587"/>
                <a:gd name="connsiteX14" fmla="*/ 2906962 w 3546822"/>
                <a:gd name="connsiteY14" fmla="*/ 270963 h 1024587"/>
                <a:gd name="connsiteX15" fmla="*/ 853282 w 3546822"/>
                <a:gd name="connsiteY15" fmla="*/ 270963 h 1024587"/>
                <a:gd name="connsiteX16" fmla="*/ 577854 w 3546822"/>
                <a:gd name="connsiteY16" fmla="*/ 681237 h 1024587"/>
                <a:gd name="connsiteX17" fmla="*/ 360063 w 3546822"/>
                <a:gd name="connsiteY17" fmla="*/ 681237 h 1024587"/>
                <a:gd name="connsiteX18" fmla="*/ 265377 w 3546822"/>
                <a:gd name="connsiteY18" fmla="*/ 775924 h 1024587"/>
                <a:gd name="connsiteX19" fmla="*/ 253905 w 3546822"/>
                <a:gd name="connsiteY19" fmla="*/ 787396 h 1024587"/>
                <a:gd name="connsiteX20" fmla="*/ 214614 w 3546822"/>
                <a:gd name="connsiteY20" fmla="*/ 826686 h 1024587"/>
                <a:gd name="connsiteX21" fmla="*/ 99843 w 3546822"/>
                <a:gd name="connsiteY21" fmla="*/ 941448 h 1024587"/>
                <a:gd name="connsiteX22" fmla="*/ 23233 w 3546822"/>
                <a:gd name="connsiteY22" fmla="*/ 1018068 h 102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6822" h="1024587">
                  <a:moveTo>
                    <a:pt x="23233" y="1018068"/>
                  </a:moveTo>
                  <a:lnTo>
                    <a:pt x="7006" y="1018068"/>
                  </a:lnTo>
                  <a:lnTo>
                    <a:pt x="83626" y="941448"/>
                  </a:lnTo>
                  <a:lnTo>
                    <a:pt x="198388" y="826686"/>
                  </a:lnTo>
                  <a:lnTo>
                    <a:pt x="237679" y="787396"/>
                  </a:lnTo>
                  <a:lnTo>
                    <a:pt x="249150" y="775924"/>
                  </a:lnTo>
                  <a:lnTo>
                    <a:pt x="355318" y="669757"/>
                  </a:lnTo>
                  <a:lnTo>
                    <a:pt x="571735" y="669757"/>
                  </a:lnTo>
                  <a:lnTo>
                    <a:pt x="847163" y="259482"/>
                  </a:lnTo>
                  <a:lnTo>
                    <a:pt x="2901992" y="259482"/>
                  </a:lnTo>
                  <a:lnTo>
                    <a:pt x="3139176" y="7006"/>
                  </a:lnTo>
                  <a:lnTo>
                    <a:pt x="3541417" y="7006"/>
                  </a:lnTo>
                  <a:lnTo>
                    <a:pt x="3541417" y="18478"/>
                  </a:lnTo>
                  <a:lnTo>
                    <a:pt x="3144136" y="18478"/>
                  </a:lnTo>
                  <a:lnTo>
                    <a:pt x="2906962" y="270963"/>
                  </a:lnTo>
                  <a:lnTo>
                    <a:pt x="853282" y="270963"/>
                  </a:lnTo>
                  <a:lnTo>
                    <a:pt x="577854" y="681237"/>
                  </a:lnTo>
                  <a:lnTo>
                    <a:pt x="360063" y="681237"/>
                  </a:lnTo>
                  <a:lnTo>
                    <a:pt x="265377" y="775924"/>
                  </a:lnTo>
                  <a:lnTo>
                    <a:pt x="253905" y="787396"/>
                  </a:lnTo>
                  <a:lnTo>
                    <a:pt x="214614" y="826686"/>
                  </a:lnTo>
                  <a:lnTo>
                    <a:pt x="99843" y="941448"/>
                  </a:lnTo>
                  <a:lnTo>
                    <a:pt x="23233" y="10180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8" name="Freeform: Shape 13537">
              <a:extLst>
                <a:ext uri="{FF2B5EF4-FFF2-40B4-BE49-F238E27FC236}">
                  <a16:creationId xmlns:a16="http://schemas.microsoft.com/office/drawing/2014/main" id="{A41678D2-6F70-43E4-ADB5-3854CC8F468A}"/>
                </a:ext>
              </a:extLst>
            </p:cNvPr>
            <p:cNvSpPr/>
            <p:nvPr/>
          </p:nvSpPr>
          <p:spPr bwMode="ltGray">
            <a:xfrm>
              <a:off x="3689778" y="2305221"/>
              <a:ext cx="38114" cy="22420"/>
            </a:xfrm>
            <a:custGeom>
              <a:avLst/>
              <a:gdLst>
                <a:gd name="connsiteX0" fmla="*/ 23233 w 38113"/>
                <a:gd name="connsiteY0" fmla="*/ 15470 h 22419"/>
                <a:gd name="connsiteX1" fmla="*/ 7006 w 38113"/>
                <a:gd name="connsiteY1" fmla="*/ 15470 h 22419"/>
                <a:gd name="connsiteX2" fmla="*/ 15470 w 38113"/>
                <a:gd name="connsiteY2" fmla="*/ 7006 h 22419"/>
                <a:gd name="connsiteX3" fmla="*/ 31696 w 38113"/>
                <a:gd name="connsiteY3" fmla="*/ 7006 h 22419"/>
                <a:gd name="connsiteX4" fmla="*/ 23233 w 38113"/>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 h="22419">
                  <a:moveTo>
                    <a:pt x="23233" y="15470"/>
                  </a:moveTo>
                  <a:lnTo>
                    <a:pt x="7006" y="15470"/>
                  </a:lnTo>
                  <a:lnTo>
                    <a:pt x="15470" y="7006"/>
                  </a:lnTo>
                  <a:lnTo>
                    <a:pt x="31696" y="7006"/>
                  </a:lnTo>
                  <a:lnTo>
                    <a:pt x="23233"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9" name="Freeform: Shape 13538">
              <a:extLst>
                <a:ext uri="{FF2B5EF4-FFF2-40B4-BE49-F238E27FC236}">
                  <a16:creationId xmlns:a16="http://schemas.microsoft.com/office/drawing/2014/main" id="{C7A2ED97-8677-46FB-A4DD-3B9E73AA4B80}"/>
                </a:ext>
              </a:extLst>
            </p:cNvPr>
            <p:cNvSpPr/>
            <p:nvPr/>
          </p:nvSpPr>
          <p:spPr bwMode="ltGray">
            <a:xfrm>
              <a:off x="-2860" y="2795628"/>
              <a:ext cx="457365" cy="24662"/>
            </a:xfrm>
            <a:custGeom>
              <a:avLst/>
              <a:gdLst>
                <a:gd name="connsiteX0" fmla="*/ 439009 w 457365"/>
                <a:gd name="connsiteY0" fmla="*/ 18487 h 24661"/>
                <a:gd name="connsiteX1" fmla="*/ 7006 w 457365"/>
                <a:gd name="connsiteY1" fmla="*/ 18487 h 24661"/>
                <a:gd name="connsiteX2" fmla="*/ 7006 w 457365"/>
                <a:gd name="connsiteY2" fmla="*/ 7006 h 24661"/>
                <a:gd name="connsiteX3" fmla="*/ 450481 w 457365"/>
                <a:gd name="connsiteY3" fmla="*/ 7006 h 24661"/>
                <a:gd name="connsiteX4" fmla="*/ 439009 w 457365"/>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365" h="24661">
                  <a:moveTo>
                    <a:pt x="439009" y="18487"/>
                  </a:moveTo>
                  <a:lnTo>
                    <a:pt x="7006" y="18487"/>
                  </a:lnTo>
                  <a:lnTo>
                    <a:pt x="7006" y="7006"/>
                  </a:lnTo>
                  <a:lnTo>
                    <a:pt x="450481" y="7006"/>
                  </a:lnTo>
                  <a:lnTo>
                    <a:pt x="439009" y="184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0" name="Freeform: Shape 13539">
              <a:extLst>
                <a:ext uri="{FF2B5EF4-FFF2-40B4-BE49-F238E27FC236}">
                  <a16:creationId xmlns:a16="http://schemas.microsoft.com/office/drawing/2014/main" id="{48DB0751-2F2A-4602-B600-8045B0F1E4F9}"/>
                </a:ext>
              </a:extLst>
            </p:cNvPr>
            <p:cNvSpPr/>
            <p:nvPr/>
          </p:nvSpPr>
          <p:spPr bwMode="ltGray">
            <a:xfrm>
              <a:off x="429143" y="2795628"/>
              <a:ext cx="31388" cy="24662"/>
            </a:xfrm>
            <a:custGeom>
              <a:avLst/>
              <a:gdLst>
                <a:gd name="connsiteX0" fmla="*/ 14956 w 31387"/>
                <a:gd name="connsiteY0" fmla="*/ 18487 h 24661"/>
                <a:gd name="connsiteX1" fmla="*/ 7006 w 31387"/>
                <a:gd name="connsiteY1" fmla="*/ 18487 h 24661"/>
                <a:gd name="connsiteX2" fmla="*/ 18478 w 31387"/>
                <a:gd name="connsiteY2" fmla="*/ 7006 h 24661"/>
                <a:gd name="connsiteX3" fmla="*/ 26437 w 31387"/>
                <a:gd name="connsiteY3" fmla="*/ 7006 h 24661"/>
                <a:gd name="connsiteX4" fmla="*/ 14956 w 31387"/>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7" h="24661">
                  <a:moveTo>
                    <a:pt x="14956" y="18487"/>
                  </a:moveTo>
                  <a:lnTo>
                    <a:pt x="7006" y="18487"/>
                  </a:lnTo>
                  <a:lnTo>
                    <a:pt x="18478" y="7006"/>
                  </a:lnTo>
                  <a:lnTo>
                    <a:pt x="26437" y="7006"/>
                  </a:lnTo>
                  <a:lnTo>
                    <a:pt x="14956"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1" name="Freeform: Shape 13540">
              <a:extLst>
                <a:ext uri="{FF2B5EF4-FFF2-40B4-BE49-F238E27FC236}">
                  <a16:creationId xmlns:a16="http://schemas.microsoft.com/office/drawing/2014/main" id="{25B6ED6C-7D3D-45A0-8A4E-34EF767693EB}"/>
                </a:ext>
              </a:extLst>
            </p:cNvPr>
            <p:cNvSpPr/>
            <p:nvPr/>
          </p:nvSpPr>
          <p:spPr bwMode="ltGray">
            <a:xfrm>
              <a:off x="4379937" y="2655148"/>
              <a:ext cx="89679" cy="89679"/>
            </a:xfrm>
            <a:custGeom>
              <a:avLst/>
              <a:gdLst>
                <a:gd name="connsiteX0" fmla="*/ 45793 w 89679"/>
                <a:gd name="connsiteY0" fmla="*/ 84579 h 89679"/>
                <a:gd name="connsiteX1" fmla="*/ 7006 w 89679"/>
                <a:gd name="connsiteY1" fmla="*/ 45793 h 89679"/>
                <a:gd name="connsiteX2" fmla="*/ 45793 w 89679"/>
                <a:gd name="connsiteY2" fmla="*/ 7006 h 89679"/>
                <a:gd name="connsiteX3" fmla="*/ 84579 w 89679"/>
                <a:gd name="connsiteY3" fmla="*/ 45793 h 89679"/>
                <a:gd name="connsiteX4" fmla="*/ 4579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3" y="84579"/>
                  </a:moveTo>
                  <a:cubicBezTo>
                    <a:pt x="24372" y="84579"/>
                    <a:pt x="7006" y="67213"/>
                    <a:pt x="7006" y="45793"/>
                  </a:cubicBezTo>
                  <a:cubicBezTo>
                    <a:pt x="7006" y="24372"/>
                    <a:pt x="24372" y="7006"/>
                    <a:pt x="45793" y="7006"/>
                  </a:cubicBezTo>
                  <a:cubicBezTo>
                    <a:pt x="67213" y="7006"/>
                    <a:pt x="84579" y="24372"/>
                    <a:pt x="84579" y="45793"/>
                  </a:cubicBezTo>
                  <a:cubicBezTo>
                    <a:pt x="84579" y="67213"/>
                    <a:pt x="67213" y="84579"/>
                    <a:pt x="4579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2" name="Freeform: Shape 13541">
              <a:extLst>
                <a:ext uri="{FF2B5EF4-FFF2-40B4-BE49-F238E27FC236}">
                  <a16:creationId xmlns:a16="http://schemas.microsoft.com/office/drawing/2014/main" id="{FD543DDA-201A-4B6F-ADB9-9F965845FD34}"/>
                </a:ext>
              </a:extLst>
            </p:cNvPr>
            <p:cNvSpPr/>
            <p:nvPr/>
          </p:nvSpPr>
          <p:spPr bwMode="ltGray">
            <a:xfrm>
              <a:off x="7441138" y="1139256"/>
              <a:ext cx="842987" cy="186085"/>
            </a:xfrm>
            <a:custGeom>
              <a:avLst/>
              <a:gdLst>
                <a:gd name="connsiteX0" fmla="*/ 379054 w 842986"/>
                <a:gd name="connsiteY0" fmla="*/ 179125 h 186084"/>
                <a:gd name="connsiteX1" fmla="*/ 7006 w 842986"/>
                <a:gd name="connsiteY1" fmla="*/ 179125 h 186084"/>
                <a:gd name="connsiteX2" fmla="*/ 7006 w 842986"/>
                <a:gd name="connsiteY2" fmla="*/ 156173 h 186084"/>
                <a:gd name="connsiteX3" fmla="*/ 369545 w 842986"/>
                <a:gd name="connsiteY3" fmla="*/ 156173 h 186084"/>
                <a:gd name="connsiteX4" fmla="*/ 518712 w 842986"/>
                <a:gd name="connsiteY4" fmla="*/ 7006 h 186084"/>
                <a:gd name="connsiteX5" fmla="*/ 837121 w 842986"/>
                <a:gd name="connsiteY5" fmla="*/ 7006 h 186084"/>
                <a:gd name="connsiteX6" fmla="*/ 837121 w 842986"/>
                <a:gd name="connsiteY6" fmla="*/ 29959 h 186084"/>
                <a:gd name="connsiteX7" fmla="*/ 528212 w 842986"/>
                <a:gd name="connsiteY7" fmla="*/ 29959 h 186084"/>
                <a:gd name="connsiteX8" fmla="*/ 379054 w 842986"/>
                <a:gd name="connsiteY8" fmla="*/ 179125 h 18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986" h="186084">
                  <a:moveTo>
                    <a:pt x="379054" y="179125"/>
                  </a:moveTo>
                  <a:lnTo>
                    <a:pt x="7006" y="179125"/>
                  </a:lnTo>
                  <a:lnTo>
                    <a:pt x="7006" y="156173"/>
                  </a:lnTo>
                  <a:lnTo>
                    <a:pt x="369545" y="156173"/>
                  </a:lnTo>
                  <a:lnTo>
                    <a:pt x="518712" y="7006"/>
                  </a:lnTo>
                  <a:lnTo>
                    <a:pt x="837121" y="7006"/>
                  </a:lnTo>
                  <a:lnTo>
                    <a:pt x="837121" y="29959"/>
                  </a:lnTo>
                  <a:lnTo>
                    <a:pt x="528212" y="29959"/>
                  </a:lnTo>
                  <a:lnTo>
                    <a:pt x="379054" y="17912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grpSp>
      <p:sp>
        <p:nvSpPr>
          <p:cNvPr id="9" name="Document type" hidden="1"/>
          <p:cNvSpPr txBox="1">
            <a:spLocks noChangeArrowheads="1"/>
          </p:cNvSpPr>
          <p:nvPr/>
        </p:nvSpPr>
        <p:spPr bwMode="gray">
          <a:xfrm>
            <a:off x="323828" y="6015935"/>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Type de document</a:t>
            </a:r>
          </a:p>
        </p:txBody>
      </p:sp>
      <p:sp>
        <p:nvSpPr>
          <p:cNvPr id="10" name="Date" hidden="1"/>
          <p:cNvSpPr txBox="1">
            <a:spLocks noChangeArrowheads="1"/>
          </p:cNvSpPr>
          <p:nvPr/>
        </p:nvSpPr>
        <p:spPr bwMode="gray">
          <a:xfrm>
            <a:off x="323828" y="6293590"/>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Date</a:t>
            </a:r>
          </a:p>
        </p:txBody>
      </p:sp>
      <p:sp>
        <p:nvSpPr>
          <p:cNvPr id="13314" name="Rectangle 1026"/>
          <p:cNvSpPr>
            <a:spLocks noGrp="1" noChangeArrowheads="1"/>
          </p:cNvSpPr>
          <p:nvPr>
            <p:ph type="ctrTitle"/>
          </p:nvPr>
        </p:nvSpPr>
        <p:spPr bwMode="ltGray">
          <a:xfrm>
            <a:off x="323829" y="344125"/>
            <a:ext cx="5829441" cy="502445"/>
          </a:xfrm>
          <a:prstGeom prst="rect">
            <a:avLst/>
          </a:prstGeom>
        </p:spPr>
        <p:txBody>
          <a:bodyPr wrap="square">
            <a:spAutoFit/>
          </a:bodyPr>
          <a:lstStyle>
            <a:lvl1pPr>
              <a:defRPr sz="3265" b="1" baseline="0">
                <a:solidFill>
                  <a:schemeClr val="bg1"/>
                </a:solidFill>
                <a:latin typeface="+mj-lt"/>
                <a:ea typeface="+mj-ea"/>
                <a:cs typeface="+mj-cs"/>
                <a:sym typeface="+mj-lt"/>
              </a:defRPr>
            </a:lvl1pPr>
          </a:lstStyle>
          <a:p>
            <a:pPr lvl="0"/>
            <a:r>
              <a:rPr lang="en-US" noProof="0"/>
              <a:t>Click to edit Master title style</a:t>
            </a:r>
            <a:endParaRPr lang="fr-FR" noProof="0" dirty="0"/>
          </a:p>
        </p:txBody>
      </p:sp>
      <p:sp>
        <p:nvSpPr>
          <p:cNvPr id="13315" name="Rectangle 1027"/>
          <p:cNvSpPr>
            <a:spLocks noGrp="1" noChangeArrowheads="1"/>
          </p:cNvSpPr>
          <p:nvPr>
            <p:ph type="subTitle" idx="1"/>
          </p:nvPr>
        </p:nvSpPr>
        <p:spPr bwMode="ltGray">
          <a:xfrm>
            <a:off x="323829" y="2112885"/>
            <a:ext cx="5829441" cy="219820"/>
          </a:xfrm>
        </p:spPr>
        <p:txBody>
          <a:bodyPr wrap="square">
            <a:spAutoFit/>
          </a:bodyPr>
          <a:lstStyle>
            <a:lvl1pPr>
              <a:defRPr sz="1428" b="1" baseline="0">
                <a:solidFill>
                  <a:schemeClr val="bg1"/>
                </a:solidFill>
                <a:latin typeface="+mn-lt"/>
                <a:ea typeface="+mn-ea"/>
                <a:cs typeface="+mn-cs"/>
                <a:sym typeface="+mn-lt"/>
              </a:defRPr>
            </a:lvl1pPr>
          </a:lstStyle>
          <a:p>
            <a:pPr lvl="0"/>
            <a:r>
              <a:rPr lang="en-US" noProof="0"/>
              <a:t>Click to edit Master subtitle style</a:t>
            </a:r>
            <a:endParaRPr lang="fr-FR" noProof="0" dirty="0"/>
          </a:p>
        </p:txBody>
      </p:sp>
      <p:grpSp>
        <p:nvGrpSpPr>
          <p:cNvPr id="13545" name="Group 13544">
            <a:extLst>
              <a:ext uri="{FF2B5EF4-FFF2-40B4-BE49-F238E27FC236}">
                <a16:creationId xmlns:a16="http://schemas.microsoft.com/office/drawing/2014/main" id="{4C658A8A-D42D-46D4-B080-AD7BFE1FB15A}"/>
              </a:ext>
            </a:extLst>
          </p:cNvPr>
          <p:cNvGrpSpPr/>
          <p:nvPr userDrawn="1"/>
        </p:nvGrpSpPr>
        <p:grpSpPr bwMode="ltGray">
          <a:xfrm>
            <a:off x="8427681" y="344125"/>
            <a:ext cx="3418301" cy="1288578"/>
            <a:chOff x="8259786" y="337274"/>
            <a:chExt cx="3350202" cy="1262926"/>
          </a:xfrm>
        </p:grpSpPr>
        <p:sp>
          <p:nvSpPr>
            <p:cNvPr id="315" name="TextBox 314">
              <a:extLst>
                <a:ext uri="{FF2B5EF4-FFF2-40B4-BE49-F238E27FC236}">
                  <a16:creationId xmlns:a16="http://schemas.microsoft.com/office/drawing/2014/main" id="{DB6AE924-4E09-4FC5-A02E-66A1A22871A1}"/>
                </a:ext>
              </a:extLst>
            </p:cNvPr>
            <p:cNvSpPr txBox="1">
              <a:spLocks noChangeArrowheads="1"/>
            </p:cNvSpPr>
            <p:nvPr userDrawn="1"/>
          </p:nvSpPr>
          <p:spPr bwMode="ltGray">
            <a:xfrm>
              <a:off x="9308583" y="1408789"/>
              <a:ext cx="1688680" cy="191411"/>
            </a:xfrm>
            <a:custGeom>
              <a:avLst/>
              <a:gdLst/>
              <a:ahLst/>
              <a:cxnLst/>
              <a:rect l="l" t="t" r="r" b="b"/>
              <a:pathLst>
                <a:path w="1775138" h="201211">
                  <a:moveTo>
                    <a:pt x="1612059" y="57443"/>
                  </a:moveTo>
                  <a:cubicBezTo>
                    <a:pt x="1603502" y="57443"/>
                    <a:pt x="1596352" y="60938"/>
                    <a:pt x="1590612" y="67926"/>
                  </a:cubicBezTo>
                  <a:cubicBezTo>
                    <a:pt x="1584871" y="74915"/>
                    <a:pt x="1582001" y="85933"/>
                    <a:pt x="1582001" y="100980"/>
                  </a:cubicBezTo>
                  <a:cubicBezTo>
                    <a:pt x="1582001" y="115528"/>
                    <a:pt x="1585067" y="126403"/>
                    <a:pt x="1591200" y="133606"/>
                  </a:cubicBezTo>
                  <a:cubicBezTo>
                    <a:pt x="1597333" y="140809"/>
                    <a:pt x="1604571" y="144410"/>
                    <a:pt x="1612915" y="144410"/>
                  </a:cubicBezTo>
                  <a:cubicBezTo>
                    <a:pt x="1621330" y="144410"/>
                    <a:pt x="1628479" y="140969"/>
                    <a:pt x="1634363" y="134087"/>
                  </a:cubicBezTo>
                  <a:cubicBezTo>
                    <a:pt x="1640246" y="127206"/>
                    <a:pt x="1643188" y="116705"/>
                    <a:pt x="1643188" y="102585"/>
                  </a:cubicBezTo>
                  <a:cubicBezTo>
                    <a:pt x="1643188" y="87038"/>
                    <a:pt x="1640192" y="75628"/>
                    <a:pt x="1634202" y="68354"/>
                  </a:cubicBezTo>
                  <a:cubicBezTo>
                    <a:pt x="1628212" y="61080"/>
                    <a:pt x="1620831" y="57443"/>
                    <a:pt x="1612059" y="57443"/>
                  </a:cubicBezTo>
                  <a:close/>
                  <a:moveTo>
                    <a:pt x="596093" y="57443"/>
                  </a:moveTo>
                  <a:cubicBezTo>
                    <a:pt x="586466" y="57443"/>
                    <a:pt x="578479" y="61044"/>
                    <a:pt x="572132" y="68247"/>
                  </a:cubicBezTo>
                  <a:cubicBezTo>
                    <a:pt x="565785" y="75450"/>
                    <a:pt x="562612" y="86325"/>
                    <a:pt x="562612" y="100873"/>
                  </a:cubicBezTo>
                  <a:cubicBezTo>
                    <a:pt x="562612" y="115421"/>
                    <a:pt x="565785" y="126314"/>
                    <a:pt x="572132" y="133552"/>
                  </a:cubicBezTo>
                  <a:cubicBezTo>
                    <a:pt x="578479" y="140791"/>
                    <a:pt x="586466" y="144410"/>
                    <a:pt x="596093" y="144410"/>
                  </a:cubicBezTo>
                  <a:cubicBezTo>
                    <a:pt x="605649" y="144410"/>
                    <a:pt x="613601" y="140773"/>
                    <a:pt x="619948" y="133499"/>
                  </a:cubicBezTo>
                  <a:cubicBezTo>
                    <a:pt x="626295" y="126225"/>
                    <a:pt x="629468" y="115136"/>
                    <a:pt x="629468" y="100231"/>
                  </a:cubicBezTo>
                  <a:cubicBezTo>
                    <a:pt x="629468" y="86182"/>
                    <a:pt x="626277" y="75539"/>
                    <a:pt x="619894" y="68301"/>
                  </a:cubicBezTo>
                  <a:cubicBezTo>
                    <a:pt x="613512" y="61062"/>
                    <a:pt x="605578" y="57443"/>
                    <a:pt x="596093" y="57443"/>
                  </a:cubicBezTo>
                  <a:close/>
                  <a:moveTo>
                    <a:pt x="1244542" y="57336"/>
                  </a:moveTo>
                  <a:cubicBezTo>
                    <a:pt x="1235699" y="57336"/>
                    <a:pt x="1228265" y="60296"/>
                    <a:pt x="1222239" y="66215"/>
                  </a:cubicBezTo>
                  <a:cubicBezTo>
                    <a:pt x="1216213" y="72134"/>
                    <a:pt x="1212879" y="80050"/>
                    <a:pt x="1212237" y="89962"/>
                  </a:cubicBezTo>
                  <a:lnTo>
                    <a:pt x="1275670" y="89962"/>
                  </a:lnTo>
                  <a:cubicBezTo>
                    <a:pt x="1274815" y="80406"/>
                    <a:pt x="1272390" y="73239"/>
                    <a:pt x="1268396" y="68461"/>
                  </a:cubicBezTo>
                  <a:cubicBezTo>
                    <a:pt x="1262263" y="61044"/>
                    <a:pt x="1254312" y="57336"/>
                    <a:pt x="1244542" y="57336"/>
                  </a:cubicBezTo>
                  <a:close/>
                  <a:moveTo>
                    <a:pt x="949267" y="57336"/>
                  </a:moveTo>
                  <a:cubicBezTo>
                    <a:pt x="940424" y="57336"/>
                    <a:pt x="932990" y="60296"/>
                    <a:pt x="926964" y="66215"/>
                  </a:cubicBezTo>
                  <a:cubicBezTo>
                    <a:pt x="920938" y="72134"/>
                    <a:pt x="917604" y="80050"/>
                    <a:pt x="916962" y="89962"/>
                  </a:cubicBezTo>
                  <a:lnTo>
                    <a:pt x="980395" y="89962"/>
                  </a:lnTo>
                  <a:cubicBezTo>
                    <a:pt x="979540" y="80406"/>
                    <a:pt x="977115" y="73239"/>
                    <a:pt x="973122" y="68461"/>
                  </a:cubicBezTo>
                  <a:cubicBezTo>
                    <a:pt x="966988" y="61044"/>
                    <a:pt x="959037" y="57336"/>
                    <a:pt x="949267" y="57336"/>
                  </a:cubicBezTo>
                  <a:close/>
                  <a:moveTo>
                    <a:pt x="434917" y="57336"/>
                  </a:moveTo>
                  <a:cubicBezTo>
                    <a:pt x="426074" y="57336"/>
                    <a:pt x="418640" y="60296"/>
                    <a:pt x="412614" y="66215"/>
                  </a:cubicBezTo>
                  <a:cubicBezTo>
                    <a:pt x="406588" y="72134"/>
                    <a:pt x="403254" y="80050"/>
                    <a:pt x="402612" y="89962"/>
                  </a:cubicBezTo>
                  <a:lnTo>
                    <a:pt x="466045" y="89962"/>
                  </a:lnTo>
                  <a:cubicBezTo>
                    <a:pt x="465190" y="80406"/>
                    <a:pt x="462765" y="73239"/>
                    <a:pt x="458771" y="68461"/>
                  </a:cubicBezTo>
                  <a:cubicBezTo>
                    <a:pt x="452638" y="61044"/>
                    <a:pt x="444687" y="57336"/>
                    <a:pt x="434917" y="57336"/>
                  </a:cubicBezTo>
                  <a:close/>
                  <a:moveTo>
                    <a:pt x="206317" y="57336"/>
                  </a:moveTo>
                  <a:cubicBezTo>
                    <a:pt x="197474" y="57336"/>
                    <a:pt x="190040" y="60296"/>
                    <a:pt x="184014" y="66215"/>
                  </a:cubicBezTo>
                  <a:cubicBezTo>
                    <a:pt x="177988" y="72134"/>
                    <a:pt x="174654" y="80050"/>
                    <a:pt x="174012" y="89962"/>
                  </a:cubicBezTo>
                  <a:lnTo>
                    <a:pt x="237445" y="89962"/>
                  </a:lnTo>
                  <a:cubicBezTo>
                    <a:pt x="236590" y="80406"/>
                    <a:pt x="234165" y="73239"/>
                    <a:pt x="230171" y="68461"/>
                  </a:cubicBezTo>
                  <a:cubicBezTo>
                    <a:pt x="224039" y="61044"/>
                    <a:pt x="216087" y="57336"/>
                    <a:pt x="206317" y="57336"/>
                  </a:cubicBezTo>
                  <a:close/>
                  <a:moveTo>
                    <a:pt x="836786" y="56587"/>
                  </a:moveTo>
                  <a:cubicBezTo>
                    <a:pt x="828584" y="56587"/>
                    <a:pt x="821328" y="60420"/>
                    <a:pt x="815017" y="68087"/>
                  </a:cubicBezTo>
                  <a:cubicBezTo>
                    <a:pt x="808706" y="75753"/>
                    <a:pt x="805550" y="86896"/>
                    <a:pt x="805550" y="101515"/>
                  </a:cubicBezTo>
                  <a:cubicBezTo>
                    <a:pt x="805550" y="116134"/>
                    <a:pt x="808510" y="126938"/>
                    <a:pt x="814429" y="133927"/>
                  </a:cubicBezTo>
                  <a:cubicBezTo>
                    <a:pt x="820348" y="140916"/>
                    <a:pt x="827515" y="144410"/>
                    <a:pt x="835930" y="144410"/>
                  </a:cubicBezTo>
                  <a:cubicBezTo>
                    <a:pt x="844487" y="144410"/>
                    <a:pt x="851815" y="140791"/>
                    <a:pt x="857912" y="133552"/>
                  </a:cubicBezTo>
                  <a:cubicBezTo>
                    <a:pt x="864010" y="126314"/>
                    <a:pt x="867058" y="115100"/>
                    <a:pt x="867058" y="99910"/>
                  </a:cubicBezTo>
                  <a:cubicBezTo>
                    <a:pt x="867058" y="85434"/>
                    <a:pt x="864081" y="74594"/>
                    <a:pt x="858126" y="67391"/>
                  </a:cubicBezTo>
                  <a:cubicBezTo>
                    <a:pt x="852171" y="60189"/>
                    <a:pt x="845058" y="56587"/>
                    <a:pt x="836786" y="56587"/>
                  </a:cubicBezTo>
                  <a:close/>
                  <a:moveTo>
                    <a:pt x="722486" y="56587"/>
                  </a:moveTo>
                  <a:cubicBezTo>
                    <a:pt x="714285" y="56587"/>
                    <a:pt x="707028" y="60420"/>
                    <a:pt x="700717" y="68087"/>
                  </a:cubicBezTo>
                  <a:cubicBezTo>
                    <a:pt x="694406" y="75753"/>
                    <a:pt x="691250" y="86896"/>
                    <a:pt x="691250" y="101515"/>
                  </a:cubicBezTo>
                  <a:cubicBezTo>
                    <a:pt x="691250" y="116134"/>
                    <a:pt x="694210" y="126938"/>
                    <a:pt x="700129" y="133927"/>
                  </a:cubicBezTo>
                  <a:cubicBezTo>
                    <a:pt x="706048" y="140916"/>
                    <a:pt x="713215" y="144410"/>
                    <a:pt x="721630" y="144410"/>
                  </a:cubicBezTo>
                  <a:cubicBezTo>
                    <a:pt x="730187" y="144410"/>
                    <a:pt x="737515" y="140791"/>
                    <a:pt x="743612" y="133552"/>
                  </a:cubicBezTo>
                  <a:cubicBezTo>
                    <a:pt x="749710" y="126314"/>
                    <a:pt x="752758" y="115100"/>
                    <a:pt x="752758" y="99910"/>
                  </a:cubicBezTo>
                  <a:cubicBezTo>
                    <a:pt x="752758" y="85434"/>
                    <a:pt x="749781" y="74594"/>
                    <a:pt x="743826" y="67391"/>
                  </a:cubicBezTo>
                  <a:cubicBezTo>
                    <a:pt x="737871" y="60189"/>
                    <a:pt x="730758" y="56587"/>
                    <a:pt x="722486" y="56587"/>
                  </a:cubicBezTo>
                  <a:close/>
                  <a:moveTo>
                    <a:pt x="1683036" y="44072"/>
                  </a:moveTo>
                  <a:lnTo>
                    <a:pt x="1702291" y="44072"/>
                  </a:lnTo>
                  <a:lnTo>
                    <a:pt x="1702291" y="107077"/>
                  </a:lnTo>
                  <a:cubicBezTo>
                    <a:pt x="1702291" y="117133"/>
                    <a:pt x="1702683" y="123907"/>
                    <a:pt x="1703468" y="127402"/>
                  </a:cubicBezTo>
                  <a:cubicBezTo>
                    <a:pt x="1704680" y="132465"/>
                    <a:pt x="1707247" y="136441"/>
                    <a:pt x="1711169" y="139329"/>
                  </a:cubicBezTo>
                  <a:cubicBezTo>
                    <a:pt x="1715092" y="142217"/>
                    <a:pt x="1719941" y="143661"/>
                    <a:pt x="1725717" y="143661"/>
                  </a:cubicBezTo>
                  <a:cubicBezTo>
                    <a:pt x="1731494" y="143661"/>
                    <a:pt x="1736914" y="142181"/>
                    <a:pt x="1741977" y="139222"/>
                  </a:cubicBezTo>
                  <a:cubicBezTo>
                    <a:pt x="1747040" y="136262"/>
                    <a:pt x="1750624" y="132233"/>
                    <a:pt x="1752727" y="127134"/>
                  </a:cubicBezTo>
                  <a:cubicBezTo>
                    <a:pt x="1754831" y="122035"/>
                    <a:pt x="1755883" y="114637"/>
                    <a:pt x="1755883" y="104938"/>
                  </a:cubicBezTo>
                  <a:lnTo>
                    <a:pt x="1755883" y="44072"/>
                  </a:lnTo>
                  <a:lnTo>
                    <a:pt x="1775138" y="44072"/>
                  </a:lnTo>
                  <a:lnTo>
                    <a:pt x="1775138" y="157674"/>
                  </a:lnTo>
                  <a:lnTo>
                    <a:pt x="1757915" y="157674"/>
                  </a:lnTo>
                  <a:lnTo>
                    <a:pt x="1757915" y="140987"/>
                  </a:lnTo>
                  <a:cubicBezTo>
                    <a:pt x="1749073" y="153823"/>
                    <a:pt x="1737056" y="160242"/>
                    <a:pt x="1721866" y="160242"/>
                  </a:cubicBezTo>
                  <a:cubicBezTo>
                    <a:pt x="1715163" y="160242"/>
                    <a:pt x="1708905" y="158958"/>
                    <a:pt x="1703093" y="156391"/>
                  </a:cubicBezTo>
                  <a:cubicBezTo>
                    <a:pt x="1697281" y="153823"/>
                    <a:pt x="1692967" y="150596"/>
                    <a:pt x="1690150" y="146710"/>
                  </a:cubicBezTo>
                  <a:cubicBezTo>
                    <a:pt x="1687333" y="142823"/>
                    <a:pt x="1685354" y="138063"/>
                    <a:pt x="1684213" y="132429"/>
                  </a:cubicBezTo>
                  <a:cubicBezTo>
                    <a:pt x="1683429" y="128650"/>
                    <a:pt x="1683036" y="122659"/>
                    <a:pt x="1683036" y="114458"/>
                  </a:cubicBezTo>
                  <a:close/>
                  <a:moveTo>
                    <a:pt x="271629" y="44072"/>
                  </a:moveTo>
                  <a:lnTo>
                    <a:pt x="291954" y="44072"/>
                  </a:lnTo>
                  <a:lnTo>
                    <a:pt x="316343" y="112105"/>
                  </a:lnTo>
                  <a:cubicBezTo>
                    <a:pt x="318981" y="119450"/>
                    <a:pt x="321406" y="127081"/>
                    <a:pt x="323617" y="134997"/>
                  </a:cubicBezTo>
                  <a:cubicBezTo>
                    <a:pt x="325328" y="129006"/>
                    <a:pt x="327717" y="121804"/>
                    <a:pt x="330784" y="113389"/>
                  </a:cubicBezTo>
                  <a:lnTo>
                    <a:pt x="356029" y="44072"/>
                  </a:lnTo>
                  <a:lnTo>
                    <a:pt x="375818" y="44072"/>
                  </a:lnTo>
                  <a:lnTo>
                    <a:pt x="332816" y="157674"/>
                  </a:lnTo>
                  <a:lnTo>
                    <a:pt x="314845" y="157674"/>
                  </a:lnTo>
                  <a:close/>
                  <a:moveTo>
                    <a:pt x="1374999" y="41505"/>
                  </a:moveTo>
                  <a:cubicBezTo>
                    <a:pt x="1381845" y="41505"/>
                    <a:pt x="1388139" y="42735"/>
                    <a:pt x="1393880" y="45195"/>
                  </a:cubicBezTo>
                  <a:cubicBezTo>
                    <a:pt x="1399620" y="47655"/>
                    <a:pt x="1403917" y="50882"/>
                    <a:pt x="1406769" y="54876"/>
                  </a:cubicBezTo>
                  <a:cubicBezTo>
                    <a:pt x="1409622" y="58869"/>
                    <a:pt x="1411619" y="63612"/>
                    <a:pt x="1412760" y="69103"/>
                  </a:cubicBezTo>
                  <a:cubicBezTo>
                    <a:pt x="1413473" y="72669"/>
                    <a:pt x="1413829" y="78909"/>
                    <a:pt x="1413829" y="87823"/>
                  </a:cubicBezTo>
                  <a:lnTo>
                    <a:pt x="1413829" y="157674"/>
                  </a:lnTo>
                  <a:lnTo>
                    <a:pt x="1394575" y="157674"/>
                  </a:lnTo>
                  <a:lnTo>
                    <a:pt x="1394575" y="88571"/>
                  </a:lnTo>
                  <a:cubicBezTo>
                    <a:pt x="1394575" y="80727"/>
                    <a:pt x="1393826" y="74861"/>
                    <a:pt x="1392328" y="70975"/>
                  </a:cubicBezTo>
                  <a:cubicBezTo>
                    <a:pt x="1390831" y="67088"/>
                    <a:pt x="1388174" y="63986"/>
                    <a:pt x="1384359" y="61668"/>
                  </a:cubicBezTo>
                  <a:cubicBezTo>
                    <a:pt x="1380544" y="59351"/>
                    <a:pt x="1376069" y="58192"/>
                    <a:pt x="1370934" y="58192"/>
                  </a:cubicBezTo>
                  <a:cubicBezTo>
                    <a:pt x="1362733" y="58192"/>
                    <a:pt x="1355656" y="60795"/>
                    <a:pt x="1349701" y="66001"/>
                  </a:cubicBezTo>
                  <a:cubicBezTo>
                    <a:pt x="1343746" y="71207"/>
                    <a:pt x="1340769" y="81084"/>
                    <a:pt x="1340769" y="95632"/>
                  </a:cubicBezTo>
                  <a:lnTo>
                    <a:pt x="1340769" y="157674"/>
                  </a:lnTo>
                  <a:lnTo>
                    <a:pt x="1321514" y="157674"/>
                  </a:lnTo>
                  <a:lnTo>
                    <a:pt x="1321514" y="44072"/>
                  </a:lnTo>
                  <a:lnTo>
                    <a:pt x="1338843" y="44072"/>
                  </a:lnTo>
                  <a:lnTo>
                    <a:pt x="1338843" y="60224"/>
                  </a:lnTo>
                  <a:cubicBezTo>
                    <a:pt x="1347187" y="47745"/>
                    <a:pt x="1359239" y="41505"/>
                    <a:pt x="1374999" y="41505"/>
                  </a:cubicBezTo>
                  <a:close/>
                  <a:moveTo>
                    <a:pt x="1244328" y="41505"/>
                  </a:moveTo>
                  <a:cubicBezTo>
                    <a:pt x="1259518" y="41505"/>
                    <a:pt x="1271926" y="46675"/>
                    <a:pt x="1281554" y="57015"/>
                  </a:cubicBezTo>
                  <a:cubicBezTo>
                    <a:pt x="1291181" y="67356"/>
                    <a:pt x="1295995" y="81904"/>
                    <a:pt x="1295995" y="100659"/>
                  </a:cubicBezTo>
                  <a:cubicBezTo>
                    <a:pt x="1295995" y="101800"/>
                    <a:pt x="1295959" y="103512"/>
                    <a:pt x="1295888" y="105794"/>
                  </a:cubicBezTo>
                  <a:lnTo>
                    <a:pt x="1211167" y="105794"/>
                  </a:lnTo>
                  <a:cubicBezTo>
                    <a:pt x="1211880" y="118274"/>
                    <a:pt x="1215410" y="127830"/>
                    <a:pt x="1221757" y="134462"/>
                  </a:cubicBezTo>
                  <a:cubicBezTo>
                    <a:pt x="1228104" y="141094"/>
                    <a:pt x="1236020" y="144410"/>
                    <a:pt x="1245505" y="144410"/>
                  </a:cubicBezTo>
                  <a:cubicBezTo>
                    <a:pt x="1252565" y="144410"/>
                    <a:pt x="1258591" y="142556"/>
                    <a:pt x="1263583" y="138847"/>
                  </a:cubicBezTo>
                  <a:cubicBezTo>
                    <a:pt x="1268575" y="135139"/>
                    <a:pt x="1272533" y="129220"/>
                    <a:pt x="1275457" y="121090"/>
                  </a:cubicBezTo>
                  <a:lnTo>
                    <a:pt x="1295353" y="123551"/>
                  </a:lnTo>
                  <a:cubicBezTo>
                    <a:pt x="1292215" y="135175"/>
                    <a:pt x="1286403" y="144196"/>
                    <a:pt x="1277917" y="150614"/>
                  </a:cubicBezTo>
                  <a:cubicBezTo>
                    <a:pt x="1269430" y="157032"/>
                    <a:pt x="1258591" y="160242"/>
                    <a:pt x="1245398" y="160242"/>
                  </a:cubicBezTo>
                  <a:cubicBezTo>
                    <a:pt x="1228782" y="160242"/>
                    <a:pt x="1215607" y="155125"/>
                    <a:pt x="1205872" y="144891"/>
                  </a:cubicBezTo>
                  <a:cubicBezTo>
                    <a:pt x="1196138" y="134658"/>
                    <a:pt x="1191271" y="120306"/>
                    <a:pt x="1191271" y="101836"/>
                  </a:cubicBezTo>
                  <a:cubicBezTo>
                    <a:pt x="1191271" y="82724"/>
                    <a:pt x="1196192" y="67891"/>
                    <a:pt x="1206033" y="57336"/>
                  </a:cubicBezTo>
                  <a:cubicBezTo>
                    <a:pt x="1215874" y="46782"/>
                    <a:pt x="1228639" y="41505"/>
                    <a:pt x="1244328" y="41505"/>
                  </a:cubicBezTo>
                  <a:close/>
                  <a:moveTo>
                    <a:pt x="1077906" y="41505"/>
                  </a:moveTo>
                  <a:cubicBezTo>
                    <a:pt x="1086321" y="41505"/>
                    <a:pt x="1093220" y="43252"/>
                    <a:pt x="1098605" y="46746"/>
                  </a:cubicBezTo>
                  <a:cubicBezTo>
                    <a:pt x="1103989" y="50240"/>
                    <a:pt x="1107786" y="55125"/>
                    <a:pt x="1109997" y="61401"/>
                  </a:cubicBezTo>
                  <a:cubicBezTo>
                    <a:pt x="1118982" y="48137"/>
                    <a:pt x="1130678" y="41505"/>
                    <a:pt x="1145083" y="41505"/>
                  </a:cubicBezTo>
                  <a:cubicBezTo>
                    <a:pt x="1156351" y="41505"/>
                    <a:pt x="1165015" y="44625"/>
                    <a:pt x="1171077" y="50864"/>
                  </a:cubicBezTo>
                  <a:cubicBezTo>
                    <a:pt x="1177138" y="57104"/>
                    <a:pt x="1180169" y="66714"/>
                    <a:pt x="1180169" y="79693"/>
                  </a:cubicBezTo>
                  <a:lnTo>
                    <a:pt x="1180169" y="157674"/>
                  </a:lnTo>
                  <a:lnTo>
                    <a:pt x="1161022" y="157674"/>
                  </a:lnTo>
                  <a:lnTo>
                    <a:pt x="1161022" y="86111"/>
                  </a:lnTo>
                  <a:cubicBezTo>
                    <a:pt x="1161022" y="78409"/>
                    <a:pt x="1160398" y="72865"/>
                    <a:pt x="1159150" y="69477"/>
                  </a:cubicBezTo>
                  <a:cubicBezTo>
                    <a:pt x="1157902" y="66090"/>
                    <a:pt x="1155637" y="63362"/>
                    <a:pt x="1152357" y="61294"/>
                  </a:cubicBezTo>
                  <a:cubicBezTo>
                    <a:pt x="1149077" y="59226"/>
                    <a:pt x="1145226" y="58192"/>
                    <a:pt x="1140804" y="58192"/>
                  </a:cubicBezTo>
                  <a:cubicBezTo>
                    <a:pt x="1132817" y="58192"/>
                    <a:pt x="1126185" y="60848"/>
                    <a:pt x="1120908" y="66161"/>
                  </a:cubicBezTo>
                  <a:cubicBezTo>
                    <a:pt x="1115631" y="71474"/>
                    <a:pt x="1112992" y="79978"/>
                    <a:pt x="1112992" y="91674"/>
                  </a:cubicBezTo>
                  <a:lnTo>
                    <a:pt x="1112992" y="157674"/>
                  </a:lnTo>
                  <a:lnTo>
                    <a:pt x="1093737" y="157674"/>
                  </a:lnTo>
                  <a:lnTo>
                    <a:pt x="1093737" y="83865"/>
                  </a:lnTo>
                  <a:cubicBezTo>
                    <a:pt x="1093737" y="75307"/>
                    <a:pt x="1092168" y="68889"/>
                    <a:pt x="1089031" y="64610"/>
                  </a:cubicBezTo>
                  <a:cubicBezTo>
                    <a:pt x="1085893" y="60331"/>
                    <a:pt x="1080758" y="58192"/>
                    <a:pt x="1073627" y="58192"/>
                  </a:cubicBezTo>
                  <a:cubicBezTo>
                    <a:pt x="1068207" y="58192"/>
                    <a:pt x="1063197" y="59618"/>
                    <a:pt x="1058598" y="62471"/>
                  </a:cubicBezTo>
                  <a:cubicBezTo>
                    <a:pt x="1053998" y="65323"/>
                    <a:pt x="1050664" y="69495"/>
                    <a:pt x="1048596" y="74986"/>
                  </a:cubicBezTo>
                  <a:cubicBezTo>
                    <a:pt x="1046528" y="80477"/>
                    <a:pt x="1045494" y="88393"/>
                    <a:pt x="1045494" y="98734"/>
                  </a:cubicBezTo>
                  <a:lnTo>
                    <a:pt x="1045494" y="157674"/>
                  </a:lnTo>
                  <a:lnTo>
                    <a:pt x="1026239" y="157674"/>
                  </a:lnTo>
                  <a:lnTo>
                    <a:pt x="1026239" y="44072"/>
                  </a:lnTo>
                  <a:lnTo>
                    <a:pt x="1043461" y="44072"/>
                  </a:lnTo>
                  <a:lnTo>
                    <a:pt x="1043461" y="60010"/>
                  </a:lnTo>
                  <a:cubicBezTo>
                    <a:pt x="1047027" y="54448"/>
                    <a:pt x="1051769" y="49973"/>
                    <a:pt x="1057688" y="46586"/>
                  </a:cubicBezTo>
                  <a:cubicBezTo>
                    <a:pt x="1063607" y="43198"/>
                    <a:pt x="1070347" y="41505"/>
                    <a:pt x="1077906" y="41505"/>
                  </a:cubicBezTo>
                  <a:close/>
                  <a:moveTo>
                    <a:pt x="949053" y="41505"/>
                  </a:moveTo>
                  <a:cubicBezTo>
                    <a:pt x="964243" y="41505"/>
                    <a:pt x="976652" y="46675"/>
                    <a:pt x="986279" y="57015"/>
                  </a:cubicBezTo>
                  <a:cubicBezTo>
                    <a:pt x="995906" y="67356"/>
                    <a:pt x="1000720" y="81904"/>
                    <a:pt x="1000720" y="100659"/>
                  </a:cubicBezTo>
                  <a:cubicBezTo>
                    <a:pt x="1000720" y="101800"/>
                    <a:pt x="1000684" y="103512"/>
                    <a:pt x="1000613" y="105794"/>
                  </a:cubicBezTo>
                  <a:lnTo>
                    <a:pt x="915892" y="105794"/>
                  </a:lnTo>
                  <a:cubicBezTo>
                    <a:pt x="916605" y="118274"/>
                    <a:pt x="920136" y="127830"/>
                    <a:pt x="926483" y="134462"/>
                  </a:cubicBezTo>
                  <a:cubicBezTo>
                    <a:pt x="932829" y="141094"/>
                    <a:pt x="940745" y="144410"/>
                    <a:pt x="950230" y="144410"/>
                  </a:cubicBezTo>
                  <a:cubicBezTo>
                    <a:pt x="957290" y="144410"/>
                    <a:pt x="963316" y="142556"/>
                    <a:pt x="968308" y="138847"/>
                  </a:cubicBezTo>
                  <a:cubicBezTo>
                    <a:pt x="973300" y="135139"/>
                    <a:pt x="977258" y="129220"/>
                    <a:pt x="980182" y="121090"/>
                  </a:cubicBezTo>
                  <a:lnTo>
                    <a:pt x="1000078" y="123551"/>
                  </a:lnTo>
                  <a:cubicBezTo>
                    <a:pt x="996940" y="135175"/>
                    <a:pt x="991128" y="144196"/>
                    <a:pt x="982642" y="150614"/>
                  </a:cubicBezTo>
                  <a:cubicBezTo>
                    <a:pt x="974155" y="157032"/>
                    <a:pt x="963316" y="160242"/>
                    <a:pt x="950123" y="160242"/>
                  </a:cubicBezTo>
                  <a:cubicBezTo>
                    <a:pt x="933507" y="160242"/>
                    <a:pt x="920332" y="155125"/>
                    <a:pt x="910597" y="144891"/>
                  </a:cubicBezTo>
                  <a:cubicBezTo>
                    <a:pt x="900863" y="134658"/>
                    <a:pt x="895996" y="120306"/>
                    <a:pt x="895996" y="101836"/>
                  </a:cubicBezTo>
                  <a:cubicBezTo>
                    <a:pt x="895996" y="82724"/>
                    <a:pt x="900917" y="67891"/>
                    <a:pt x="910758" y="57336"/>
                  </a:cubicBezTo>
                  <a:cubicBezTo>
                    <a:pt x="920599" y="46782"/>
                    <a:pt x="933364" y="41505"/>
                    <a:pt x="949053" y="41505"/>
                  </a:cubicBezTo>
                  <a:close/>
                  <a:moveTo>
                    <a:pt x="838604" y="41505"/>
                  </a:moveTo>
                  <a:cubicBezTo>
                    <a:pt x="848303" y="41505"/>
                    <a:pt x="856860" y="44001"/>
                    <a:pt x="864277" y="48993"/>
                  </a:cubicBezTo>
                  <a:cubicBezTo>
                    <a:pt x="871694" y="53984"/>
                    <a:pt x="877292" y="61027"/>
                    <a:pt x="881071" y="70119"/>
                  </a:cubicBezTo>
                  <a:cubicBezTo>
                    <a:pt x="884851" y="79212"/>
                    <a:pt x="886741" y="89178"/>
                    <a:pt x="886741" y="100017"/>
                  </a:cubicBezTo>
                  <a:cubicBezTo>
                    <a:pt x="886741" y="111641"/>
                    <a:pt x="884655" y="122107"/>
                    <a:pt x="880483" y="131413"/>
                  </a:cubicBezTo>
                  <a:cubicBezTo>
                    <a:pt x="876311" y="140719"/>
                    <a:pt x="870249" y="147851"/>
                    <a:pt x="862298" y="152807"/>
                  </a:cubicBezTo>
                  <a:cubicBezTo>
                    <a:pt x="854347" y="157763"/>
                    <a:pt x="845985" y="160242"/>
                    <a:pt x="837214" y="160242"/>
                  </a:cubicBezTo>
                  <a:cubicBezTo>
                    <a:pt x="830795" y="160242"/>
                    <a:pt x="825037" y="158887"/>
                    <a:pt x="819938" y="156177"/>
                  </a:cubicBezTo>
                  <a:cubicBezTo>
                    <a:pt x="814839" y="153467"/>
                    <a:pt x="810649" y="150044"/>
                    <a:pt x="807369" y="145908"/>
                  </a:cubicBezTo>
                  <a:lnTo>
                    <a:pt x="807369" y="201211"/>
                  </a:lnTo>
                  <a:lnTo>
                    <a:pt x="788114" y="201211"/>
                  </a:lnTo>
                  <a:lnTo>
                    <a:pt x="788114" y="44072"/>
                  </a:lnTo>
                  <a:lnTo>
                    <a:pt x="805657" y="44072"/>
                  </a:lnTo>
                  <a:lnTo>
                    <a:pt x="805657" y="58834"/>
                  </a:lnTo>
                  <a:cubicBezTo>
                    <a:pt x="809793" y="53057"/>
                    <a:pt x="814464" y="48725"/>
                    <a:pt x="819670" y="45837"/>
                  </a:cubicBezTo>
                  <a:cubicBezTo>
                    <a:pt x="824876" y="42949"/>
                    <a:pt x="831187" y="41505"/>
                    <a:pt x="838604" y="41505"/>
                  </a:cubicBezTo>
                  <a:close/>
                  <a:moveTo>
                    <a:pt x="724304" y="41505"/>
                  </a:moveTo>
                  <a:cubicBezTo>
                    <a:pt x="734003" y="41505"/>
                    <a:pt x="742560" y="44001"/>
                    <a:pt x="749977" y="48993"/>
                  </a:cubicBezTo>
                  <a:cubicBezTo>
                    <a:pt x="757394" y="53984"/>
                    <a:pt x="762992" y="61027"/>
                    <a:pt x="766771" y="70119"/>
                  </a:cubicBezTo>
                  <a:cubicBezTo>
                    <a:pt x="770551" y="79212"/>
                    <a:pt x="772441" y="89178"/>
                    <a:pt x="772441" y="100017"/>
                  </a:cubicBezTo>
                  <a:cubicBezTo>
                    <a:pt x="772441" y="111641"/>
                    <a:pt x="770355" y="122107"/>
                    <a:pt x="766183" y="131413"/>
                  </a:cubicBezTo>
                  <a:cubicBezTo>
                    <a:pt x="762011" y="140719"/>
                    <a:pt x="755949" y="147851"/>
                    <a:pt x="747998" y="152807"/>
                  </a:cubicBezTo>
                  <a:cubicBezTo>
                    <a:pt x="740047" y="157763"/>
                    <a:pt x="731685" y="160242"/>
                    <a:pt x="722913" y="160242"/>
                  </a:cubicBezTo>
                  <a:cubicBezTo>
                    <a:pt x="716495" y="160242"/>
                    <a:pt x="710737" y="158887"/>
                    <a:pt x="705638" y="156177"/>
                  </a:cubicBezTo>
                  <a:cubicBezTo>
                    <a:pt x="700539" y="153467"/>
                    <a:pt x="696349" y="150044"/>
                    <a:pt x="693069" y="145908"/>
                  </a:cubicBezTo>
                  <a:lnTo>
                    <a:pt x="693069" y="201211"/>
                  </a:lnTo>
                  <a:lnTo>
                    <a:pt x="673814" y="201211"/>
                  </a:lnTo>
                  <a:lnTo>
                    <a:pt x="673814" y="44072"/>
                  </a:lnTo>
                  <a:lnTo>
                    <a:pt x="691357" y="44072"/>
                  </a:lnTo>
                  <a:lnTo>
                    <a:pt x="691357" y="58834"/>
                  </a:lnTo>
                  <a:cubicBezTo>
                    <a:pt x="695493" y="53057"/>
                    <a:pt x="700164" y="48725"/>
                    <a:pt x="705370" y="45837"/>
                  </a:cubicBezTo>
                  <a:cubicBezTo>
                    <a:pt x="710576" y="42949"/>
                    <a:pt x="716888" y="41505"/>
                    <a:pt x="724304" y="41505"/>
                  </a:cubicBezTo>
                  <a:close/>
                  <a:moveTo>
                    <a:pt x="596093" y="41505"/>
                  </a:moveTo>
                  <a:cubicBezTo>
                    <a:pt x="611711" y="41505"/>
                    <a:pt x="624476" y="46621"/>
                    <a:pt x="634389" y="56855"/>
                  </a:cubicBezTo>
                  <a:cubicBezTo>
                    <a:pt x="644301" y="67088"/>
                    <a:pt x="649257" y="81226"/>
                    <a:pt x="649257" y="99269"/>
                  </a:cubicBezTo>
                  <a:cubicBezTo>
                    <a:pt x="649257" y="113888"/>
                    <a:pt x="647065" y="125387"/>
                    <a:pt x="642679" y="133766"/>
                  </a:cubicBezTo>
                  <a:cubicBezTo>
                    <a:pt x="638293" y="142146"/>
                    <a:pt x="631911" y="148653"/>
                    <a:pt x="623531" y="153288"/>
                  </a:cubicBezTo>
                  <a:cubicBezTo>
                    <a:pt x="615152" y="157924"/>
                    <a:pt x="606006" y="160242"/>
                    <a:pt x="596093" y="160242"/>
                  </a:cubicBezTo>
                  <a:cubicBezTo>
                    <a:pt x="580190" y="160242"/>
                    <a:pt x="567336" y="155143"/>
                    <a:pt x="557531" y="144945"/>
                  </a:cubicBezTo>
                  <a:cubicBezTo>
                    <a:pt x="547725" y="134747"/>
                    <a:pt x="542822" y="120056"/>
                    <a:pt x="542822" y="100873"/>
                  </a:cubicBezTo>
                  <a:cubicBezTo>
                    <a:pt x="542822" y="79836"/>
                    <a:pt x="548670" y="64254"/>
                    <a:pt x="560365" y="54127"/>
                  </a:cubicBezTo>
                  <a:cubicBezTo>
                    <a:pt x="570135" y="45712"/>
                    <a:pt x="582045" y="41505"/>
                    <a:pt x="596093" y="41505"/>
                  </a:cubicBezTo>
                  <a:close/>
                  <a:moveTo>
                    <a:pt x="434703" y="41505"/>
                  </a:moveTo>
                  <a:cubicBezTo>
                    <a:pt x="449893" y="41505"/>
                    <a:pt x="462301" y="46675"/>
                    <a:pt x="471929" y="57015"/>
                  </a:cubicBezTo>
                  <a:cubicBezTo>
                    <a:pt x="481556" y="67356"/>
                    <a:pt x="486370" y="81904"/>
                    <a:pt x="486370" y="100659"/>
                  </a:cubicBezTo>
                  <a:cubicBezTo>
                    <a:pt x="486370" y="101800"/>
                    <a:pt x="486334" y="103512"/>
                    <a:pt x="486263" y="105794"/>
                  </a:cubicBezTo>
                  <a:lnTo>
                    <a:pt x="401542" y="105794"/>
                  </a:lnTo>
                  <a:cubicBezTo>
                    <a:pt x="402255" y="118274"/>
                    <a:pt x="405785" y="127830"/>
                    <a:pt x="412132" y="134462"/>
                  </a:cubicBezTo>
                  <a:cubicBezTo>
                    <a:pt x="418479" y="141094"/>
                    <a:pt x="426395" y="144410"/>
                    <a:pt x="435880" y="144410"/>
                  </a:cubicBezTo>
                  <a:cubicBezTo>
                    <a:pt x="442940" y="144410"/>
                    <a:pt x="448966" y="142556"/>
                    <a:pt x="453958" y="138847"/>
                  </a:cubicBezTo>
                  <a:cubicBezTo>
                    <a:pt x="458950" y="135139"/>
                    <a:pt x="462908" y="129220"/>
                    <a:pt x="465832" y="121090"/>
                  </a:cubicBezTo>
                  <a:lnTo>
                    <a:pt x="485728" y="123551"/>
                  </a:lnTo>
                  <a:cubicBezTo>
                    <a:pt x="482590" y="135175"/>
                    <a:pt x="476778" y="144196"/>
                    <a:pt x="468292" y="150614"/>
                  </a:cubicBezTo>
                  <a:cubicBezTo>
                    <a:pt x="459805" y="157032"/>
                    <a:pt x="448966" y="160242"/>
                    <a:pt x="435773" y="160242"/>
                  </a:cubicBezTo>
                  <a:cubicBezTo>
                    <a:pt x="419157" y="160242"/>
                    <a:pt x="405982" y="155125"/>
                    <a:pt x="396247" y="144891"/>
                  </a:cubicBezTo>
                  <a:cubicBezTo>
                    <a:pt x="386513" y="134658"/>
                    <a:pt x="381646" y="120306"/>
                    <a:pt x="381646" y="101836"/>
                  </a:cubicBezTo>
                  <a:cubicBezTo>
                    <a:pt x="381646" y="82724"/>
                    <a:pt x="386567" y="67891"/>
                    <a:pt x="396408" y="57336"/>
                  </a:cubicBezTo>
                  <a:cubicBezTo>
                    <a:pt x="406249" y="46782"/>
                    <a:pt x="419014" y="41505"/>
                    <a:pt x="434703" y="41505"/>
                  </a:cubicBezTo>
                  <a:close/>
                  <a:moveTo>
                    <a:pt x="206103" y="41505"/>
                  </a:moveTo>
                  <a:cubicBezTo>
                    <a:pt x="221293" y="41505"/>
                    <a:pt x="233701" y="46675"/>
                    <a:pt x="243329" y="57015"/>
                  </a:cubicBezTo>
                  <a:cubicBezTo>
                    <a:pt x="252956" y="67356"/>
                    <a:pt x="257770" y="81904"/>
                    <a:pt x="257770" y="100659"/>
                  </a:cubicBezTo>
                  <a:cubicBezTo>
                    <a:pt x="257770" y="101800"/>
                    <a:pt x="257734" y="103512"/>
                    <a:pt x="257663" y="105794"/>
                  </a:cubicBezTo>
                  <a:lnTo>
                    <a:pt x="172942" y="105794"/>
                  </a:lnTo>
                  <a:cubicBezTo>
                    <a:pt x="173656" y="118274"/>
                    <a:pt x="177186" y="127830"/>
                    <a:pt x="183532" y="134462"/>
                  </a:cubicBezTo>
                  <a:cubicBezTo>
                    <a:pt x="189879" y="141094"/>
                    <a:pt x="197795" y="144410"/>
                    <a:pt x="207280" y="144410"/>
                  </a:cubicBezTo>
                  <a:cubicBezTo>
                    <a:pt x="214340" y="144410"/>
                    <a:pt x="220366" y="142556"/>
                    <a:pt x="225358" y="138847"/>
                  </a:cubicBezTo>
                  <a:cubicBezTo>
                    <a:pt x="230350" y="135139"/>
                    <a:pt x="234308" y="129220"/>
                    <a:pt x="237232" y="121090"/>
                  </a:cubicBezTo>
                  <a:lnTo>
                    <a:pt x="257128" y="123551"/>
                  </a:lnTo>
                  <a:cubicBezTo>
                    <a:pt x="253990" y="135175"/>
                    <a:pt x="248178" y="144196"/>
                    <a:pt x="239692" y="150614"/>
                  </a:cubicBezTo>
                  <a:cubicBezTo>
                    <a:pt x="231205" y="157032"/>
                    <a:pt x="220366" y="160242"/>
                    <a:pt x="207173" y="160242"/>
                  </a:cubicBezTo>
                  <a:cubicBezTo>
                    <a:pt x="190557" y="160242"/>
                    <a:pt x="177382" y="155125"/>
                    <a:pt x="167647" y="144891"/>
                  </a:cubicBezTo>
                  <a:cubicBezTo>
                    <a:pt x="157913" y="134658"/>
                    <a:pt x="153046" y="120306"/>
                    <a:pt x="153046" y="101836"/>
                  </a:cubicBezTo>
                  <a:cubicBezTo>
                    <a:pt x="153046" y="82724"/>
                    <a:pt x="157967" y="67891"/>
                    <a:pt x="167808" y="57336"/>
                  </a:cubicBezTo>
                  <a:cubicBezTo>
                    <a:pt x="177649" y="46782"/>
                    <a:pt x="190414" y="41505"/>
                    <a:pt x="206103" y="41505"/>
                  </a:cubicBezTo>
                  <a:close/>
                  <a:moveTo>
                    <a:pt x="20752" y="19362"/>
                  </a:moveTo>
                  <a:lnTo>
                    <a:pt x="20752" y="139168"/>
                  </a:lnTo>
                  <a:lnTo>
                    <a:pt x="54233" y="139168"/>
                  </a:lnTo>
                  <a:cubicBezTo>
                    <a:pt x="64574" y="139168"/>
                    <a:pt x="72686" y="138206"/>
                    <a:pt x="78569" y="136280"/>
                  </a:cubicBezTo>
                  <a:cubicBezTo>
                    <a:pt x="84452" y="134355"/>
                    <a:pt x="89141" y="131645"/>
                    <a:pt x="92636" y="128150"/>
                  </a:cubicBezTo>
                  <a:cubicBezTo>
                    <a:pt x="97556" y="123230"/>
                    <a:pt x="101389" y="116616"/>
                    <a:pt x="104135" y="108307"/>
                  </a:cubicBezTo>
                  <a:cubicBezTo>
                    <a:pt x="106881" y="99999"/>
                    <a:pt x="108253" y="89926"/>
                    <a:pt x="108253" y="78088"/>
                  </a:cubicBezTo>
                  <a:cubicBezTo>
                    <a:pt x="108253" y="61686"/>
                    <a:pt x="105561" y="49082"/>
                    <a:pt x="100177" y="40274"/>
                  </a:cubicBezTo>
                  <a:cubicBezTo>
                    <a:pt x="94793" y="31467"/>
                    <a:pt x="88250" y="25566"/>
                    <a:pt x="80548" y="22571"/>
                  </a:cubicBezTo>
                  <a:cubicBezTo>
                    <a:pt x="74986" y="20431"/>
                    <a:pt x="66036" y="19362"/>
                    <a:pt x="53698" y="19362"/>
                  </a:cubicBezTo>
                  <a:close/>
                  <a:moveTo>
                    <a:pt x="1458492" y="4386"/>
                  </a:moveTo>
                  <a:lnTo>
                    <a:pt x="1458492" y="44072"/>
                  </a:lnTo>
                  <a:lnTo>
                    <a:pt x="1477853" y="44072"/>
                  </a:lnTo>
                  <a:lnTo>
                    <a:pt x="1477853" y="59048"/>
                  </a:lnTo>
                  <a:lnTo>
                    <a:pt x="1458492" y="59048"/>
                  </a:lnTo>
                  <a:lnTo>
                    <a:pt x="1458492" y="125476"/>
                  </a:lnTo>
                  <a:cubicBezTo>
                    <a:pt x="1458492" y="130967"/>
                    <a:pt x="1458830" y="134497"/>
                    <a:pt x="1459508" y="136066"/>
                  </a:cubicBezTo>
                  <a:cubicBezTo>
                    <a:pt x="1460185" y="137635"/>
                    <a:pt x="1461291" y="138883"/>
                    <a:pt x="1462824" y="139810"/>
                  </a:cubicBezTo>
                  <a:cubicBezTo>
                    <a:pt x="1464357" y="140737"/>
                    <a:pt x="1466550" y="141201"/>
                    <a:pt x="1469403" y="141201"/>
                  </a:cubicBezTo>
                  <a:cubicBezTo>
                    <a:pt x="1471542" y="141201"/>
                    <a:pt x="1474359" y="140951"/>
                    <a:pt x="1477853" y="140452"/>
                  </a:cubicBezTo>
                  <a:lnTo>
                    <a:pt x="1480635" y="157460"/>
                  </a:lnTo>
                  <a:cubicBezTo>
                    <a:pt x="1475215" y="158601"/>
                    <a:pt x="1470366" y="159172"/>
                    <a:pt x="1466087" y="159172"/>
                  </a:cubicBezTo>
                  <a:cubicBezTo>
                    <a:pt x="1459098" y="159172"/>
                    <a:pt x="1453678" y="158066"/>
                    <a:pt x="1449827" y="155856"/>
                  </a:cubicBezTo>
                  <a:cubicBezTo>
                    <a:pt x="1445976" y="153645"/>
                    <a:pt x="1443266" y="150739"/>
                    <a:pt x="1441698" y="147138"/>
                  </a:cubicBezTo>
                  <a:cubicBezTo>
                    <a:pt x="1440129" y="143536"/>
                    <a:pt x="1439344" y="135959"/>
                    <a:pt x="1439344" y="124407"/>
                  </a:cubicBezTo>
                  <a:lnTo>
                    <a:pt x="1439344" y="59048"/>
                  </a:lnTo>
                  <a:lnTo>
                    <a:pt x="1425224" y="59048"/>
                  </a:lnTo>
                  <a:lnTo>
                    <a:pt x="1425224" y="44072"/>
                  </a:lnTo>
                  <a:lnTo>
                    <a:pt x="1439344" y="44072"/>
                  </a:lnTo>
                  <a:lnTo>
                    <a:pt x="1439344" y="15939"/>
                  </a:lnTo>
                  <a:close/>
                  <a:moveTo>
                    <a:pt x="1641583" y="856"/>
                  </a:moveTo>
                  <a:lnTo>
                    <a:pt x="1660731" y="856"/>
                  </a:lnTo>
                  <a:lnTo>
                    <a:pt x="1660731" y="157674"/>
                  </a:lnTo>
                  <a:lnTo>
                    <a:pt x="1642867" y="157674"/>
                  </a:lnTo>
                  <a:lnTo>
                    <a:pt x="1642867" y="143340"/>
                  </a:lnTo>
                  <a:cubicBezTo>
                    <a:pt x="1635664" y="154608"/>
                    <a:pt x="1625074" y="160242"/>
                    <a:pt x="1611096" y="160242"/>
                  </a:cubicBezTo>
                  <a:cubicBezTo>
                    <a:pt x="1602040" y="160242"/>
                    <a:pt x="1593714" y="157746"/>
                    <a:pt x="1586119" y="152754"/>
                  </a:cubicBezTo>
                  <a:cubicBezTo>
                    <a:pt x="1578524" y="147762"/>
                    <a:pt x="1572641" y="140791"/>
                    <a:pt x="1568469" y="131841"/>
                  </a:cubicBezTo>
                  <a:cubicBezTo>
                    <a:pt x="1564297" y="122891"/>
                    <a:pt x="1562211" y="112604"/>
                    <a:pt x="1562211" y="100980"/>
                  </a:cubicBezTo>
                  <a:cubicBezTo>
                    <a:pt x="1562211" y="89641"/>
                    <a:pt x="1564101" y="79354"/>
                    <a:pt x="1567881" y="70119"/>
                  </a:cubicBezTo>
                  <a:cubicBezTo>
                    <a:pt x="1571660" y="60884"/>
                    <a:pt x="1577330" y="53806"/>
                    <a:pt x="1584889" y="48886"/>
                  </a:cubicBezTo>
                  <a:cubicBezTo>
                    <a:pt x="1592448" y="43965"/>
                    <a:pt x="1600899" y="41505"/>
                    <a:pt x="1610241" y="41505"/>
                  </a:cubicBezTo>
                  <a:cubicBezTo>
                    <a:pt x="1617087" y="41505"/>
                    <a:pt x="1623184" y="42949"/>
                    <a:pt x="1628533" y="45837"/>
                  </a:cubicBezTo>
                  <a:cubicBezTo>
                    <a:pt x="1633881" y="48725"/>
                    <a:pt x="1638231" y="52487"/>
                    <a:pt x="1641583" y="57122"/>
                  </a:cubicBezTo>
                  <a:close/>
                  <a:moveTo>
                    <a:pt x="511461" y="856"/>
                  </a:moveTo>
                  <a:lnTo>
                    <a:pt x="530716" y="856"/>
                  </a:lnTo>
                  <a:lnTo>
                    <a:pt x="530716" y="157674"/>
                  </a:lnTo>
                  <a:lnTo>
                    <a:pt x="511461" y="157674"/>
                  </a:lnTo>
                  <a:close/>
                  <a:moveTo>
                    <a:pt x="0" y="856"/>
                  </a:moveTo>
                  <a:lnTo>
                    <a:pt x="54019" y="856"/>
                  </a:lnTo>
                  <a:cubicBezTo>
                    <a:pt x="66214" y="856"/>
                    <a:pt x="75520" y="1605"/>
                    <a:pt x="81939" y="3102"/>
                  </a:cubicBezTo>
                  <a:cubicBezTo>
                    <a:pt x="90924" y="5170"/>
                    <a:pt x="98590" y="8914"/>
                    <a:pt x="104937" y="14334"/>
                  </a:cubicBezTo>
                  <a:cubicBezTo>
                    <a:pt x="113210" y="21323"/>
                    <a:pt x="119396" y="30255"/>
                    <a:pt x="123496" y="41130"/>
                  </a:cubicBezTo>
                  <a:cubicBezTo>
                    <a:pt x="127597" y="52006"/>
                    <a:pt x="129647" y="64432"/>
                    <a:pt x="129647" y="78409"/>
                  </a:cubicBezTo>
                  <a:cubicBezTo>
                    <a:pt x="129647" y="90319"/>
                    <a:pt x="128257" y="100873"/>
                    <a:pt x="125476" y="110072"/>
                  </a:cubicBezTo>
                  <a:cubicBezTo>
                    <a:pt x="122694" y="119272"/>
                    <a:pt x="119129" y="126885"/>
                    <a:pt x="114778" y="132911"/>
                  </a:cubicBezTo>
                  <a:cubicBezTo>
                    <a:pt x="110428" y="138937"/>
                    <a:pt x="105668" y="143679"/>
                    <a:pt x="100498" y="147138"/>
                  </a:cubicBezTo>
                  <a:cubicBezTo>
                    <a:pt x="95328" y="150596"/>
                    <a:pt x="89088" y="153217"/>
                    <a:pt x="81778" y="155000"/>
                  </a:cubicBezTo>
                  <a:cubicBezTo>
                    <a:pt x="74469" y="156783"/>
                    <a:pt x="66071" y="157674"/>
                    <a:pt x="56587" y="157674"/>
                  </a:cubicBezTo>
                  <a:lnTo>
                    <a:pt x="0" y="157674"/>
                  </a:lnTo>
                  <a:close/>
                  <a:moveTo>
                    <a:pt x="208991" y="0"/>
                  </a:moveTo>
                  <a:lnTo>
                    <a:pt x="234236" y="0"/>
                  </a:lnTo>
                  <a:lnTo>
                    <a:pt x="210703" y="29952"/>
                  </a:lnTo>
                  <a:lnTo>
                    <a:pt x="194764" y="29952"/>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FF000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nvGrpSpPr>
            <p:cNvPr id="13544" name="Group 13543">
              <a:extLst>
                <a:ext uri="{FF2B5EF4-FFF2-40B4-BE49-F238E27FC236}">
                  <a16:creationId xmlns:a16="http://schemas.microsoft.com/office/drawing/2014/main" id="{23F0A374-3931-4476-BE6E-27BFF047AE78}"/>
                </a:ext>
              </a:extLst>
            </p:cNvPr>
            <p:cNvGrpSpPr/>
            <p:nvPr userDrawn="1"/>
          </p:nvGrpSpPr>
          <p:grpSpPr bwMode="ltGray">
            <a:xfrm>
              <a:off x="8270055" y="396357"/>
              <a:ext cx="711995" cy="783280"/>
              <a:chOff x="7337055" y="653091"/>
              <a:chExt cx="748448" cy="823383"/>
            </a:xfrm>
            <a:solidFill>
              <a:schemeClr val="bg1"/>
            </a:solidFill>
          </p:grpSpPr>
          <p:sp>
            <p:nvSpPr>
              <p:cNvPr id="4" name="Rectangle 3">
                <a:extLst>
                  <a:ext uri="{FF2B5EF4-FFF2-40B4-BE49-F238E27FC236}">
                    <a16:creationId xmlns:a16="http://schemas.microsoft.com/office/drawing/2014/main" id="{98CDBCD8-46CE-4273-8E0C-D70702031D21}"/>
                  </a:ext>
                </a:extLst>
              </p:cNvPr>
              <p:cNvSpPr/>
              <p:nvPr userDrawn="1"/>
            </p:nvSpPr>
            <p:spPr bwMode="ltGray">
              <a:xfrm>
                <a:off x="7386013" y="826669"/>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294" name="Rectangle 293">
                <a:extLst>
                  <a:ext uri="{FF2B5EF4-FFF2-40B4-BE49-F238E27FC236}">
                    <a16:creationId xmlns:a16="http://schemas.microsoft.com/office/drawing/2014/main" id="{F5F1CAD4-2A18-4ED1-A336-6CD395A527AA}"/>
                  </a:ext>
                </a:extLst>
              </p:cNvPr>
              <p:cNvSpPr/>
              <p:nvPr userDrawn="1"/>
            </p:nvSpPr>
            <p:spPr bwMode="ltGray">
              <a:xfrm>
                <a:off x="7337055" y="1156024"/>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5" name="Freeform: Shape 4">
                <a:extLst>
                  <a:ext uri="{FF2B5EF4-FFF2-40B4-BE49-F238E27FC236}">
                    <a16:creationId xmlns:a16="http://schemas.microsoft.com/office/drawing/2014/main" id="{69962688-C634-4B29-9C05-C0A3688B1CDD}"/>
                  </a:ext>
                </a:extLst>
              </p:cNvPr>
              <p:cNvSpPr/>
              <p:nvPr userDrawn="1"/>
            </p:nvSpPr>
            <p:spPr bwMode="ltGray">
              <a:xfrm>
                <a:off x="7391190"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sp>
            <p:nvSpPr>
              <p:cNvPr id="297" name="Freeform: Shape 296">
                <a:extLst>
                  <a:ext uri="{FF2B5EF4-FFF2-40B4-BE49-F238E27FC236}">
                    <a16:creationId xmlns:a16="http://schemas.microsoft.com/office/drawing/2014/main" id="{013A569D-159B-4C88-B6E9-B2BDF7E5743F}"/>
                  </a:ext>
                </a:extLst>
              </p:cNvPr>
              <p:cNvSpPr/>
              <p:nvPr userDrawn="1"/>
            </p:nvSpPr>
            <p:spPr bwMode="ltGray">
              <a:xfrm>
                <a:off x="7719802"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err="1">
                  <a:solidFill>
                    <a:schemeClr val="tx1"/>
                  </a:solidFill>
                  <a:latin typeface="+mn-lt"/>
                  <a:ea typeface="+mn-ea"/>
                  <a:cs typeface="+mn-cs"/>
                  <a:sym typeface="+mn-lt"/>
                </a:endParaRPr>
              </a:p>
            </p:txBody>
          </p:sp>
        </p:grpSp>
        <p:grpSp>
          <p:nvGrpSpPr>
            <p:cNvPr id="13551" name="Group 13550">
              <a:extLst>
                <a:ext uri="{FF2B5EF4-FFF2-40B4-BE49-F238E27FC236}">
                  <a16:creationId xmlns:a16="http://schemas.microsoft.com/office/drawing/2014/main" id="{35F56BA5-7167-4A4B-AAFA-A22F384310E3}"/>
                </a:ext>
              </a:extLst>
            </p:cNvPr>
            <p:cNvGrpSpPr/>
            <p:nvPr userDrawn="1"/>
          </p:nvGrpSpPr>
          <p:grpSpPr bwMode="ltGray">
            <a:xfrm>
              <a:off x="9028174" y="337274"/>
              <a:ext cx="2553305" cy="892245"/>
              <a:chOff x="8133988" y="590983"/>
              <a:chExt cx="2684031" cy="937927"/>
            </a:xfrm>
          </p:grpSpPr>
          <p:cxnSp>
            <p:nvCxnSpPr>
              <p:cNvPr id="13547" name="Straight Connector 13546">
                <a:extLst>
                  <a:ext uri="{FF2B5EF4-FFF2-40B4-BE49-F238E27FC236}">
                    <a16:creationId xmlns:a16="http://schemas.microsoft.com/office/drawing/2014/main" id="{DF84850E-B181-4E25-A51E-E840853FA45C}"/>
                  </a:ext>
                </a:extLst>
              </p:cNvPr>
              <p:cNvCxnSpPr/>
              <p:nvPr userDrawn="1"/>
            </p:nvCxnSpPr>
            <p:spPr bwMode="ltGray">
              <a:xfrm flipV="1">
                <a:off x="8133988"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A906B2F8-3448-4DF3-9362-37797DAC1036}"/>
                  </a:ext>
                </a:extLst>
              </p:cNvPr>
              <p:cNvCxnSpPr>
                <a:cxnSpLocks/>
              </p:cNvCxnSpPr>
              <p:nvPr userDrawn="1"/>
            </p:nvCxnSpPr>
            <p:spPr bwMode="ltGray">
              <a:xfrm flipH="1" flipV="1">
                <a:off x="8581441"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49" name="Straight Connector 13548">
                <a:extLst>
                  <a:ext uri="{FF2B5EF4-FFF2-40B4-BE49-F238E27FC236}">
                    <a16:creationId xmlns:a16="http://schemas.microsoft.com/office/drawing/2014/main" id="{D6A67443-FCFB-480F-B9F2-60F10B25B8C8}"/>
                  </a:ext>
                </a:extLst>
              </p:cNvPr>
              <p:cNvCxnSpPr/>
              <p:nvPr userDrawn="1"/>
            </p:nvCxnSpPr>
            <p:spPr bwMode="ltGray">
              <a:xfrm>
                <a:off x="8267528" y="1241061"/>
                <a:ext cx="624060" cy="0"/>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3550" name="Freeform: Shape 13549">
                <a:extLst>
                  <a:ext uri="{FF2B5EF4-FFF2-40B4-BE49-F238E27FC236}">
                    <a16:creationId xmlns:a16="http://schemas.microsoft.com/office/drawing/2014/main" id="{7F006A05-029B-4B1A-AF1B-21580A50D558}"/>
                  </a:ext>
                </a:extLst>
              </p:cNvPr>
              <p:cNvSpPr/>
              <p:nvPr userDrawn="1"/>
            </p:nvSpPr>
            <p:spPr bwMode="ltGray">
              <a:xfrm>
                <a:off x="914400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err="1">
                  <a:solidFill>
                    <a:schemeClr val="tx1"/>
                  </a:solidFill>
                  <a:latin typeface="+mn-lt"/>
                  <a:ea typeface="+mn-ea"/>
                  <a:cs typeface="+mn-cs"/>
                  <a:sym typeface="+mn-lt"/>
                </a:endParaRPr>
              </a:p>
            </p:txBody>
          </p:sp>
          <p:sp>
            <p:nvSpPr>
              <p:cNvPr id="309" name="Freeform: Shape 308">
                <a:extLst>
                  <a:ext uri="{FF2B5EF4-FFF2-40B4-BE49-F238E27FC236}">
                    <a16:creationId xmlns:a16="http://schemas.microsoft.com/office/drawing/2014/main" id="{D9C6E2B3-26F7-4726-B9FD-C9F3D30054D9}"/>
                  </a:ext>
                </a:extLst>
              </p:cNvPr>
              <p:cNvSpPr/>
              <p:nvPr userDrawn="1"/>
            </p:nvSpPr>
            <p:spPr bwMode="ltGray">
              <a:xfrm>
                <a:off x="1003935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err="1">
                  <a:solidFill>
                    <a:schemeClr val="tx1"/>
                  </a:solidFill>
                  <a:latin typeface="+mn-lt"/>
                  <a:ea typeface="+mn-ea"/>
                  <a:cs typeface="+mn-cs"/>
                  <a:sym typeface="+mn-lt"/>
                </a:endParaRPr>
              </a:p>
            </p:txBody>
          </p:sp>
        </p:grpSp>
        <p:sp>
          <p:nvSpPr>
            <p:cNvPr id="314" name="TextBox 313">
              <a:extLst>
                <a:ext uri="{FF2B5EF4-FFF2-40B4-BE49-F238E27FC236}">
                  <a16:creationId xmlns:a16="http://schemas.microsoft.com/office/drawing/2014/main" id="{9B58554F-E899-4AE0-9A57-1DA16BB15C55}"/>
                </a:ext>
              </a:extLst>
            </p:cNvPr>
            <p:cNvSpPr txBox="1">
              <a:spLocks noChangeArrowheads="1"/>
            </p:cNvSpPr>
            <p:nvPr userDrawn="1"/>
          </p:nvSpPr>
          <p:spPr bwMode="ltGray">
            <a:xfrm>
              <a:off x="8259786" y="1407161"/>
              <a:ext cx="968364" cy="193039"/>
            </a:xfrm>
            <a:custGeom>
              <a:avLst/>
              <a:gdLst/>
              <a:ahLst/>
              <a:cxnLst/>
              <a:rect l="l" t="t" r="r" b="b"/>
              <a:pathLst>
                <a:path w="1017943" h="202922">
                  <a:moveTo>
                    <a:pt x="848232" y="56587"/>
                  </a:moveTo>
                  <a:cubicBezTo>
                    <a:pt x="839675" y="56587"/>
                    <a:pt x="832525" y="60082"/>
                    <a:pt x="826785" y="67070"/>
                  </a:cubicBezTo>
                  <a:cubicBezTo>
                    <a:pt x="821044" y="74059"/>
                    <a:pt x="818174" y="85077"/>
                    <a:pt x="818174" y="100124"/>
                  </a:cubicBezTo>
                  <a:cubicBezTo>
                    <a:pt x="818174" y="114672"/>
                    <a:pt x="821240" y="125547"/>
                    <a:pt x="827373" y="132750"/>
                  </a:cubicBezTo>
                  <a:cubicBezTo>
                    <a:pt x="833506" y="139953"/>
                    <a:pt x="840744" y="143554"/>
                    <a:pt x="849088" y="143554"/>
                  </a:cubicBezTo>
                  <a:cubicBezTo>
                    <a:pt x="857503" y="143554"/>
                    <a:pt x="864652" y="140113"/>
                    <a:pt x="870535" y="133231"/>
                  </a:cubicBezTo>
                  <a:cubicBezTo>
                    <a:pt x="876419" y="126350"/>
                    <a:pt x="879360" y="115849"/>
                    <a:pt x="879360" y="101729"/>
                  </a:cubicBezTo>
                  <a:cubicBezTo>
                    <a:pt x="879360" y="86182"/>
                    <a:pt x="876365" y="74772"/>
                    <a:pt x="870375" y="67498"/>
                  </a:cubicBezTo>
                  <a:cubicBezTo>
                    <a:pt x="864385" y="60224"/>
                    <a:pt x="857004" y="56587"/>
                    <a:pt x="848232" y="56587"/>
                  </a:cubicBezTo>
                  <a:close/>
                  <a:moveTo>
                    <a:pt x="200853" y="56587"/>
                  </a:moveTo>
                  <a:cubicBezTo>
                    <a:pt x="192295" y="56587"/>
                    <a:pt x="185021" y="60064"/>
                    <a:pt x="179031" y="67017"/>
                  </a:cubicBezTo>
                  <a:cubicBezTo>
                    <a:pt x="173041" y="73970"/>
                    <a:pt x="170046" y="84292"/>
                    <a:pt x="170046" y="97985"/>
                  </a:cubicBezTo>
                  <a:cubicBezTo>
                    <a:pt x="170046" y="112889"/>
                    <a:pt x="173005" y="123764"/>
                    <a:pt x="178924" y="130611"/>
                  </a:cubicBezTo>
                  <a:cubicBezTo>
                    <a:pt x="184843" y="137457"/>
                    <a:pt x="192260" y="140880"/>
                    <a:pt x="201174" y="140880"/>
                  </a:cubicBezTo>
                  <a:cubicBezTo>
                    <a:pt x="210017" y="140880"/>
                    <a:pt x="217433" y="137474"/>
                    <a:pt x="223424" y="130664"/>
                  </a:cubicBezTo>
                  <a:cubicBezTo>
                    <a:pt x="229414" y="123854"/>
                    <a:pt x="232409" y="113174"/>
                    <a:pt x="232409" y="98626"/>
                  </a:cubicBezTo>
                  <a:cubicBezTo>
                    <a:pt x="232409" y="84720"/>
                    <a:pt x="229325" y="74237"/>
                    <a:pt x="223156" y="67177"/>
                  </a:cubicBezTo>
                  <a:cubicBezTo>
                    <a:pt x="216988" y="60117"/>
                    <a:pt x="209553" y="56587"/>
                    <a:pt x="200853" y="56587"/>
                  </a:cubicBezTo>
                  <a:close/>
                  <a:moveTo>
                    <a:pt x="966490" y="56480"/>
                  </a:moveTo>
                  <a:cubicBezTo>
                    <a:pt x="957647" y="56480"/>
                    <a:pt x="950213" y="59440"/>
                    <a:pt x="944187" y="65359"/>
                  </a:cubicBezTo>
                  <a:cubicBezTo>
                    <a:pt x="938161" y="71278"/>
                    <a:pt x="934827" y="79194"/>
                    <a:pt x="934185" y="89106"/>
                  </a:cubicBezTo>
                  <a:lnTo>
                    <a:pt x="997618" y="89106"/>
                  </a:lnTo>
                  <a:cubicBezTo>
                    <a:pt x="996763" y="79550"/>
                    <a:pt x="994338" y="72383"/>
                    <a:pt x="990344" y="67605"/>
                  </a:cubicBezTo>
                  <a:cubicBezTo>
                    <a:pt x="984211" y="60188"/>
                    <a:pt x="976260" y="56480"/>
                    <a:pt x="966490" y="56480"/>
                  </a:cubicBezTo>
                  <a:close/>
                  <a:moveTo>
                    <a:pt x="671215" y="56480"/>
                  </a:moveTo>
                  <a:cubicBezTo>
                    <a:pt x="662372" y="56480"/>
                    <a:pt x="654938" y="59440"/>
                    <a:pt x="648912" y="65359"/>
                  </a:cubicBezTo>
                  <a:cubicBezTo>
                    <a:pt x="642886" y="71278"/>
                    <a:pt x="639552" y="79194"/>
                    <a:pt x="638910" y="89106"/>
                  </a:cubicBezTo>
                  <a:lnTo>
                    <a:pt x="702343" y="89106"/>
                  </a:lnTo>
                  <a:cubicBezTo>
                    <a:pt x="701488" y="79550"/>
                    <a:pt x="699063" y="72383"/>
                    <a:pt x="695069" y="67605"/>
                  </a:cubicBezTo>
                  <a:cubicBezTo>
                    <a:pt x="688936" y="60188"/>
                    <a:pt x="680985" y="56480"/>
                    <a:pt x="671215" y="56480"/>
                  </a:cubicBezTo>
                  <a:close/>
                  <a:moveTo>
                    <a:pt x="318790" y="56480"/>
                  </a:moveTo>
                  <a:cubicBezTo>
                    <a:pt x="309947" y="56480"/>
                    <a:pt x="302513" y="59440"/>
                    <a:pt x="296487" y="65359"/>
                  </a:cubicBezTo>
                  <a:cubicBezTo>
                    <a:pt x="290461" y="71278"/>
                    <a:pt x="287127" y="79194"/>
                    <a:pt x="286485" y="89106"/>
                  </a:cubicBezTo>
                  <a:lnTo>
                    <a:pt x="349918" y="89106"/>
                  </a:lnTo>
                  <a:cubicBezTo>
                    <a:pt x="349063" y="79550"/>
                    <a:pt x="346638" y="72383"/>
                    <a:pt x="342644" y="67605"/>
                  </a:cubicBezTo>
                  <a:cubicBezTo>
                    <a:pt x="336511" y="60188"/>
                    <a:pt x="328560" y="56480"/>
                    <a:pt x="318790" y="56480"/>
                  </a:cubicBezTo>
                  <a:close/>
                  <a:moveTo>
                    <a:pt x="966276" y="40649"/>
                  </a:moveTo>
                  <a:cubicBezTo>
                    <a:pt x="981466" y="40649"/>
                    <a:pt x="993874" y="45819"/>
                    <a:pt x="1003502" y="56159"/>
                  </a:cubicBezTo>
                  <a:cubicBezTo>
                    <a:pt x="1013129" y="66500"/>
                    <a:pt x="1017943" y="81048"/>
                    <a:pt x="1017943" y="99803"/>
                  </a:cubicBezTo>
                  <a:cubicBezTo>
                    <a:pt x="1017943" y="100944"/>
                    <a:pt x="1017907" y="102656"/>
                    <a:pt x="1017836" y="104938"/>
                  </a:cubicBezTo>
                  <a:lnTo>
                    <a:pt x="933115" y="104938"/>
                  </a:lnTo>
                  <a:cubicBezTo>
                    <a:pt x="933828" y="117418"/>
                    <a:pt x="937358" y="126974"/>
                    <a:pt x="943705" y="133606"/>
                  </a:cubicBezTo>
                  <a:cubicBezTo>
                    <a:pt x="950052" y="140238"/>
                    <a:pt x="957968" y="143554"/>
                    <a:pt x="967453" y="143554"/>
                  </a:cubicBezTo>
                  <a:cubicBezTo>
                    <a:pt x="974513" y="143554"/>
                    <a:pt x="980539" y="141700"/>
                    <a:pt x="985531" y="137991"/>
                  </a:cubicBezTo>
                  <a:cubicBezTo>
                    <a:pt x="990523" y="134283"/>
                    <a:pt x="994481" y="128364"/>
                    <a:pt x="997404" y="120234"/>
                  </a:cubicBezTo>
                  <a:lnTo>
                    <a:pt x="1017301" y="122695"/>
                  </a:lnTo>
                  <a:cubicBezTo>
                    <a:pt x="1014163" y="134319"/>
                    <a:pt x="1008351" y="143340"/>
                    <a:pt x="999865" y="149758"/>
                  </a:cubicBezTo>
                  <a:cubicBezTo>
                    <a:pt x="991378" y="156176"/>
                    <a:pt x="980539" y="159386"/>
                    <a:pt x="967346" y="159386"/>
                  </a:cubicBezTo>
                  <a:cubicBezTo>
                    <a:pt x="950730" y="159386"/>
                    <a:pt x="937555" y="154269"/>
                    <a:pt x="927820" y="144035"/>
                  </a:cubicBezTo>
                  <a:cubicBezTo>
                    <a:pt x="918086" y="133802"/>
                    <a:pt x="913219" y="119450"/>
                    <a:pt x="913219" y="100980"/>
                  </a:cubicBezTo>
                  <a:cubicBezTo>
                    <a:pt x="913219" y="81868"/>
                    <a:pt x="918140" y="67035"/>
                    <a:pt x="927981" y="56480"/>
                  </a:cubicBezTo>
                  <a:cubicBezTo>
                    <a:pt x="937822" y="45926"/>
                    <a:pt x="950587" y="40649"/>
                    <a:pt x="966276" y="40649"/>
                  </a:cubicBezTo>
                  <a:close/>
                  <a:moveTo>
                    <a:pt x="671001" y="40649"/>
                  </a:moveTo>
                  <a:cubicBezTo>
                    <a:pt x="686191" y="40649"/>
                    <a:pt x="698599" y="45819"/>
                    <a:pt x="708227" y="56159"/>
                  </a:cubicBezTo>
                  <a:cubicBezTo>
                    <a:pt x="717854" y="66500"/>
                    <a:pt x="722668" y="81048"/>
                    <a:pt x="722668" y="99803"/>
                  </a:cubicBezTo>
                  <a:cubicBezTo>
                    <a:pt x="722668" y="100944"/>
                    <a:pt x="722632" y="102656"/>
                    <a:pt x="722561" y="104938"/>
                  </a:cubicBezTo>
                  <a:lnTo>
                    <a:pt x="637840" y="104938"/>
                  </a:lnTo>
                  <a:cubicBezTo>
                    <a:pt x="638553" y="117418"/>
                    <a:pt x="642083" y="126974"/>
                    <a:pt x="648430" y="133606"/>
                  </a:cubicBezTo>
                  <a:cubicBezTo>
                    <a:pt x="654777" y="140238"/>
                    <a:pt x="662693" y="143554"/>
                    <a:pt x="672178" y="143554"/>
                  </a:cubicBezTo>
                  <a:cubicBezTo>
                    <a:pt x="679238" y="143554"/>
                    <a:pt x="685264" y="141700"/>
                    <a:pt x="690256" y="137991"/>
                  </a:cubicBezTo>
                  <a:cubicBezTo>
                    <a:pt x="695248" y="134283"/>
                    <a:pt x="699206" y="128364"/>
                    <a:pt x="702129" y="120234"/>
                  </a:cubicBezTo>
                  <a:lnTo>
                    <a:pt x="722026" y="122695"/>
                  </a:lnTo>
                  <a:cubicBezTo>
                    <a:pt x="718888" y="134319"/>
                    <a:pt x="713076" y="143340"/>
                    <a:pt x="704590" y="149758"/>
                  </a:cubicBezTo>
                  <a:cubicBezTo>
                    <a:pt x="696103" y="156176"/>
                    <a:pt x="685264" y="159386"/>
                    <a:pt x="672071" y="159386"/>
                  </a:cubicBezTo>
                  <a:cubicBezTo>
                    <a:pt x="655455" y="159386"/>
                    <a:pt x="642280" y="154269"/>
                    <a:pt x="632545" y="144035"/>
                  </a:cubicBezTo>
                  <a:cubicBezTo>
                    <a:pt x="622811" y="133802"/>
                    <a:pt x="617944" y="119450"/>
                    <a:pt x="617944" y="100980"/>
                  </a:cubicBezTo>
                  <a:cubicBezTo>
                    <a:pt x="617944" y="81868"/>
                    <a:pt x="622864" y="67035"/>
                    <a:pt x="632706" y="56480"/>
                  </a:cubicBezTo>
                  <a:cubicBezTo>
                    <a:pt x="642547" y="45926"/>
                    <a:pt x="655312" y="40649"/>
                    <a:pt x="671001" y="40649"/>
                  </a:cubicBezTo>
                  <a:close/>
                  <a:moveTo>
                    <a:pt x="555952" y="40649"/>
                  </a:moveTo>
                  <a:cubicBezTo>
                    <a:pt x="568290" y="40649"/>
                    <a:pt x="578380" y="43769"/>
                    <a:pt x="586225" y="50008"/>
                  </a:cubicBezTo>
                  <a:cubicBezTo>
                    <a:pt x="594069" y="56248"/>
                    <a:pt x="599097" y="65109"/>
                    <a:pt x="601308" y="76591"/>
                  </a:cubicBezTo>
                  <a:lnTo>
                    <a:pt x="582588" y="79479"/>
                  </a:lnTo>
                  <a:cubicBezTo>
                    <a:pt x="580805" y="71848"/>
                    <a:pt x="577649" y="66108"/>
                    <a:pt x="573121" y="62257"/>
                  </a:cubicBezTo>
                  <a:cubicBezTo>
                    <a:pt x="568593" y="58406"/>
                    <a:pt x="563119" y="56480"/>
                    <a:pt x="556701" y="56480"/>
                  </a:cubicBezTo>
                  <a:cubicBezTo>
                    <a:pt x="547002" y="56480"/>
                    <a:pt x="539122" y="59957"/>
                    <a:pt x="533061" y="66910"/>
                  </a:cubicBezTo>
                  <a:cubicBezTo>
                    <a:pt x="526999" y="73863"/>
                    <a:pt x="523968" y="84863"/>
                    <a:pt x="523968" y="99910"/>
                  </a:cubicBezTo>
                  <a:cubicBezTo>
                    <a:pt x="523968" y="115171"/>
                    <a:pt x="526892" y="126260"/>
                    <a:pt x="532740" y="133178"/>
                  </a:cubicBezTo>
                  <a:cubicBezTo>
                    <a:pt x="538588" y="140095"/>
                    <a:pt x="546218" y="143554"/>
                    <a:pt x="555631" y="143554"/>
                  </a:cubicBezTo>
                  <a:cubicBezTo>
                    <a:pt x="563191" y="143554"/>
                    <a:pt x="569502" y="141236"/>
                    <a:pt x="574565" y="136601"/>
                  </a:cubicBezTo>
                  <a:cubicBezTo>
                    <a:pt x="579628" y="131965"/>
                    <a:pt x="582838" y="124834"/>
                    <a:pt x="584192" y="115207"/>
                  </a:cubicBezTo>
                  <a:lnTo>
                    <a:pt x="603126" y="117667"/>
                  </a:lnTo>
                  <a:cubicBezTo>
                    <a:pt x="601058" y="130718"/>
                    <a:pt x="595763" y="140933"/>
                    <a:pt x="587241" y="148314"/>
                  </a:cubicBezTo>
                  <a:cubicBezTo>
                    <a:pt x="578719" y="155695"/>
                    <a:pt x="568254" y="159386"/>
                    <a:pt x="555845" y="159386"/>
                  </a:cubicBezTo>
                  <a:cubicBezTo>
                    <a:pt x="540299" y="159386"/>
                    <a:pt x="527801" y="154304"/>
                    <a:pt x="518352" y="144142"/>
                  </a:cubicBezTo>
                  <a:cubicBezTo>
                    <a:pt x="508903" y="133980"/>
                    <a:pt x="504179" y="119414"/>
                    <a:pt x="504179" y="100445"/>
                  </a:cubicBezTo>
                  <a:cubicBezTo>
                    <a:pt x="504179" y="88179"/>
                    <a:pt x="506211" y="77446"/>
                    <a:pt x="510276" y="68247"/>
                  </a:cubicBezTo>
                  <a:cubicBezTo>
                    <a:pt x="514341" y="59047"/>
                    <a:pt x="520527" y="52148"/>
                    <a:pt x="528835" y="47548"/>
                  </a:cubicBezTo>
                  <a:cubicBezTo>
                    <a:pt x="537143" y="42948"/>
                    <a:pt x="546182" y="40649"/>
                    <a:pt x="555952" y="40649"/>
                  </a:cubicBezTo>
                  <a:close/>
                  <a:moveTo>
                    <a:pt x="449247" y="40649"/>
                  </a:moveTo>
                  <a:cubicBezTo>
                    <a:pt x="456093" y="40649"/>
                    <a:pt x="462387" y="41879"/>
                    <a:pt x="468127" y="44339"/>
                  </a:cubicBezTo>
                  <a:cubicBezTo>
                    <a:pt x="473868" y="46799"/>
                    <a:pt x="478165" y="50026"/>
                    <a:pt x="481017" y="54020"/>
                  </a:cubicBezTo>
                  <a:cubicBezTo>
                    <a:pt x="483870" y="58013"/>
                    <a:pt x="485867" y="62756"/>
                    <a:pt x="487008" y="68247"/>
                  </a:cubicBezTo>
                  <a:cubicBezTo>
                    <a:pt x="487721" y="71813"/>
                    <a:pt x="488077" y="78053"/>
                    <a:pt x="488077" y="86967"/>
                  </a:cubicBezTo>
                  <a:lnTo>
                    <a:pt x="488077" y="156818"/>
                  </a:lnTo>
                  <a:lnTo>
                    <a:pt x="468823" y="156818"/>
                  </a:lnTo>
                  <a:lnTo>
                    <a:pt x="468823" y="87715"/>
                  </a:lnTo>
                  <a:cubicBezTo>
                    <a:pt x="468823" y="79871"/>
                    <a:pt x="468074" y="74005"/>
                    <a:pt x="466576" y="70119"/>
                  </a:cubicBezTo>
                  <a:cubicBezTo>
                    <a:pt x="465079" y="66232"/>
                    <a:pt x="462422" y="63130"/>
                    <a:pt x="458607" y="60812"/>
                  </a:cubicBezTo>
                  <a:cubicBezTo>
                    <a:pt x="454792" y="58495"/>
                    <a:pt x="450317" y="57336"/>
                    <a:pt x="445182" y="57336"/>
                  </a:cubicBezTo>
                  <a:cubicBezTo>
                    <a:pt x="436981" y="57336"/>
                    <a:pt x="429903" y="59939"/>
                    <a:pt x="423949" y="65145"/>
                  </a:cubicBezTo>
                  <a:cubicBezTo>
                    <a:pt x="417994" y="70351"/>
                    <a:pt x="415017" y="80228"/>
                    <a:pt x="415017" y="94776"/>
                  </a:cubicBezTo>
                  <a:lnTo>
                    <a:pt x="415017" y="156818"/>
                  </a:lnTo>
                  <a:lnTo>
                    <a:pt x="395762" y="156818"/>
                  </a:lnTo>
                  <a:lnTo>
                    <a:pt x="395762" y="43216"/>
                  </a:lnTo>
                  <a:lnTo>
                    <a:pt x="413091" y="43216"/>
                  </a:lnTo>
                  <a:lnTo>
                    <a:pt x="413091" y="59368"/>
                  </a:lnTo>
                  <a:cubicBezTo>
                    <a:pt x="421435" y="46889"/>
                    <a:pt x="433487" y="40649"/>
                    <a:pt x="449247" y="40649"/>
                  </a:cubicBezTo>
                  <a:close/>
                  <a:moveTo>
                    <a:pt x="318576" y="40649"/>
                  </a:moveTo>
                  <a:cubicBezTo>
                    <a:pt x="333766" y="40649"/>
                    <a:pt x="346174" y="45819"/>
                    <a:pt x="355802" y="56159"/>
                  </a:cubicBezTo>
                  <a:cubicBezTo>
                    <a:pt x="365429" y="66500"/>
                    <a:pt x="370243" y="81048"/>
                    <a:pt x="370243" y="99803"/>
                  </a:cubicBezTo>
                  <a:cubicBezTo>
                    <a:pt x="370243" y="100944"/>
                    <a:pt x="370207" y="102656"/>
                    <a:pt x="370136" y="104938"/>
                  </a:cubicBezTo>
                  <a:lnTo>
                    <a:pt x="285415" y="104938"/>
                  </a:lnTo>
                  <a:cubicBezTo>
                    <a:pt x="286128" y="117418"/>
                    <a:pt x="289658" y="126974"/>
                    <a:pt x="296005" y="133606"/>
                  </a:cubicBezTo>
                  <a:cubicBezTo>
                    <a:pt x="302352" y="140238"/>
                    <a:pt x="310268" y="143554"/>
                    <a:pt x="319753" y="143554"/>
                  </a:cubicBezTo>
                  <a:cubicBezTo>
                    <a:pt x="326813" y="143554"/>
                    <a:pt x="332839" y="141700"/>
                    <a:pt x="337831" y="137991"/>
                  </a:cubicBezTo>
                  <a:cubicBezTo>
                    <a:pt x="342823" y="134283"/>
                    <a:pt x="346781" y="128364"/>
                    <a:pt x="349704" y="120234"/>
                  </a:cubicBezTo>
                  <a:lnTo>
                    <a:pt x="369601" y="122695"/>
                  </a:lnTo>
                  <a:cubicBezTo>
                    <a:pt x="366463" y="134319"/>
                    <a:pt x="360651" y="143340"/>
                    <a:pt x="352165" y="149758"/>
                  </a:cubicBezTo>
                  <a:cubicBezTo>
                    <a:pt x="343678" y="156176"/>
                    <a:pt x="332839" y="159386"/>
                    <a:pt x="319646" y="159386"/>
                  </a:cubicBezTo>
                  <a:cubicBezTo>
                    <a:pt x="303030" y="159386"/>
                    <a:pt x="289855" y="154269"/>
                    <a:pt x="280120" y="144035"/>
                  </a:cubicBezTo>
                  <a:cubicBezTo>
                    <a:pt x="270386" y="133802"/>
                    <a:pt x="265519" y="119450"/>
                    <a:pt x="265519" y="100980"/>
                  </a:cubicBezTo>
                  <a:cubicBezTo>
                    <a:pt x="265519" y="81868"/>
                    <a:pt x="270439" y="67035"/>
                    <a:pt x="280281" y="56480"/>
                  </a:cubicBezTo>
                  <a:cubicBezTo>
                    <a:pt x="290122" y="45926"/>
                    <a:pt x="302887" y="40649"/>
                    <a:pt x="318576" y="40649"/>
                  </a:cubicBezTo>
                  <a:close/>
                  <a:moveTo>
                    <a:pt x="199462" y="40649"/>
                  </a:moveTo>
                  <a:cubicBezTo>
                    <a:pt x="212869" y="40649"/>
                    <a:pt x="223923" y="46068"/>
                    <a:pt x="232623" y="56908"/>
                  </a:cubicBezTo>
                  <a:lnTo>
                    <a:pt x="232623" y="43216"/>
                  </a:lnTo>
                  <a:lnTo>
                    <a:pt x="250380" y="43216"/>
                  </a:lnTo>
                  <a:lnTo>
                    <a:pt x="250380" y="141415"/>
                  </a:lnTo>
                  <a:cubicBezTo>
                    <a:pt x="250380" y="159100"/>
                    <a:pt x="248580" y="171634"/>
                    <a:pt x="244978" y="179015"/>
                  </a:cubicBezTo>
                  <a:cubicBezTo>
                    <a:pt x="241377" y="186396"/>
                    <a:pt x="235672" y="192225"/>
                    <a:pt x="227863" y="196504"/>
                  </a:cubicBezTo>
                  <a:cubicBezTo>
                    <a:pt x="220054" y="200783"/>
                    <a:pt x="210445" y="202922"/>
                    <a:pt x="199035" y="202922"/>
                  </a:cubicBezTo>
                  <a:cubicBezTo>
                    <a:pt x="185485" y="202922"/>
                    <a:pt x="174538" y="199874"/>
                    <a:pt x="166195" y="193776"/>
                  </a:cubicBezTo>
                  <a:cubicBezTo>
                    <a:pt x="157851" y="187679"/>
                    <a:pt x="153822" y="178498"/>
                    <a:pt x="154107" y="166232"/>
                  </a:cubicBezTo>
                  <a:lnTo>
                    <a:pt x="172827" y="169013"/>
                  </a:lnTo>
                  <a:cubicBezTo>
                    <a:pt x="173611" y="174789"/>
                    <a:pt x="175786" y="178997"/>
                    <a:pt x="179352" y="181635"/>
                  </a:cubicBezTo>
                  <a:cubicBezTo>
                    <a:pt x="184130" y="185201"/>
                    <a:pt x="190655" y="186984"/>
                    <a:pt x="198928" y="186984"/>
                  </a:cubicBezTo>
                  <a:cubicBezTo>
                    <a:pt x="207842" y="186984"/>
                    <a:pt x="214724" y="185201"/>
                    <a:pt x="219573" y="181635"/>
                  </a:cubicBezTo>
                  <a:cubicBezTo>
                    <a:pt x="224422" y="178070"/>
                    <a:pt x="227703" y="173078"/>
                    <a:pt x="229414" y="166660"/>
                  </a:cubicBezTo>
                  <a:cubicBezTo>
                    <a:pt x="230412" y="162737"/>
                    <a:pt x="230876" y="154501"/>
                    <a:pt x="230805" y="141949"/>
                  </a:cubicBezTo>
                  <a:cubicBezTo>
                    <a:pt x="222390" y="151862"/>
                    <a:pt x="211907" y="156818"/>
                    <a:pt x="199355" y="156818"/>
                  </a:cubicBezTo>
                  <a:cubicBezTo>
                    <a:pt x="183738" y="156818"/>
                    <a:pt x="171650" y="151184"/>
                    <a:pt x="163093" y="139917"/>
                  </a:cubicBezTo>
                  <a:cubicBezTo>
                    <a:pt x="154535" y="128649"/>
                    <a:pt x="150256" y="115136"/>
                    <a:pt x="150256" y="99375"/>
                  </a:cubicBezTo>
                  <a:cubicBezTo>
                    <a:pt x="150256" y="88536"/>
                    <a:pt x="152217" y="78534"/>
                    <a:pt x="156140" y="69370"/>
                  </a:cubicBezTo>
                  <a:cubicBezTo>
                    <a:pt x="160062" y="60206"/>
                    <a:pt x="165749" y="53128"/>
                    <a:pt x="173201" y="48137"/>
                  </a:cubicBezTo>
                  <a:cubicBezTo>
                    <a:pt x="180654" y="43145"/>
                    <a:pt x="189407" y="40649"/>
                    <a:pt x="199462" y="40649"/>
                  </a:cubicBezTo>
                  <a:close/>
                  <a:moveTo>
                    <a:pt x="70921" y="16473"/>
                  </a:moveTo>
                  <a:cubicBezTo>
                    <a:pt x="68925" y="26529"/>
                    <a:pt x="66108" y="36512"/>
                    <a:pt x="62471" y="46425"/>
                  </a:cubicBezTo>
                  <a:lnTo>
                    <a:pt x="45249" y="92422"/>
                  </a:lnTo>
                  <a:lnTo>
                    <a:pt x="98413" y="92422"/>
                  </a:lnTo>
                  <a:lnTo>
                    <a:pt x="82046" y="48992"/>
                  </a:lnTo>
                  <a:cubicBezTo>
                    <a:pt x="77054" y="35799"/>
                    <a:pt x="73346" y="24960"/>
                    <a:pt x="70921" y="16473"/>
                  </a:cubicBezTo>
                  <a:close/>
                  <a:moveTo>
                    <a:pt x="877756" y="0"/>
                  </a:moveTo>
                  <a:lnTo>
                    <a:pt x="896904" y="0"/>
                  </a:lnTo>
                  <a:lnTo>
                    <a:pt x="896904" y="156818"/>
                  </a:lnTo>
                  <a:lnTo>
                    <a:pt x="879040" y="156818"/>
                  </a:lnTo>
                  <a:lnTo>
                    <a:pt x="879040" y="142484"/>
                  </a:lnTo>
                  <a:cubicBezTo>
                    <a:pt x="871837" y="153752"/>
                    <a:pt x="861247" y="159386"/>
                    <a:pt x="847269" y="159386"/>
                  </a:cubicBezTo>
                  <a:cubicBezTo>
                    <a:pt x="838213" y="159386"/>
                    <a:pt x="829887" y="156890"/>
                    <a:pt x="822292" y="151898"/>
                  </a:cubicBezTo>
                  <a:cubicBezTo>
                    <a:pt x="814697" y="146906"/>
                    <a:pt x="808814" y="139935"/>
                    <a:pt x="804642" y="130985"/>
                  </a:cubicBezTo>
                  <a:cubicBezTo>
                    <a:pt x="800470" y="122035"/>
                    <a:pt x="798384" y="111748"/>
                    <a:pt x="798384" y="100124"/>
                  </a:cubicBezTo>
                  <a:cubicBezTo>
                    <a:pt x="798384" y="88785"/>
                    <a:pt x="800274" y="78498"/>
                    <a:pt x="804053" y="69263"/>
                  </a:cubicBezTo>
                  <a:cubicBezTo>
                    <a:pt x="807833" y="60028"/>
                    <a:pt x="813502" y="52950"/>
                    <a:pt x="821062" y="48030"/>
                  </a:cubicBezTo>
                  <a:cubicBezTo>
                    <a:pt x="828621" y="43109"/>
                    <a:pt x="837072" y="40649"/>
                    <a:pt x="846414" y="40649"/>
                  </a:cubicBezTo>
                  <a:cubicBezTo>
                    <a:pt x="853260" y="40649"/>
                    <a:pt x="859357" y="42093"/>
                    <a:pt x="864706" y="44981"/>
                  </a:cubicBezTo>
                  <a:cubicBezTo>
                    <a:pt x="870054" y="47869"/>
                    <a:pt x="874404" y="51631"/>
                    <a:pt x="877756" y="56266"/>
                  </a:cubicBezTo>
                  <a:close/>
                  <a:moveTo>
                    <a:pt x="60224" y="0"/>
                  </a:moveTo>
                  <a:lnTo>
                    <a:pt x="82581" y="0"/>
                  </a:lnTo>
                  <a:lnTo>
                    <a:pt x="146763" y="156818"/>
                  </a:lnTo>
                  <a:lnTo>
                    <a:pt x="123123" y="156818"/>
                  </a:lnTo>
                  <a:lnTo>
                    <a:pt x="104831" y="109323"/>
                  </a:lnTo>
                  <a:lnTo>
                    <a:pt x="39258" y="109323"/>
                  </a:lnTo>
                  <a:lnTo>
                    <a:pt x="22036" y="156818"/>
                  </a:ln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84A6B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sp>
          <p:nvSpPr>
            <p:cNvPr id="316" name="TextBox 315">
              <a:extLst>
                <a:ext uri="{FF2B5EF4-FFF2-40B4-BE49-F238E27FC236}">
                  <a16:creationId xmlns:a16="http://schemas.microsoft.com/office/drawing/2014/main" id="{C9CCD87B-92BD-43A3-9632-157D1C815793}"/>
                </a:ext>
              </a:extLst>
            </p:cNvPr>
            <p:cNvSpPr txBox="1">
              <a:spLocks noChangeArrowheads="1"/>
            </p:cNvSpPr>
            <p:nvPr userDrawn="1"/>
          </p:nvSpPr>
          <p:spPr bwMode="ltGray">
            <a:xfrm>
              <a:off x="11068875" y="1407161"/>
              <a:ext cx="541113" cy="193039"/>
            </a:xfrm>
            <a:custGeom>
              <a:avLst/>
              <a:gdLst/>
              <a:ahLst/>
              <a:cxnLst/>
              <a:rect l="l" t="t" r="r" b="b"/>
              <a:pathLst>
                <a:path w="568817" h="202922">
                  <a:moveTo>
                    <a:pt x="498691" y="99803"/>
                  </a:moveTo>
                  <a:cubicBezTo>
                    <a:pt x="491702" y="102656"/>
                    <a:pt x="481219" y="105080"/>
                    <a:pt x="467242" y="107077"/>
                  </a:cubicBezTo>
                  <a:cubicBezTo>
                    <a:pt x="459326" y="108218"/>
                    <a:pt x="453728" y="109502"/>
                    <a:pt x="450447" y="110928"/>
                  </a:cubicBezTo>
                  <a:cubicBezTo>
                    <a:pt x="447167" y="112354"/>
                    <a:pt x="444635" y="114440"/>
                    <a:pt x="442852" y="117186"/>
                  </a:cubicBezTo>
                  <a:cubicBezTo>
                    <a:pt x="441070" y="119931"/>
                    <a:pt x="440178" y="122980"/>
                    <a:pt x="440178" y="126332"/>
                  </a:cubicBezTo>
                  <a:cubicBezTo>
                    <a:pt x="440178" y="131466"/>
                    <a:pt x="442121" y="135745"/>
                    <a:pt x="446008" y="139168"/>
                  </a:cubicBezTo>
                  <a:cubicBezTo>
                    <a:pt x="449895" y="142591"/>
                    <a:pt x="455582" y="144303"/>
                    <a:pt x="463070" y="144303"/>
                  </a:cubicBezTo>
                  <a:cubicBezTo>
                    <a:pt x="470486" y="144303"/>
                    <a:pt x="477083" y="142680"/>
                    <a:pt x="482859" y="139436"/>
                  </a:cubicBezTo>
                  <a:cubicBezTo>
                    <a:pt x="488636" y="136191"/>
                    <a:pt x="492879" y="131752"/>
                    <a:pt x="495589" y="126118"/>
                  </a:cubicBezTo>
                  <a:cubicBezTo>
                    <a:pt x="497657" y="121768"/>
                    <a:pt x="498691" y="115349"/>
                    <a:pt x="498691" y="106863"/>
                  </a:cubicBezTo>
                  <a:close/>
                  <a:moveTo>
                    <a:pt x="250306" y="56587"/>
                  </a:moveTo>
                  <a:cubicBezTo>
                    <a:pt x="241748" y="56587"/>
                    <a:pt x="234474" y="60064"/>
                    <a:pt x="228484" y="67017"/>
                  </a:cubicBezTo>
                  <a:cubicBezTo>
                    <a:pt x="222494" y="73970"/>
                    <a:pt x="219499" y="84292"/>
                    <a:pt x="219499" y="97985"/>
                  </a:cubicBezTo>
                  <a:cubicBezTo>
                    <a:pt x="219499" y="112889"/>
                    <a:pt x="222458" y="123764"/>
                    <a:pt x="228377" y="130611"/>
                  </a:cubicBezTo>
                  <a:cubicBezTo>
                    <a:pt x="234296" y="137457"/>
                    <a:pt x="241713" y="140880"/>
                    <a:pt x="250627" y="140880"/>
                  </a:cubicBezTo>
                  <a:cubicBezTo>
                    <a:pt x="259470" y="140880"/>
                    <a:pt x="266886" y="137474"/>
                    <a:pt x="272877" y="130664"/>
                  </a:cubicBezTo>
                  <a:cubicBezTo>
                    <a:pt x="278867" y="123854"/>
                    <a:pt x="281862" y="113174"/>
                    <a:pt x="281862" y="98626"/>
                  </a:cubicBezTo>
                  <a:cubicBezTo>
                    <a:pt x="281862" y="84720"/>
                    <a:pt x="278778" y="74237"/>
                    <a:pt x="272609" y="67177"/>
                  </a:cubicBezTo>
                  <a:cubicBezTo>
                    <a:pt x="266441" y="60117"/>
                    <a:pt x="259006" y="56587"/>
                    <a:pt x="250306" y="56587"/>
                  </a:cubicBezTo>
                  <a:close/>
                  <a:moveTo>
                    <a:pt x="321497" y="43216"/>
                  </a:moveTo>
                  <a:lnTo>
                    <a:pt x="340752" y="43216"/>
                  </a:lnTo>
                  <a:lnTo>
                    <a:pt x="340752" y="156818"/>
                  </a:lnTo>
                  <a:lnTo>
                    <a:pt x="321497" y="156818"/>
                  </a:lnTo>
                  <a:close/>
                  <a:moveTo>
                    <a:pt x="159572" y="43216"/>
                  </a:moveTo>
                  <a:lnTo>
                    <a:pt x="178827" y="43216"/>
                  </a:lnTo>
                  <a:lnTo>
                    <a:pt x="178827" y="156818"/>
                  </a:lnTo>
                  <a:lnTo>
                    <a:pt x="159572" y="156818"/>
                  </a:lnTo>
                  <a:close/>
                  <a:moveTo>
                    <a:pt x="474195" y="40649"/>
                  </a:moveTo>
                  <a:cubicBezTo>
                    <a:pt x="483893" y="40649"/>
                    <a:pt x="491774" y="41790"/>
                    <a:pt x="497835" y="44072"/>
                  </a:cubicBezTo>
                  <a:cubicBezTo>
                    <a:pt x="503897" y="46354"/>
                    <a:pt x="508354" y="49224"/>
                    <a:pt x="511206" y="52683"/>
                  </a:cubicBezTo>
                  <a:cubicBezTo>
                    <a:pt x="514059" y="56141"/>
                    <a:pt x="516056" y="60509"/>
                    <a:pt x="517197" y="65787"/>
                  </a:cubicBezTo>
                  <a:cubicBezTo>
                    <a:pt x="517839" y="69067"/>
                    <a:pt x="518160" y="74986"/>
                    <a:pt x="518160" y="83544"/>
                  </a:cubicBezTo>
                  <a:lnTo>
                    <a:pt x="518160" y="109216"/>
                  </a:lnTo>
                  <a:cubicBezTo>
                    <a:pt x="518160" y="127116"/>
                    <a:pt x="518570" y="138437"/>
                    <a:pt x="519390" y="143180"/>
                  </a:cubicBezTo>
                  <a:cubicBezTo>
                    <a:pt x="520210" y="147922"/>
                    <a:pt x="521832" y="152468"/>
                    <a:pt x="524257" y="156818"/>
                  </a:cubicBezTo>
                  <a:lnTo>
                    <a:pt x="504146" y="156818"/>
                  </a:lnTo>
                  <a:cubicBezTo>
                    <a:pt x="502150" y="152825"/>
                    <a:pt x="500866" y="148154"/>
                    <a:pt x="500295" y="142805"/>
                  </a:cubicBezTo>
                  <a:cubicBezTo>
                    <a:pt x="493164" y="148867"/>
                    <a:pt x="486300" y="153146"/>
                    <a:pt x="479704" y="155642"/>
                  </a:cubicBezTo>
                  <a:cubicBezTo>
                    <a:pt x="473107" y="158138"/>
                    <a:pt x="466029" y="159386"/>
                    <a:pt x="458470" y="159386"/>
                  </a:cubicBezTo>
                  <a:cubicBezTo>
                    <a:pt x="445990" y="159386"/>
                    <a:pt x="436399" y="156337"/>
                    <a:pt x="429695" y="150240"/>
                  </a:cubicBezTo>
                  <a:cubicBezTo>
                    <a:pt x="422992" y="144142"/>
                    <a:pt x="419640" y="136351"/>
                    <a:pt x="419640" y="126867"/>
                  </a:cubicBezTo>
                  <a:cubicBezTo>
                    <a:pt x="419640" y="121304"/>
                    <a:pt x="420906" y="116223"/>
                    <a:pt x="423437" y="111623"/>
                  </a:cubicBezTo>
                  <a:cubicBezTo>
                    <a:pt x="425969" y="107024"/>
                    <a:pt x="429285" y="103333"/>
                    <a:pt x="433386" y="100552"/>
                  </a:cubicBezTo>
                  <a:cubicBezTo>
                    <a:pt x="437486" y="97771"/>
                    <a:pt x="442104" y="95667"/>
                    <a:pt x="447238" y="94241"/>
                  </a:cubicBezTo>
                  <a:cubicBezTo>
                    <a:pt x="451018" y="93242"/>
                    <a:pt x="456723" y="92280"/>
                    <a:pt x="464353" y="91352"/>
                  </a:cubicBezTo>
                  <a:cubicBezTo>
                    <a:pt x="479900" y="89498"/>
                    <a:pt x="491346" y="87288"/>
                    <a:pt x="498691" y="84720"/>
                  </a:cubicBezTo>
                  <a:cubicBezTo>
                    <a:pt x="498762" y="82082"/>
                    <a:pt x="498798" y="80406"/>
                    <a:pt x="498798" y="79693"/>
                  </a:cubicBezTo>
                  <a:cubicBezTo>
                    <a:pt x="498798" y="71848"/>
                    <a:pt x="496979" y="66321"/>
                    <a:pt x="493342" y="63112"/>
                  </a:cubicBezTo>
                  <a:cubicBezTo>
                    <a:pt x="488422" y="58762"/>
                    <a:pt x="481112" y="56587"/>
                    <a:pt x="471414" y="56587"/>
                  </a:cubicBezTo>
                  <a:cubicBezTo>
                    <a:pt x="462357" y="56587"/>
                    <a:pt x="455671" y="58174"/>
                    <a:pt x="451357" y="61347"/>
                  </a:cubicBezTo>
                  <a:cubicBezTo>
                    <a:pt x="447042" y="64521"/>
                    <a:pt x="443851" y="70137"/>
                    <a:pt x="441783" y="78195"/>
                  </a:cubicBezTo>
                  <a:lnTo>
                    <a:pt x="422956" y="75628"/>
                  </a:lnTo>
                  <a:cubicBezTo>
                    <a:pt x="424668" y="67569"/>
                    <a:pt x="427484" y="61062"/>
                    <a:pt x="431407" y="56106"/>
                  </a:cubicBezTo>
                  <a:cubicBezTo>
                    <a:pt x="435329" y="51150"/>
                    <a:pt x="440998" y="47334"/>
                    <a:pt x="448415" y="44660"/>
                  </a:cubicBezTo>
                  <a:cubicBezTo>
                    <a:pt x="455832" y="41986"/>
                    <a:pt x="464425" y="40649"/>
                    <a:pt x="474195" y="40649"/>
                  </a:cubicBezTo>
                  <a:close/>
                  <a:moveTo>
                    <a:pt x="248915" y="40649"/>
                  </a:moveTo>
                  <a:cubicBezTo>
                    <a:pt x="262322" y="40649"/>
                    <a:pt x="273376" y="46068"/>
                    <a:pt x="282076" y="56908"/>
                  </a:cubicBezTo>
                  <a:lnTo>
                    <a:pt x="282076" y="43216"/>
                  </a:lnTo>
                  <a:lnTo>
                    <a:pt x="299833" y="43216"/>
                  </a:lnTo>
                  <a:lnTo>
                    <a:pt x="299833" y="141415"/>
                  </a:lnTo>
                  <a:cubicBezTo>
                    <a:pt x="299833" y="159100"/>
                    <a:pt x="298033" y="171634"/>
                    <a:pt x="294431" y="179015"/>
                  </a:cubicBezTo>
                  <a:cubicBezTo>
                    <a:pt x="290830" y="186396"/>
                    <a:pt x="285125" y="192225"/>
                    <a:pt x="277316" y="196504"/>
                  </a:cubicBezTo>
                  <a:cubicBezTo>
                    <a:pt x="269507" y="200783"/>
                    <a:pt x="259898" y="202922"/>
                    <a:pt x="248488" y="202922"/>
                  </a:cubicBezTo>
                  <a:cubicBezTo>
                    <a:pt x="234938" y="202922"/>
                    <a:pt x="223991" y="199874"/>
                    <a:pt x="215648" y="193776"/>
                  </a:cubicBezTo>
                  <a:cubicBezTo>
                    <a:pt x="207304" y="187679"/>
                    <a:pt x="203275" y="178498"/>
                    <a:pt x="203560" y="166232"/>
                  </a:cubicBezTo>
                  <a:lnTo>
                    <a:pt x="222280" y="169013"/>
                  </a:lnTo>
                  <a:cubicBezTo>
                    <a:pt x="223064" y="174789"/>
                    <a:pt x="225239" y="178997"/>
                    <a:pt x="228805" y="181635"/>
                  </a:cubicBezTo>
                  <a:cubicBezTo>
                    <a:pt x="233583" y="185201"/>
                    <a:pt x="240108" y="186984"/>
                    <a:pt x="248381" y="186984"/>
                  </a:cubicBezTo>
                  <a:cubicBezTo>
                    <a:pt x="257295" y="186984"/>
                    <a:pt x="264177" y="185201"/>
                    <a:pt x="269026" y="181635"/>
                  </a:cubicBezTo>
                  <a:cubicBezTo>
                    <a:pt x="273875" y="178070"/>
                    <a:pt x="277156" y="173078"/>
                    <a:pt x="278867" y="166660"/>
                  </a:cubicBezTo>
                  <a:cubicBezTo>
                    <a:pt x="279866" y="162737"/>
                    <a:pt x="280329" y="154501"/>
                    <a:pt x="280258" y="141949"/>
                  </a:cubicBezTo>
                  <a:cubicBezTo>
                    <a:pt x="271843" y="151862"/>
                    <a:pt x="261360" y="156818"/>
                    <a:pt x="248809" y="156818"/>
                  </a:cubicBezTo>
                  <a:cubicBezTo>
                    <a:pt x="233191" y="156818"/>
                    <a:pt x="221103" y="151184"/>
                    <a:pt x="212546" y="139917"/>
                  </a:cubicBezTo>
                  <a:cubicBezTo>
                    <a:pt x="203988" y="128649"/>
                    <a:pt x="199709" y="115136"/>
                    <a:pt x="199709" y="99375"/>
                  </a:cubicBezTo>
                  <a:cubicBezTo>
                    <a:pt x="199709" y="88536"/>
                    <a:pt x="201670" y="78534"/>
                    <a:pt x="205593" y="69370"/>
                  </a:cubicBezTo>
                  <a:cubicBezTo>
                    <a:pt x="209515" y="60206"/>
                    <a:pt x="215202" y="53128"/>
                    <a:pt x="222654" y="48137"/>
                  </a:cubicBezTo>
                  <a:cubicBezTo>
                    <a:pt x="230107" y="43145"/>
                    <a:pt x="238860" y="40649"/>
                    <a:pt x="248915" y="40649"/>
                  </a:cubicBezTo>
                  <a:close/>
                  <a:moveTo>
                    <a:pt x="20753" y="18506"/>
                  </a:moveTo>
                  <a:lnTo>
                    <a:pt x="20753" y="138312"/>
                  </a:lnTo>
                  <a:lnTo>
                    <a:pt x="54234" y="138312"/>
                  </a:lnTo>
                  <a:cubicBezTo>
                    <a:pt x="64575" y="138312"/>
                    <a:pt x="72687" y="137350"/>
                    <a:pt x="78570" y="135424"/>
                  </a:cubicBezTo>
                  <a:cubicBezTo>
                    <a:pt x="84453" y="133499"/>
                    <a:pt x="89142" y="130789"/>
                    <a:pt x="92637" y="127294"/>
                  </a:cubicBezTo>
                  <a:cubicBezTo>
                    <a:pt x="97557" y="122374"/>
                    <a:pt x="101390" y="115760"/>
                    <a:pt x="104136" y="107451"/>
                  </a:cubicBezTo>
                  <a:cubicBezTo>
                    <a:pt x="106881" y="99143"/>
                    <a:pt x="108254" y="89070"/>
                    <a:pt x="108254" y="77232"/>
                  </a:cubicBezTo>
                  <a:cubicBezTo>
                    <a:pt x="108254" y="60830"/>
                    <a:pt x="105562" y="48226"/>
                    <a:pt x="100178" y="39418"/>
                  </a:cubicBezTo>
                  <a:cubicBezTo>
                    <a:pt x="94794" y="30611"/>
                    <a:pt x="88251" y="24710"/>
                    <a:pt x="80549" y="21715"/>
                  </a:cubicBezTo>
                  <a:cubicBezTo>
                    <a:pt x="74987" y="19575"/>
                    <a:pt x="66037" y="18506"/>
                    <a:pt x="53699" y="18506"/>
                  </a:cubicBezTo>
                  <a:close/>
                  <a:moveTo>
                    <a:pt x="391693" y="3530"/>
                  </a:moveTo>
                  <a:lnTo>
                    <a:pt x="391693" y="43216"/>
                  </a:lnTo>
                  <a:lnTo>
                    <a:pt x="411054" y="43216"/>
                  </a:lnTo>
                  <a:lnTo>
                    <a:pt x="411054" y="58192"/>
                  </a:lnTo>
                  <a:lnTo>
                    <a:pt x="391693" y="58192"/>
                  </a:lnTo>
                  <a:lnTo>
                    <a:pt x="391693" y="124620"/>
                  </a:lnTo>
                  <a:cubicBezTo>
                    <a:pt x="391693" y="130111"/>
                    <a:pt x="392032" y="133641"/>
                    <a:pt x="392709" y="135210"/>
                  </a:cubicBezTo>
                  <a:cubicBezTo>
                    <a:pt x="393387" y="136779"/>
                    <a:pt x="394492" y="138027"/>
                    <a:pt x="396025" y="138954"/>
                  </a:cubicBezTo>
                  <a:cubicBezTo>
                    <a:pt x="397558" y="139881"/>
                    <a:pt x="399751" y="140345"/>
                    <a:pt x="402604" y="140345"/>
                  </a:cubicBezTo>
                  <a:cubicBezTo>
                    <a:pt x="404743" y="140345"/>
                    <a:pt x="407560" y="140095"/>
                    <a:pt x="411054" y="139596"/>
                  </a:cubicBezTo>
                  <a:lnTo>
                    <a:pt x="413836" y="156604"/>
                  </a:lnTo>
                  <a:cubicBezTo>
                    <a:pt x="408416" y="157745"/>
                    <a:pt x="403566" y="158316"/>
                    <a:pt x="399288" y="158316"/>
                  </a:cubicBezTo>
                  <a:cubicBezTo>
                    <a:pt x="392299" y="158316"/>
                    <a:pt x="386879" y="157210"/>
                    <a:pt x="383028" y="155000"/>
                  </a:cubicBezTo>
                  <a:cubicBezTo>
                    <a:pt x="379177" y="152789"/>
                    <a:pt x="376467" y="149883"/>
                    <a:pt x="374898" y="146282"/>
                  </a:cubicBezTo>
                  <a:cubicBezTo>
                    <a:pt x="373330" y="142680"/>
                    <a:pt x="372545" y="135103"/>
                    <a:pt x="372545" y="123551"/>
                  </a:cubicBezTo>
                  <a:lnTo>
                    <a:pt x="372545" y="58192"/>
                  </a:lnTo>
                  <a:lnTo>
                    <a:pt x="358425" y="58192"/>
                  </a:lnTo>
                  <a:lnTo>
                    <a:pt x="358425" y="43216"/>
                  </a:lnTo>
                  <a:lnTo>
                    <a:pt x="372545" y="43216"/>
                  </a:lnTo>
                  <a:lnTo>
                    <a:pt x="372545" y="15083"/>
                  </a:lnTo>
                  <a:close/>
                  <a:moveTo>
                    <a:pt x="549562" y="0"/>
                  </a:moveTo>
                  <a:lnTo>
                    <a:pt x="568817" y="0"/>
                  </a:lnTo>
                  <a:lnTo>
                    <a:pt x="568817" y="156818"/>
                  </a:lnTo>
                  <a:lnTo>
                    <a:pt x="549562" y="156818"/>
                  </a:lnTo>
                  <a:close/>
                  <a:moveTo>
                    <a:pt x="321497" y="0"/>
                  </a:moveTo>
                  <a:lnTo>
                    <a:pt x="340752" y="0"/>
                  </a:lnTo>
                  <a:lnTo>
                    <a:pt x="340752" y="22143"/>
                  </a:lnTo>
                  <a:lnTo>
                    <a:pt x="321497" y="22143"/>
                  </a:lnTo>
                  <a:close/>
                  <a:moveTo>
                    <a:pt x="159572" y="0"/>
                  </a:moveTo>
                  <a:lnTo>
                    <a:pt x="178827" y="0"/>
                  </a:lnTo>
                  <a:lnTo>
                    <a:pt x="178827" y="22143"/>
                  </a:lnTo>
                  <a:lnTo>
                    <a:pt x="159572" y="22143"/>
                  </a:lnTo>
                  <a:close/>
                  <a:moveTo>
                    <a:pt x="0" y="0"/>
                  </a:moveTo>
                  <a:lnTo>
                    <a:pt x="54020" y="0"/>
                  </a:lnTo>
                  <a:cubicBezTo>
                    <a:pt x="66215" y="0"/>
                    <a:pt x="75521" y="749"/>
                    <a:pt x="81940" y="2246"/>
                  </a:cubicBezTo>
                  <a:cubicBezTo>
                    <a:pt x="90925" y="4314"/>
                    <a:pt x="98591" y="8058"/>
                    <a:pt x="104938" y="13478"/>
                  </a:cubicBezTo>
                  <a:cubicBezTo>
                    <a:pt x="113211" y="20467"/>
                    <a:pt x="119397" y="29399"/>
                    <a:pt x="123498" y="40274"/>
                  </a:cubicBezTo>
                  <a:cubicBezTo>
                    <a:pt x="127598" y="51150"/>
                    <a:pt x="129648" y="63576"/>
                    <a:pt x="129648" y="77553"/>
                  </a:cubicBezTo>
                  <a:cubicBezTo>
                    <a:pt x="129648" y="89463"/>
                    <a:pt x="128258" y="100017"/>
                    <a:pt x="125476" y="109216"/>
                  </a:cubicBezTo>
                  <a:cubicBezTo>
                    <a:pt x="122695" y="118416"/>
                    <a:pt x="119130" y="126029"/>
                    <a:pt x="114779" y="132055"/>
                  </a:cubicBezTo>
                  <a:cubicBezTo>
                    <a:pt x="110429" y="138081"/>
                    <a:pt x="105669" y="142823"/>
                    <a:pt x="100499" y="146282"/>
                  </a:cubicBezTo>
                  <a:cubicBezTo>
                    <a:pt x="95329" y="149740"/>
                    <a:pt x="89089" y="152361"/>
                    <a:pt x="81779" y="154144"/>
                  </a:cubicBezTo>
                  <a:cubicBezTo>
                    <a:pt x="74470" y="155927"/>
                    <a:pt x="66072" y="156818"/>
                    <a:pt x="56588" y="156818"/>
                  </a:cubicBez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chemeClr val="tx1"/>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spTree>
    <p:extLst>
      <p:ext uri="{BB962C8B-B14F-4D97-AF65-F5344CB8AC3E}">
        <p14:creationId xmlns:p14="http://schemas.microsoft.com/office/powerpoint/2010/main" val="29427452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6607372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en-US" noProof="0"/>
              <a:t>Click to edit Master title style</a:t>
            </a:r>
            <a:endParaRPr lang="fr-FR" noProof="0" dirty="0"/>
          </a:p>
        </p:txBody>
      </p:sp>
    </p:spTree>
    <p:extLst>
      <p:ext uri="{BB962C8B-B14F-4D97-AF65-F5344CB8AC3E}">
        <p14:creationId xmlns:p14="http://schemas.microsoft.com/office/powerpoint/2010/main" val="25975805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116265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5" name="Group 4">
            <a:extLst>
              <a:ext uri="{FF2B5EF4-FFF2-40B4-BE49-F238E27FC236}">
                <a16:creationId xmlns:a16="http://schemas.microsoft.com/office/drawing/2014/main" id="{D6C99B71-443F-4A28-8612-FCBA7B686D7E}"/>
              </a:ext>
            </a:extLst>
          </p:cNvPr>
          <p:cNvGrpSpPr/>
          <p:nvPr userDrawn="1"/>
        </p:nvGrpSpPr>
        <p:grpSpPr>
          <a:xfrm>
            <a:off x="4131933" y="1394357"/>
            <a:ext cx="8060067" cy="5463644"/>
            <a:chOff x="4292415" y="939230"/>
            <a:chExt cx="7899496" cy="5354877"/>
          </a:xfrm>
        </p:grpSpPr>
        <p:pic>
          <p:nvPicPr>
            <p:cNvPr id="7" name="Picture 2" descr="http://www.gomediazine.com/wp-content/images/2009/04/movement_dramatic.jpg">
              <a:extLst>
                <a:ext uri="{FF2B5EF4-FFF2-40B4-BE49-F238E27FC236}">
                  <a16:creationId xmlns:a16="http://schemas.microsoft.com/office/drawing/2014/main" id="{ECF47C8E-1713-46FB-9C8D-EA00845E7CF6}"/>
                </a:ext>
              </a:extLst>
            </p:cNvPr>
            <p:cNvPicPr>
              <a:picLocks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292415" y="939230"/>
              <a:ext cx="7899496" cy="53548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F626A16-FB0F-4E5B-9136-0D1BC59B0F58}"/>
                </a:ext>
              </a:extLst>
            </p:cNvPr>
            <p:cNvSpPr>
              <a:spLocks/>
            </p:cNvSpPr>
            <p:nvPr/>
          </p:nvSpPr>
          <p:spPr>
            <a:xfrm>
              <a:off x="4292415" y="939230"/>
              <a:ext cx="7899496" cy="5354877"/>
            </a:xfrm>
            <a:prstGeom prst="rect">
              <a:avLst/>
            </a:prstGeom>
            <a:solidFill>
              <a:schemeClr val="bg1">
                <a:alpha val="7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49" dirty="0">
                <a:solidFill>
                  <a:schemeClr val="tx1"/>
                </a:solidFill>
              </a:endParaRPr>
            </a:p>
          </p:txBody>
        </p:sp>
      </p:gr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en-US" noProof="0"/>
              <a:t>Click to edit Master title style</a:t>
            </a:r>
            <a:endParaRPr lang="fr-FR" noProof="0" dirty="0"/>
          </a:p>
        </p:txBody>
      </p:sp>
      <p:sp>
        <p:nvSpPr>
          <p:cNvPr id="9" name="pg number">
            <a:extLst>
              <a:ext uri="{FF2B5EF4-FFF2-40B4-BE49-F238E27FC236}">
                <a16:creationId xmlns:a16="http://schemas.microsoft.com/office/drawing/2014/main" id="{749EB0A4-BC07-4BC1-88AD-30A9A7E9D227}"/>
              </a:ext>
            </a:extLst>
          </p:cNvPr>
          <p:cNvSpPr>
            <a:spLocks/>
          </p:cNvSpPr>
          <p:nvPr userDrawn="1"/>
        </p:nvSpPr>
        <p:spPr bwMode="gray">
          <a:xfrm>
            <a:off x="11639802" y="6544785"/>
            <a:ext cx="318940"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Tree>
    <p:extLst>
      <p:ext uri="{BB962C8B-B14F-4D97-AF65-F5344CB8AC3E}">
        <p14:creationId xmlns:p14="http://schemas.microsoft.com/office/powerpoint/2010/main" val="26394248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929F4-DA41-4C80-A1E7-863350266299}"/>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8DB89D43-82F9-4EC3-9D8A-17105D78E5A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304107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1E6363B1-EA19-4A70-8CF0-C16EA4E29589}"/>
              </a:ext>
            </a:extLst>
          </p:cNvPr>
          <p:cNvGraphicFramePr>
            <a:graphicFrameLocks noChangeAspect="1"/>
          </p:cNvGraphicFramePr>
          <p:nvPr userDrawn="1">
            <p:custDataLst>
              <p:tags r:id="rId1"/>
            </p:custDataLst>
            <p:extLst>
              <p:ext uri="{D42A27DB-BD31-4B8C-83A1-F6EECF244321}">
                <p14:modId xmlns:p14="http://schemas.microsoft.com/office/powerpoint/2010/main" val="3478985207"/>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7" name="Object 16" hidden="1">
                        <a:extLst>
                          <a:ext uri="{FF2B5EF4-FFF2-40B4-BE49-F238E27FC236}">
                            <a16:creationId xmlns:a16="http://schemas.microsoft.com/office/drawing/2014/main" id="{1E6363B1-EA19-4A70-8CF0-C16EA4E29589}"/>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50C24274-0E16-4288-B24C-5960E828A261}"/>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1" name="Group 10">
            <a:extLst>
              <a:ext uri="{FF2B5EF4-FFF2-40B4-BE49-F238E27FC236}">
                <a16:creationId xmlns:a16="http://schemas.microsoft.com/office/drawing/2014/main" id="{14A15C61-044D-4C7A-9662-986FD5A86E57}"/>
              </a:ext>
            </a:extLst>
          </p:cNvPr>
          <p:cNvGrpSpPr/>
          <p:nvPr userDrawn="1"/>
        </p:nvGrpSpPr>
        <p:grpSpPr>
          <a:xfrm>
            <a:off x="1" y="48"/>
            <a:ext cx="12219279" cy="6890285"/>
            <a:chOff x="0" y="47"/>
            <a:chExt cx="11975849" cy="6753117"/>
          </a:xfrm>
        </p:grpSpPr>
        <p:pic>
          <p:nvPicPr>
            <p:cNvPr id="12" name="Picture 11">
              <a:extLst>
                <a:ext uri="{FF2B5EF4-FFF2-40B4-BE49-F238E27FC236}">
                  <a16:creationId xmlns:a16="http://schemas.microsoft.com/office/drawing/2014/main" id="{4B89FA4C-7540-40CA-B1AC-D4EE9590A409}"/>
                </a:ext>
              </a:extLst>
            </p:cNvPr>
            <p:cNvPicPr>
              <a:picLocks noChangeAspect="1"/>
            </p:cNvPicPr>
            <p:nvPr/>
          </p:nvPicPr>
          <p:blipFill rotWithShape="1">
            <a:blip r:embed="rId6"/>
            <a:srcRect l="47622" r="20150"/>
            <a:stretch/>
          </p:blipFill>
          <p:spPr>
            <a:xfrm>
              <a:off x="0" y="3349"/>
              <a:ext cx="3015900" cy="6718076"/>
            </a:xfrm>
            <a:prstGeom prst="rect">
              <a:avLst/>
            </a:prstGeom>
          </p:spPr>
        </p:pic>
        <p:sp>
          <p:nvSpPr>
            <p:cNvPr id="13" name="Rectangle 12">
              <a:extLst>
                <a:ext uri="{FF2B5EF4-FFF2-40B4-BE49-F238E27FC236}">
                  <a16:creationId xmlns:a16="http://schemas.microsoft.com/office/drawing/2014/main" id="{B1FEEAB9-7B28-4C39-9A30-4AFF0B569D27}"/>
                </a:ext>
              </a:extLst>
            </p:cNvPr>
            <p:cNvSpPr>
              <a:spLocks/>
            </p:cNvSpPr>
            <p:nvPr/>
          </p:nvSpPr>
          <p:spPr>
            <a:xfrm>
              <a:off x="3014703" y="49"/>
              <a:ext cx="8961146" cy="672137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65" dirty="0">
                <a:solidFill>
                  <a:schemeClr val="tx1"/>
                </a:solidFill>
              </a:endParaRPr>
            </a:p>
          </p:txBody>
        </p:sp>
        <p:sp>
          <p:nvSpPr>
            <p:cNvPr id="14" name="Right Triangle 13">
              <a:extLst>
                <a:ext uri="{FF2B5EF4-FFF2-40B4-BE49-F238E27FC236}">
                  <a16:creationId xmlns:a16="http://schemas.microsoft.com/office/drawing/2014/main" id="{A4F4AA38-5864-4D4C-A896-8659BF1A6728}"/>
                </a:ext>
              </a:extLst>
            </p:cNvPr>
            <p:cNvSpPr/>
            <p:nvPr/>
          </p:nvSpPr>
          <p:spPr>
            <a:xfrm flipV="1">
              <a:off x="0" y="47"/>
              <a:ext cx="11733750" cy="1270956"/>
            </a:xfrm>
            <a:prstGeom prst="rtTriangle">
              <a:avLst/>
            </a:prstGeom>
            <a:solidFill>
              <a:schemeClr val="bg1">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65" dirty="0">
                <a:solidFill>
                  <a:schemeClr val="tx1"/>
                </a:solidFill>
              </a:endParaRPr>
            </a:p>
          </p:txBody>
        </p:sp>
        <p:sp>
          <p:nvSpPr>
            <p:cNvPr id="15" name="Right Triangle 14">
              <a:extLst>
                <a:ext uri="{FF2B5EF4-FFF2-40B4-BE49-F238E27FC236}">
                  <a16:creationId xmlns:a16="http://schemas.microsoft.com/office/drawing/2014/main" id="{C57C3FEF-133E-4F3F-96BC-249EE2ADEB5B}"/>
                </a:ext>
              </a:extLst>
            </p:cNvPr>
            <p:cNvSpPr/>
            <p:nvPr/>
          </p:nvSpPr>
          <p:spPr>
            <a:xfrm>
              <a:off x="0" y="5482208"/>
              <a:ext cx="11975849" cy="1270956"/>
            </a:xfrm>
            <a:prstGeom prst="rtTriangle">
              <a:avLst/>
            </a:prstGeom>
            <a:solidFill>
              <a:schemeClr val="bg1">
                <a:alpha val="1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65" dirty="0">
                <a:solidFill>
                  <a:schemeClr val="tx1"/>
                </a:solidFill>
              </a:endParaRPr>
            </a:p>
          </p:txBody>
        </p:sp>
      </p:grpSp>
      <p:sp>
        <p:nvSpPr>
          <p:cNvPr id="2" name="Title 1">
            <a:extLst>
              <a:ext uri="{FF2B5EF4-FFF2-40B4-BE49-F238E27FC236}">
                <a16:creationId xmlns:a16="http://schemas.microsoft.com/office/drawing/2014/main" id="{D4DA1EFB-DB0F-4FB0-B133-4263B14DA995}"/>
              </a:ext>
            </a:extLst>
          </p:cNvPr>
          <p:cNvSpPr>
            <a:spLocks noGrp="1"/>
          </p:cNvSpPr>
          <p:nvPr>
            <p:ph type="title"/>
          </p:nvPr>
        </p:nvSpPr>
        <p:spPr/>
        <p:txBody>
          <a:bodyPr/>
          <a:lstStyle/>
          <a:p>
            <a:r>
              <a:rPr lang="en-US"/>
              <a:t>Click to edit Master title style</a:t>
            </a:r>
            <a:endParaRPr lang="fr-FR"/>
          </a:p>
        </p:txBody>
      </p:sp>
      <p:pic>
        <p:nvPicPr>
          <p:cNvPr id="18" name="Picture 17">
            <a:extLst>
              <a:ext uri="{FF2B5EF4-FFF2-40B4-BE49-F238E27FC236}">
                <a16:creationId xmlns:a16="http://schemas.microsoft.com/office/drawing/2014/main" id="{1AA377B6-043A-4CB3-8CA6-DEA8CED64FA9}"/>
              </a:ext>
            </a:extLst>
          </p:cNvPr>
          <p:cNvPicPr>
            <a:picLocks noChangeAspect="1"/>
          </p:cNvPicPr>
          <p:nvPr userDrawn="1"/>
        </p:nvPicPr>
        <p:blipFill>
          <a:blip r:embed="rId7">
            <a:duotone>
              <a:schemeClr val="bg2">
                <a:shade val="45000"/>
                <a:satMod val="135000"/>
              </a:schemeClr>
              <a:prstClr val="white"/>
            </a:duotone>
          </a:blip>
          <a:stretch>
            <a:fillRect/>
          </a:stretch>
        </p:blipFill>
        <p:spPr bwMode="gray">
          <a:xfrm>
            <a:off x="11038433" y="293333"/>
            <a:ext cx="920308" cy="356243"/>
          </a:xfrm>
          <a:prstGeom prst="rect">
            <a:avLst/>
          </a:prstGeom>
        </p:spPr>
      </p:pic>
      <p:sp>
        <p:nvSpPr>
          <p:cNvPr id="19" name="Rectangle 18">
            <a:extLst>
              <a:ext uri="{FF2B5EF4-FFF2-40B4-BE49-F238E27FC236}">
                <a16:creationId xmlns:a16="http://schemas.microsoft.com/office/drawing/2014/main" id="{FE12F121-46E5-429C-9F00-DD5D51EA5894}"/>
              </a:ext>
            </a:extLst>
          </p:cNvPr>
          <p:cNvSpPr>
            <a:spLocks/>
          </p:cNvSpPr>
          <p:nvPr userDrawn="1"/>
        </p:nvSpPr>
        <p:spPr>
          <a:xfrm>
            <a:off x="3042817" y="974072"/>
            <a:ext cx="90580" cy="496690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665" dirty="0">
              <a:solidFill>
                <a:schemeClr val="tx1"/>
              </a:solidFill>
            </a:endParaRPr>
          </a:p>
        </p:txBody>
      </p:sp>
    </p:spTree>
    <p:extLst>
      <p:ext uri="{BB962C8B-B14F-4D97-AF65-F5344CB8AC3E}">
        <p14:creationId xmlns:p14="http://schemas.microsoft.com/office/powerpoint/2010/main" val="1718449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45341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en-US" noProof="0"/>
              <a:t>Click to edit Master title style</a:t>
            </a:r>
            <a:endParaRPr lang="fr-FR" noProof="0" dirty="0"/>
          </a:p>
        </p:txBody>
      </p:sp>
    </p:spTree>
    <p:extLst>
      <p:ext uri="{BB962C8B-B14F-4D97-AF65-F5344CB8AC3E}">
        <p14:creationId xmlns:p14="http://schemas.microsoft.com/office/powerpoint/2010/main" val="2076213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2"/>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5" name="Group 4">
            <a:extLst>
              <a:ext uri="{FF2B5EF4-FFF2-40B4-BE49-F238E27FC236}">
                <a16:creationId xmlns:a16="http://schemas.microsoft.com/office/drawing/2014/main" id="{D6C99B71-443F-4A28-8612-FCBA7B686D7E}"/>
              </a:ext>
            </a:extLst>
          </p:cNvPr>
          <p:cNvGrpSpPr/>
          <p:nvPr userDrawn="1"/>
        </p:nvGrpSpPr>
        <p:grpSpPr>
          <a:xfrm>
            <a:off x="4131933" y="1394357"/>
            <a:ext cx="8060067" cy="5463644"/>
            <a:chOff x="4292415" y="939230"/>
            <a:chExt cx="7899496" cy="5354877"/>
          </a:xfrm>
        </p:grpSpPr>
        <p:pic>
          <p:nvPicPr>
            <p:cNvPr id="7" name="Picture 2" descr="http://www.gomediazine.com/wp-content/images/2009/04/movement_dramatic.jpg">
              <a:extLst>
                <a:ext uri="{FF2B5EF4-FFF2-40B4-BE49-F238E27FC236}">
                  <a16:creationId xmlns:a16="http://schemas.microsoft.com/office/drawing/2014/main" id="{ECF47C8E-1713-46FB-9C8D-EA00845E7CF6}"/>
                </a:ext>
              </a:extLst>
            </p:cNvPr>
            <p:cNvPicPr>
              <a:picLocks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292415" y="939230"/>
              <a:ext cx="7899496" cy="53548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F626A16-FB0F-4E5B-9136-0D1BC59B0F58}"/>
                </a:ext>
              </a:extLst>
            </p:cNvPr>
            <p:cNvSpPr>
              <a:spLocks/>
            </p:cNvSpPr>
            <p:nvPr/>
          </p:nvSpPr>
          <p:spPr>
            <a:xfrm>
              <a:off x="4292415" y="939230"/>
              <a:ext cx="7899496" cy="5354877"/>
            </a:xfrm>
            <a:prstGeom prst="rect">
              <a:avLst/>
            </a:prstGeom>
            <a:solidFill>
              <a:schemeClr val="bg1">
                <a:alpha val="7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49" dirty="0">
                <a:solidFill>
                  <a:schemeClr val="tx1"/>
                </a:solidFill>
              </a:endParaRPr>
            </a:p>
          </p:txBody>
        </p:sp>
      </p:gr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en-US" noProof="0"/>
              <a:t>Click to edit Master title style</a:t>
            </a:r>
            <a:endParaRPr lang="fr-FR" noProof="0" dirty="0"/>
          </a:p>
        </p:txBody>
      </p:sp>
      <p:sp>
        <p:nvSpPr>
          <p:cNvPr id="9" name="pg number">
            <a:extLst>
              <a:ext uri="{FF2B5EF4-FFF2-40B4-BE49-F238E27FC236}">
                <a16:creationId xmlns:a16="http://schemas.microsoft.com/office/drawing/2014/main" id="{749EB0A4-BC07-4BC1-88AD-30A9A7E9D227}"/>
              </a:ext>
            </a:extLst>
          </p:cNvPr>
          <p:cNvSpPr>
            <a:spLocks/>
          </p:cNvSpPr>
          <p:nvPr userDrawn="1"/>
        </p:nvSpPr>
        <p:spPr bwMode="gray">
          <a:xfrm>
            <a:off x="11639802" y="6544785"/>
            <a:ext cx="318940"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Tree>
    <p:extLst>
      <p:ext uri="{BB962C8B-B14F-4D97-AF65-F5344CB8AC3E}">
        <p14:creationId xmlns:p14="http://schemas.microsoft.com/office/powerpoint/2010/main" val="1027614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929F4-DA41-4C80-A1E7-863350266299}"/>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8DB89D43-82F9-4EC3-9D8A-17105D78E5A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8486412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A1EFB-DB0F-4FB0-B133-4263B14DA995}"/>
              </a:ext>
            </a:extLst>
          </p:cNvPr>
          <p:cNvSpPr>
            <a:spLocks noGrp="1"/>
          </p:cNvSpPr>
          <p:nvPr>
            <p:ph type="title"/>
          </p:nvPr>
        </p:nvSpPr>
        <p:spPr/>
        <p:txBody>
          <a:bodyPr/>
          <a:lstStyle/>
          <a:p>
            <a:r>
              <a:rPr lang="en-US"/>
              <a:t>Click to edit Master title style</a:t>
            </a:r>
            <a:endParaRPr lang="fr-FR"/>
          </a:p>
        </p:txBody>
      </p:sp>
      <p:sp>
        <p:nvSpPr>
          <p:cNvPr id="3" name="object 19">
            <a:extLst>
              <a:ext uri="{FF2B5EF4-FFF2-40B4-BE49-F238E27FC236}">
                <a16:creationId xmlns:a16="http://schemas.microsoft.com/office/drawing/2014/main" id="{74258CA4-E8C5-4951-A14A-3F0067E38720}"/>
              </a:ext>
            </a:extLst>
          </p:cNvPr>
          <p:cNvSpPr/>
          <p:nvPr userDrawn="1"/>
        </p:nvSpPr>
        <p:spPr>
          <a:xfrm>
            <a:off x="3520989" y="6160214"/>
            <a:ext cx="8262764" cy="0"/>
          </a:xfrm>
          <a:custGeom>
            <a:avLst/>
            <a:gdLst/>
            <a:ahLst/>
            <a:cxnLst/>
            <a:rect l="l" t="t" r="r" b="b"/>
            <a:pathLst>
              <a:path w="8098155">
                <a:moveTo>
                  <a:pt x="0" y="0"/>
                </a:moveTo>
                <a:lnTo>
                  <a:pt x="8097647" y="0"/>
                </a:lnTo>
              </a:path>
            </a:pathLst>
          </a:custGeom>
          <a:ln w="9144">
            <a:solidFill>
              <a:srgbClr val="808080"/>
            </a:solidFill>
            <a:prstDash val="sysDot"/>
          </a:ln>
        </p:spPr>
        <p:txBody>
          <a:bodyPr wrap="square" lIns="0" tIns="0" rIns="0" bIns="0" rtlCol="0"/>
          <a:lstStyle/>
          <a:p>
            <a:endParaRPr sz="1837"/>
          </a:p>
        </p:txBody>
      </p:sp>
      <p:sp>
        <p:nvSpPr>
          <p:cNvPr id="4" name="object 28">
            <a:extLst>
              <a:ext uri="{FF2B5EF4-FFF2-40B4-BE49-F238E27FC236}">
                <a16:creationId xmlns:a16="http://schemas.microsoft.com/office/drawing/2014/main" id="{6CF25D1F-39DE-4FAB-97BB-CC16232CD08A}"/>
              </a:ext>
            </a:extLst>
          </p:cNvPr>
          <p:cNvSpPr/>
          <p:nvPr userDrawn="1"/>
        </p:nvSpPr>
        <p:spPr>
          <a:xfrm>
            <a:off x="2736760" y="1242900"/>
            <a:ext cx="9151046" cy="0"/>
          </a:xfrm>
          <a:custGeom>
            <a:avLst/>
            <a:gdLst/>
            <a:ahLst/>
            <a:cxnLst/>
            <a:rect l="l" t="t" r="r" b="b"/>
            <a:pathLst>
              <a:path w="8968740">
                <a:moveTo>
                  <a:pt x="0" y="0"/>
                </a:moveTo>
                <a:lnTo>
                  <a:pt x="8968486" y="0"/>
                </a:lnTo>
              </a:path>
            </a:pathLst>
          </a:custGeom>
          <a:ln w="9144">
            <a:solidFill>
              <a:srgbClr val="00295F"/>
            </a:solidFill>
          </a:ln>
        </p:spPr>
        <p:txBody>
          <a:bodyPr wrap="square" lIns="0" tIns="0" rIns="0" bIns="0" rtlCol="0"/>
          <a:lstStyle/>
          <a:p>
            <a:endParaRPr sz="1837"/>
          </a:p>
        </p:txBody>
      </p:sp>
      <p:sp>
        <p:nvSpPr>
          <p:cNvPr id="5" name="object 2">
            <a:extLst>
              <a:ext uri="{FF2B5EF4-FFF2-40B4-BE49-F238E27FC236}">
                <a16:creationId xmlns:a16="http://schemas.microsoft.com/office/drawing/2014/main" id="{67D3EF86-C1C4-46BD-B812-01EF9E3BD385}"/>
              </a:ext>
            </a:extLst>
          </p:cNvPr>
          <p:cNvSpPr/>
          <p:nvPr userDrawn="1"/>
        </p:nvSpPr>
        <p:spPr>
          <a:xfrm>
            <a:off x="0" y="1246182"/>
            <a:ext cx="3551570" cy="4926988"/>
          </a:xfrm>
          <a:prstGeom prst="rect">
            <a:avLst/>
          </a:prstGeom>
          <a:blipFill>
            <a:blip r:embed="rId3" cstate="print"/>
            <a:stretch>
              <a:fillRect/>
            </a:stretch>
          </a:blipFill>
        </p:spPr>
        <p:txBody>
          <a:bodyPr wrap="square" lIns="0" tIns="0" rIns="0" bIns="0" rtlCol="0"/>
          <a:lstStyle/>
          <a:p>
            <a:endParaRPr sz="1837"/>
          </a:p>
        </p:txBody>
      </p:sp>
      <p:sp>
        <p:nvSpPr>
          <p:cNvPr id="6" name="object 3">
            <a:extLst>
              <a:ext uri="{FF2B5EF4-FFF2-40B4-BE49-F238E27FC236}">
                <a16:creationId xmlns:a16="http://schemas.microsoft.com/office/drawing/2014/main" id="{FA89EAB2-587D-4E6C-A550-E90FD4D55EDB}"/>
              </a:ext>
            </a:extLst>
          </p:cNvPr>
          <p:cNvSpPr/>
          <p:nvPr userDrawn="1"/>
        </p:nvSpPr>
        <p:spPr>
          <a:xfrm>
            <a:off x="0" y="1237502"/>
            <a:ext cx="3551829" cy="4926988"/>
          </a:xfrm>
          <a:custGeom>
            <a:avLst/>
            <a:gdLst/>
            <a:ahLst/>
            <a:cxnLst/>
            <a:rect l="l" t="t" r="r" b="b"/>
            <a:pathLst>
              <a:path w="3481070" h="4544695">
                <a:moveTo>
                  <a:pt x="0" y="4544568"/>
                </a:moveTo>
                <a:lnTo>
                  <a:pt x="3480816" y="4544568"/>
                </a:lnTo>
                <a:lnTo>
                  <a:pt x="3480816" y="0"/>
                </a:lnTo>
                <a:lnTo>
                  <a:pt x="0" y="0"/>
                </a:lnTo>
                <a:lnTo>
                  <a:pt x="0" y="4544568"/>
                </a:lnTo>
                <a:close/>
              </a:path>
            </a:pathLst>
          </a:custGeom>
          <a:solidFill>
            <a:schemeClr val="accent3">
              <a:alpha val="78038"/>
            </a:schemeClr>
          </a:solidFill>
        </p:spPr>
        <p:txBody>
          <a:bodyPr wrap="square" lIns="0" tIns="0" rIns="0" bIns="0" rtlCol="0"/>
          <a:lstStyle/>
          <a:p>
            <a:endParaRPr sz="1837"/>
          </a:p>
        </p:txBody>
      </p:sp>
      <p:sp>
        <p:nvSpPr>
          <p:cNvPr id="7" name="object 21">
            <a:extLst>
              <a:ext uri="{FF2B5EF4-FFF2-40B4-BE49-F238E27FC236}">
                <a16:creationId xmlns:a16="http://schemas.microsoft.com/office/drawing/2014/main" id="{3F99C35A-5304-4075-A4EF-D57758E2C130}"/>
              </a:ext>
            </a:extLst>
          </p:cNvPr>
          <p:cNvSpPr/>
          <p:nvPr userDrawn="1"/>
        </p:nvSpPr>
        <p:spPr>
          <a:xfrm>
            <a:off x="0" y="1237502"/>
            <a:ext cx="3551829" cy="1191625"/>
          </a:xfrm>
          <a:custGeom>
            <a:avLst/>
            <a:gdLst/>
            <a:ahLst/>
            <a:cxnLst/>
            <a:rect l="l" t="t" r="r" b="b"/>
            <a:pathLst>
              <a:path w="3481070" h="1211580">
                <a:moveTo>
                  <a:pt x="0" y="1211579"/>
                </a:moveTo>
                <a:lnTo>
                  <a:pt x="3480816" y="1211579"/>
                </a:lnTo>
                <a:lnTo>
                  <a:pt x="3480816" y="0"/>
                </a:lnTo>
                <a:lnTo>
                  <a:pt x="0" y="0"/>
                </a:lnTo>
                <a:lnTo>
                  <a:pt x="0" y="1211579"/>
                </a:lnTo>
                <a:close/>
              </a:path>
            </a:pathLst>
          </a:custGeom>
          <a:solidFill>
            <a:schemeClr val="accent6">
              <a:alpha val="78038"/>
            </a:schemeClr>
          </a:solidFill>
        </p:spPr>
        <p:txBody>
          <a:bodyPr wrap="square" lIns="0" tIns="0" rIns="0" bIns="0" rtlCol="0"/>
          <a:lstStyle/>
          <a:p>
            <a:endParaRPr sz="1837"/>
          </a:p>
        </p:txBody>
      </p:sp>
      <p:sp>
        <p:nvSpPr>
          <p:cNvPr id="8" name="object 6">
            <a:extLst>
              <a:ext uri="{FF2B5EF4-FFF2-40B4-BE49-F238E27FC236}">
                <a16:creationId xmlns:a16="http://schemas.microsoft.com/office/drawing/2014/main" id="{425C6111-0348-4BDF-B316-C08AF5621F26}"/>
              </a:ext>
            </a:extLst>
          </p:cNvPr>
          <p:cNvSpPr/>
          <p:nvPr userDrawn="1"/>
        </p:nvSpPr>
        <p:spPr>
          <a:xfrm>
            <a:off x="1268862" y="5483930"/>
            <a:ext cx="1013975" cy="631053"/>
          </a:xfrm>
          <a:custGeom>
            <a:avLst/>
            <a:gdLst/>
            <a:ahLst/>
            <a:cxnLst/>
            <a:rect l="l" t="t" r="r" b="b"/>
            <a:pathLst>
              <a:path w="993775" h="618489">
                <a:moveTo>
                  <a:pt x="98526" y="349250"/>
                </a:moveTo>
                <a:lnTo>
                  <a:pt x="79895" y="349250"/>
                </a:lnTo>
                <a:lnTo>
                  <a:pt x="48782" y="355600"/>
                </a:lnTo>
                <a:lnTo>
                  <a:pt x="23388" y="373380"/>
                </a:lnTo>
                <a:lnTo>
                  <a:pt x="6273" y="398780"/>
                </a:lnTo>
                <a:lnTo>
                  <a:pt x="0" y="429260"/>
                </a:lnTo>
                <a:lnTo>
                  <a:pt x="0" y="538480"/>
                </a:lnTo>
                <a:lnTo>
                  <a:pt x="166420" y="538480"/>
                </a:lnTo>
                <a:lnTo>
                  <a:pt x="159524" y="549910"/>
                </a:lnTo>
                <a:lnTo>
                  <a:pt x="155956" y="556260"/>
                </a:lnTo>
                <a:lnTo>
                  <a:pt x="152628" y="561340"/>
                </a:lnTo>
                <a:lnTo>
                  <a:pt x="152628" y="618490"/>
                </a:lnTo>
                <a:lnTo>
                  <a:pt x="841019" y="618490"/>
                </a:lnTo>
                <a:lnTo>
                  <a:pt x="841019" y="561340"/>
                </a:lnTo>
                <a:lnTo>
                  <a:pt x="179438" y="561340"/>
                </a:lnTo>
                <a:lnTo>
                  <a:pt x="186321" y="549910"/>
                </a:lnTo>
                <a:lnTo>
                  <a:pt x="189649" y="544830"/>
                </a:lnTo>
                <a:lnTo>
                  <a:pt x="201129" y="525780"/>
                </a:lnTo>
                <a:lnTo>
                  <a:pt x="204698" y="520700"/>
                </a:lnTo>
                <a:lnTo>
                  <a:pt x="205469" y="519430"/>
                </a:lnTo>
                <a:lnTo>
                  <a:pt x="178155" y="519430"/>
                </a:lnTo>
                <a:lnTo>
                  <a:pt x="178155" y="429260"/>
                </a:lnTo>
                <a:lnTo>
                  <a:pt x="159955" y="378460"/>
                </a:lnTo>
                <a:lnTo>
                  <a:pt x="135534" y="359410"/>
                </a:lnTo>
                <a:lnTo>
                  <a:pt x="131953" y="356870"/>
                </a:lnTo>
                <a:lnTo>
                  <a:pt x="128130" y="355600"/>
                </a:lnTo>
                <a:lnTo>
                  <a:pt x="124040" y="354330"/>
                </a:lnTo>
                <a:lnTo>
                  <a:pt x="117971" y="351790"/>
                </a:lnTo>
                <a:lnTo>
                  <a:pt x="111664" y="350520"/>
                </a:lnTo>
                <a:lnTo>
                  <a:pt x="105167" y="350520"/>
                </a:lnTo>
                <a:lnTo>
                  <a:pt x="98526" y="349250"/>
                </a:lnTo>
                <a:close/>
              </a:path>
              <a:path w="993775" h="618489">
                <a:moveTo>
                  <a:pt x="669209" y="278130"/>
                </a:moveTo>
                <a:lnTo>
                  <a:pt x="642442" y="278130"/>
                </a:lnTo>
                <a:lnTo>
                  <a:pt x="668477" y="321310"/>
                </a:lnTo>
                <a:lnTo>
                  <a:pt x="707263" y="386080"/>
                </a:lnTo>
                <a:lnTo>
                  <a:pt x="788949" y="520700"/>
                </a:lnTo>
                <a:lnTo>
                  <a:pt x="792518" y="525780"/>
                </a:lnTo>
                <a:lnTo>
                  <a:pt x="803998" y="544830"/>
                </a:lnTo>
                <a:lnTo>
                  <a:pt x="807326" y="549910"/>
                </a:lnTo>
                <a:lnTo>
                  <a:pt x="814209" y="561340"/>
                </a:lnTo>
                <a:lnTo>
                  <a:pt x="841019" y="561340"/>
                </a:lnTo>
                <a:lnTo>
                  <a:pt x="834377" y="549910"/>
                </a:lnTo>
                <a:lnTo>
                  <a:pt x="827227" y="538480"/>
                </a:lnTo>
                <a:lnTo>
                  <a:pt x="993647" y="538480"/>
                </a:lnTo>
                <a:lnTo>
                  <a:pt x="993647" y="519430"/>
                </a:lnTo>
                <a:lnTo>
                  <a:pt x="815492" y="519430"/>
                </a:lnTo>
                <a:lnTo>
                  <a:pt x="792518" y="481330"/>
                </a:lnTo>
                <a:lnTo>
                  <a:pt x="792518" y="429260"/>
                </a:lnTo>
                <a:lnTo>
                  <a:pt x="796449" y="401320"/>
                </a:lnTo>
                <a:lnTo>
                  <a:pt x="807512" y="375920"/>
                </a:lnTo>
                <a:lnTo>
                  <a:pt x="824606" y="355600"/>
                </a:lnTo>
                <a:lnTo>
                  <a:pt x="846632" y="339090"/>
                </a:lnTo>
                <a:lnTo>
                  <a:pt x="846632" y="332740"/>
                </a:lnTo>
                <a:lnTo>
                  <a:pt x="836262" y="321310"/>
                </a:lnTo>
                <a:lnTo>
                  <a:pt x="828379" y="307340"/>
                </a:lnTo>
                <a:lnTo>
                  <a:pt x="823369" y="290830"/>
                </a:lnTo>
                <a:lnTo>
                  <a:pt x="822153" y="279400"/>
                </a:lnTo>
                <a:lnTo>
                  <a:pt x="670001" y="279400"/>
                </a:lnTo>
                <a:lnTo>
                  <a:pt x="669209" y="278130"/>
                </a:lnTo>
                <a:close/>
              </a:path>
              <a:path w="993775" h="618489">
                <a:moveTo>
                  <a:pt x="245541" y="215900"/>
                </a:moveTo>
                <a:lnTo>
                  <a:pt x="226910" y="215900"/>
                </a:lnTo>
                <a:lnTo>
                  <a:pt x="209236" y="218440"/>
                </a:lnTo>
                <a:lnTo>
                  <a:pt x="192900" y="223520"/>
                </a:lnTo>
                <a:lnTo>
                  <a:pt x="178383" y="232410"/>
                </a:lnTo>
                <a:lnTo>
                  <a:pt x="166166" y="243840"/>
                </a:lnTo>
                <a:lnTo>
                  <a:pt x="168696" y="251460"/>
                </a:lnTo>
                <a:lnTo>
                  <a:pt x="170534" y="259080"/>
                </a:lnTo>
                <a:lnTo>
                  <a:pt x="171654" y="266700"/>
                </a:lnTo>
                <a:lnTo>
                  <a:pt x="172034" y="274320"/>
                </a:lnTo>
                <a:lnTo>
                  <a:pt x="170282" y="290830"/>
                </a:lnTo>
                <a:lnTo>
                  <a:pt x="165300" y="307340"/>
                </a:lnTo>
                <a:lnTo>
                  <a:pt x="157493" y="321310"/>
                </a:lnTo>
                <a:lnTo>
                  <a:pt x="147269" y="332740"/>
                </a:lnTo>
                <a:lnTo>
                  <a:pt x="147269" y="339090"/>
                </a:lnTo>
                <a:lnTo>
                  <a:pt x="169149" y="355600"/>
                </a:lnTo>
                <a:lnTo>
                  <a:pt x="186167" y="375920"/>
                </a:lnTo>
                <a:lnTo>
                  <a:pt x="197202" y="401320"/>
                </a:lnTo>
                <a:lnTo>
                  <a:pt x="201129" y="429260"/>
                </a:lnTo>
                <a:lnTo>
                  <a:pt x="201129" y="481330"/>
                </a:lnTo>
                <a:lnTo>
                  <a:pt x="178155" y="519430"/>
                </a:lnTo>
                <a:lnTo>
                  <a:pt x="205469" y="519430"/>
                </a:lnTo>
                <a:lnTo>
                  <a:pt x="286384" y="386080"/>
                </a:lnTo>
                <a:lnTo>
                  <a:pt x="325170" y="321310"/>
                </a:lnTo>
                <a:lnTo>
                  <a:pt x="336664" y="302260"/>
                </a:lnTo>
                <a:lnTo>
                  <a:pt x="347637" y="284480"/>
                </a:lnTo>
                <a:lnTo>
                  <a:pt x="350492" y="279400"/>
                </a:lnTo>
                <a:lnTo>
                  <a:pt x="323646" y="279400"/>
                </a:lnTo>
                <a:lnTo>
                  <a:pt x="313739" y="254000"/>
                </a:lnTo>
                <a:lnTo>
                  <a:pt x="296271" y="233680"/>
                </a:lnTo>
                <a:lnTo>
                  <a:pt x="272965" y="220980"/>
                </a:lnTo>
                <a:lnTo>
                  <a:pt x="245541" y="215900"/>
                </a:lnTo>
                <a:close/>
              </a:path>
              <a:path w="993775" h="618489">
                <a:moveTo>
                  <a:pt x="913752" y="349250"/>
                </a:moveTo>
                <a:lnTo>
                  <a:pt x="895375" y="349250"/>
                </a:lnTo>
                <a:lnTo>
                  <a:pt x="888623" y="350520"/>
                </a:lnTo>
                <a:lnTo>
                  <a:pt x="882110" y="350520"/>
                </a:lnTo>
                <a:lnTo>
                  <a:pt x="875787" y="351790"/>
                </a:lnTo>
                <a:lnTo>
                  <a:pt x="869607" y="354330"/>
                </a:lnTo>
                <a:lnTo>
                  <a:pt x="865517" y="355600"/>
                </a:lnTo>
                <a:lnTo>
                  <a:pt x="861694" y="356870"/>
                </a:lnTo>
                <a:lnTo>
                  <a:pt x="858113" y="359410"/>
                </a:lnTo>
                <a:lnTo>
                  <a:pt x="854036" y="361950"/>
                </a:lnTo>
                <a:lnTo>
                  <a:pt x="823980" y="393700"/>
                </a:lnTo>
                <a:lnTo>
                  <a:pt x="815492" y="429260"/>
                </a:lnTo>
                <a:lnTo>
                  <a:pt x="815492" y="519430"/>
                </a:lnTo>
                <a:lnTo>
                  <a:pt x="993647" y="519430"/>
                </a:lnTo>
                <a:lnTo>
                  <a:pt x="993647" y="429260"/>
                </a:lnTo>
                <a:lnTo>
                  <a:pt x="987374" y="398780"/>
                </a:lnTo>
                <a:lnTo>
                  <a:pt x="970259" y="373380"/>
                </a:lnTo>
                <a:lnTo>
                  <a:pt x="944865" y="355600"/>
                </a:lnTo>
                <a:lnTo>
                  <a:pt x="913752" y="349250"/>
                </a:lnTo>
                <a:close/>
              </a:path>
              <a:path w="993775" h="618489">
                <a:moveTo>
                  <a:pt x="89077" y="214630"/>
                </a:moveTo>
                <a:lnTo>
                  <a:pt x="65852" y="219710"/>
                </a:lnTo>
                <a:lnTo>
                  <a:pt x="46864" y="232410"/>
                </a:lnTo>
                <a:lnTo>
                  <a:pt x="34051" y="251460"/>
                </a:lnTo>
                <a:lnTo>
                  <a:pt x="29349" y="274320"/>
                </a:lnTo>
                <a:lnTo>
                  <a:pt x="34051" y="297180"/>
                </a:lnTo>
                <a:lnTo>
                  <a:pt x="46864" y="316230"/>
                </a:lnTo>
                <a:lnTo>
                  <a:pt x="65852" y="328930"/>
                </a:lnTo>
                <a:lnTo>
                  <a:pt x="89077" y="334010"/>
                </a:lnTo>
                <a:lnTo>
                  <a:pt x="98669" y="334010"/>
                </a:lnTo>
                <a:lnTo>
                  <a:pt x="107807" y="331470"/>
                </a:lnTo>
                <a:lnTo>
                  <a:pt x="116320" y="327660"/>
                </a:lnTo>
                <a:lnTo>
                  <a:pt x="124040" y="322580"/>
                </a:lnTo>
                <a:lnTo>
                  <a:pt x="128384" y="320040"/>
                </a:lnTo>
                <a:lnTo>
                  <a:pt x="147789" y="287020"/>
                </a:lnTo>
                <a:lnTo>
                  <a:pt x="148297" y="281940"/>
                </a:lnTo>
                <a:lnTo>
                  <a:pt x="148551" y="280670"/>
                </a:lnTo>
                <a:lnTo>
                  <a:pt x="148805" y="278130"/>
                </a:lnTo>
                <a:lnTo>
                  <a:pt x="149059" y="276860"/>
                </a:lnTo>
                <a:lnTo>
                  <a:pt x="149059" y="267970"/>
                </a:lnTo>
                <a:lnTo>
                  <a:pt x="147789" y="260350"/>
                </a:lnTo>
                <a:lnTo>
                  <a:pt x="145491" y="254000"/>
                </a:lnTo>
                <a:lnTo>
                  <a:pt x="143954" y="250190"/>
                </a:lnTo>
                <a:lnTo>
                  <a:pt x="141909" y="246380"/>
                </a:lnTo>
                <a:lnTo>
                  <a:pt x="139357" y="241300"/>
                </a:lnTo>
                <a:lnTo>
                  <a:pt x="129957" y="231140"/>
                </a:lnTo>
                <a:lnTo>
                  <a:pt x="118141" y="222250"/>
                </a:lnTo>
                <a:lnTo>
                  <a:pt x="104363" y="215900"/>
                </a:lnTo>
                <a:lnTo>
                  <a:pt x="89077" y="214630"/>
                </a:lnTo>
                <a:close/>
              </a:path>
              <a:path w="993775" h="618489">
                <a:moveTo>
                  <a:pt x="904570" y="214630"/>
                </a:moveTo>
                <a:lnTo>
                  <a:pt x="863690" y="231140"/>
                </a:lnTo>
                <a:lnTo>
                  <a:pt x="851738" y="246380"/>
                </a:lnTo>
                <a:lnTo>
                  <a:pt x="849693" y="250190"/>
                </a:lnTo>
                <a:lnTo>
                  <a:pt x="848156" y="254000"/>
                </a:lnTo>
                <a:lnTo>
                  <a:pt x="846124" y="260350"/>
                </a:lnTo>
                <a:lnTo>
                  <a:pt x="844842" y="267970"/>
                </a:lnTo>
                <a:lnTo>
                  <a:pt x="844842" y="278130"/>
                </a:lnTo>
                <a:lnTo>
                  <a:pt x="845096" y="280670"/>
                </a:lnTo>
                <a:lnTo>
                  <a:pt x="845350" y="281940"/>
                </a:lnTo>
                <a:lnTo>
                  <a:pt x="845604" y="284480"/>
                </a:lnTo>
                <a:lnTo>
                  <a:pt x="865263" y="320040"/>
                </a:lnTo>
                <a:lnTo>
                  <a:pt x="869607" y="322580"/>
                </a:lnTo>
                <a:lnTo>
                  <a:pt x="877434" y="327660"/>
                </a:lnTo>
                <a:lnTo>
                  <a:pt x="885936" y="331470"/>
                </a:lnTo>
                <a:lnTo>
                  <a:pt x="895013" y="334010"/>
                </a:lnTo>
                <a:lnTo>
                  <a:pt x="904570" y="334010"/>
                </a:lnTo>
                <a:lnTo>
                  <a:pt x="927902" y="328930"/>
                </a:lnTo>
                <a:lnTo>
                  <a:pt x="946878" y="316230"/>
                </a:lnTo>
                <a:lnTo>
                  <a:pt x="959632" y="297180"/>
                </a:lnTo>
                <a:lnTo>
                  <a:pt x="964298" y="274320"/>
                </a:lnTo>
                <a:lnTo>
                  <a:pt x="959632" y="251460"/>
                </a:lnTo>
                <a:lnTo>
                  <a:pt x="946878" y="232410"/>
                </a:lnTo>
                <a:lnTo>
                  <a:pt x="927902" y="219710"/>
                </a:lnTo>
                <a:lnTo>
                  <a:pt x="904570" y="214630"/>
                </a:lnTo>
                <a:close/>
              </a:path>
              <a:path w="993775" h="618489">
                <a:moveTo>
                  <a:pt x="662089" y="266700"/>
                </a:moveTo>
                <a:lnTo>
                  <a:pt x="331558" y="266700"/>
                </a:lnTo>
                <a:lnTo>
                  <a:pt x="323646" y="279400"/>
                </a:lnTo>
                <a:lnTo>
                  <a:pt x="350492" y="279400"/>
                </a:lnTo>
                <a:lnTo>
                  <a:pt x="351205" y="278130"/>
                </a:lnTo>
                <a:lnTo>
                  <a:pt x="669209" y="278130"/>
                </a:lnTo>
                <a:lnTo>
                  <a:pt x="662089" y="266700"/>
                </a:lnTo>
                <a:close/>
              </a:path>
              <a:path w="993775" h="618489">
                <a:moveTo>
                  <a:pt x="766737" y="215900"/>
                </a:moveTo>
                <a:lnTo>
                  <a:pt x="748360" y="215900"/>
                </a:lnTo>
                <a:lnTo>
                  <a:pt x="720789" y="220980"/>
                </a:lnTo>
                <a:lnTo>
                  <a:pt x="697407" y="233680"/>
                </a:lnTo>
                <a:lnTo>
                  <a:pt x="679912" y="254000"/>
                </a:lnTo>
                <a:lnTo>
                  <a:pt x="670001" y="279400"/>
                </a:lnTo>
                <a:lnTo>
                  <a:pt x="822153" y="279400"/>
                </a:lnTo>
                <a:lnTo>
                  <a:pt x="821613" y="274320"/>
                </a:lnTo>
                <a:lnTo>
                  <a:pt x="822028" y="266700"/>
                </a:lnTo>
                <a:lnTo>
                  <a:pt x="823209" y="259080"/>
                </a:lnTo>
                <a:lnTo>
                  <a:pt x="825058" y="251460"/>
                </a:lnTo>
                <a:lnTo>
                  <a:pt x="827481" y="243840"/>
                </a:lnTo>
                <a:lnTo>
                  <a:pt x="815302" y="232410"/>
                </a:lnTo>
                <a:lnTo>
                  <a:pt x="800847" y="223520"/>
                </a:lnTo>
                <a:lnTo>
                  <a:pt x="784524" y="218440"/>
                </a:lnTo>
                <a:lnTo>
                  <a:pt x="766737" y="215900"/>
                </a:lnTo>
                <a:close/>
              </a:path>
              <a:path w="993775" h="618489">
                <a:moveTo>
                  <a:pt x="655459" y="255270"/>
                </a:moveTo>
                <a:lnTo>
                  <a:pt x="338442" y="255270"/>
                </a:lnTo>
                <a:lnTo>
                  <a:pt x="331812" y="266700"/>
                </a:lnTo>
                <a:lnTo>
                  <a:pt x="661835" y="266700"/>
                </a:lnTo>
                <a:lnTo>
                  <a:pt x="655459" y="255270"/>
                </a:lnTo>
                <a:close/>
              </a:path>
              <a:path w="993775" h="618489">
                <a:moveTo>
                  <a:pt x="454329" y="135890"/>
                </a:moveTo>
                <a:lnTo>
                  <a:pt x="426632" y="144780"/>
                </a:lnTo>
                <a:lnTo>
                  <a:pt x="404271" y="162560"/>
                </a:lnTo>
                <a:lnTo>
                  <a:pt x="389327" y="186690"/>
                </a:lnTo>
                <a:lnTo>
                  <a:pt x="383882" y="215900"/>
                </a:lnTo>
                <a:lnTo>
                  <a:pt x="383882" y="255270"/>
                </a:lnTo>
                <a:lnTo>
                  <a:pt x="610019" y="255270"/>
                </a:lnTo>
                <a:lnTo>
                  <a:pt x="610019" y="219710"/>
                </a:lnTo>
                <a:lnTo>
                  <a:pt x="478574" y="219710"/>
                </a:lnTo>
                <a:lnTo>
                  <a:pt x="454329" y="135890"/>
                </a:lnTo>
                <a:close/>
              </a:path>
              <a:path w="993775" h="618489">
                <a:moveTo>
                  <a:pt x="504609" y="135890"/>
                </a:moveTo>
                <a:lnTo>
                  <a:pt x="488530" y="135890"/>
                </a:lnTo>
                <a:lnTo>
                  <a:pt x="477304" y="148590"/>
                </a:lnTo>
                <a:lnTo>
                  <a:pt x="489038" y="161290"/>
                </a:lnTo>
                <a:lnTo>
                  <a:pt x="478574" y="219710"/>
                </a:lnTo>
                <a:lnTo>
                  <a:pt x="514819" y="219710"/>
                </a:lnTo>
                <a:lnTo>
                  <a:pt x="504609" y="161290"/>
                </a:lnTo>
                <a:lnTo>
                  <a:pt x="515835" y="148590"/>
                </a:lnTo>
                <a:lnTo>
                  <a:pt x="504609" y="135890"/>
                </a:lnTo>
                <a:close/>
              </a:path>
              <a:path w="993775" h="618489">
                <a:moveTo>
                  <a:pt x="539318" y="135890"/>
                </a:moveTo>
                <a:lnTo>
                  <a:pt x="514819" y="219710"/>
                </a:lnTo>
                <a:lnTo>
                  <a:pt x="610019" y="219710"/>
                </a:lnTo>
                <a:lnTo>
                  <a:pt x="610019" y="215900"/>
                </a:lnTo>
                <a:lnTo>
                  <a:pt x="604570" y="186690"/>
                </a:lnTo>
                <a:lnTo>
                  <a:pt x="589599" y="162560"/>
                </a:lnTo>
                <a:lnTo>
                  <a:pt x="567161" y="144780"/>
                </a:lnTo>
                <a:lnTo>
                  <a:pt x="539318" y="135890"/>
                </a:lnTo>
                <a:close/>
              </a:path>
              <a:path w="993775" h="618489">
                <a:moveTo>
                  <a:pt x="236092" y="80010"/>
                </a:moveTo>
                <a:lnTo>
                  <a:pt x="212873" y="85090"/>
                </a:lnTo>
                <a:lnTo>
                  <a:pt x="193884" y="97790"/>
                </a:lnTo>
                <a:lnTo>
                  <a:pt x="181068" y="116840"/>
                </a:lnTo>
                <a:lnTo>
                  <a:pt x="176364" y="139700"/>
                </a:lnTo>
                <a:lnTo>
                  <a:pt x="181068" y="163830"/>
                </a:lnTo>
                <a:lnTo>
                  <a:pt x="193884" y="182880"/>
                </a:lnTo>
                <a:lnTo>
                  <a:pt x="212873" y="195580"/>
                </a:lnTo>
                <a:lnTo>
                  <a:pt x="236092" y="200660"/>
                </a:lnTo>
                <a:lnTo>
                  <a:pt x="259465" y="195580"/>
                </a:lnTo>
                <a:lnTo>
                  <a:pt x="278528" y="182880"/>
                </a:lnTo>
                <a:lnTo>
                  <a:pt x="291369" y="163830"/>
                </a:lnTo>
                <a:lnTo>
                  <a:pt x="296075" y="139700"/>
                </a:lnTo>
                <a:lnTo>
                  <a:pt x="291369" y="116840"/>
                </a:lnTo>
                <a:lnTo>
                  <a:pt x="278528" y="97790"/>
                </a:lnTo>
                <a:lnTo>
                  <a:pt x="259465" y="85090"/>
                </a:lnTo>
                <a:lnTo>
                  <a:pt x="236092" y="80010"/>
                </a:lnTo>
                <a:close/>
              </a:path>
              <a:path w="993775" h="618489">
                <a:moveTo>
                  <a:pt x="757555" y="80010"/>
                </a:moveTo>
                <a:lnTo>
                  <a:pt x="734182" y="85090"/>
                </a:lnTo>
                <a:lnTo>
                  <a:pt x="715119" y="97790"/>
                </a:lnTo>
                <a:lnTo>
                  <a:pt x="702278" y="116840"/>
                </a:lnTo>
                <a:lnTo>
                  <a:pt x="697572" y="139700"/>
                </a:lnTo>
                <a:lnTo>
                  <a:pt x="702278" y="163830"/>
                </a:lnTo>
                <a:lnTo>
                  <a:pt x="715119" y="182880"/>
                </a:lnTo>
                <a:lnTo>
                  <a:pt x="734182" y="195580"/>
                </a:lnTo>
                <a:lnTo>
                  <a:pt x="757555" y="200660"/>
                </a:lnTo>
                <a:lnTo>
                  <a:pt x="780774" y="195580"/>
                </a:lnTo>
                <a:lnTo>
                  <a:pt x="799763" y="182880"/>
                </a:lnTo>
                <a:lnTo>
                  <a:pt x="812579" y="163830"/>
                </a:lnTo>
                <a:lnTo>
                  <a:pt x="817283" y="139700"/>
                </a:lnTo>
                <a:lnTo>
                  <a:pt x="812579" y="116840"/>
                </a:lnTo>
                <a:lnTo>
                  <a:pt x="799763" y="97790"/>
                </a:lnTo>
                <a:lnTo>
                  <a:pt x="780774" y="85090"/>
                </a:lnTo>
                <a:lnTo>
                  <a:pt x="757555" y="80010"/>
                </a:lnTo>
                <a:close/>
              </a:path>
              <a:path w="993775" h="618489">
                <a:moveTo>
                  <a:pt x="496951" y="0"/>
                </a:moveTo>
                <a:lnTo>
                  <a:pt x="473578" y="5080"/>
                </a:lnTo>
                <a:lnTo>
                  <a:pt x="454515" y="17780"/>
                </a:lnTo>
                <a:lnTo>
                  <a:pt x="441674" y="36830"/>
                </a:lnTo>
                <a:lnTo>
                  <a:pt x="436968" y="60960"/>
                </a:lnTo>
                <a:lnTo>
                  <a:pt x="441674" y="83820"/>
                </a:lnTo>
                <a:lnTo>
                  <a:pt x="454515" y="102870"/>
                </a:lnTo>
                <a:lnTo>
                  <a:pt x="473578" y="115570"/>
                </a:lnTo>
                <a:lnTo>
                  <a:pt x="496951" y="120650"/>
                </a:lnTo>
                <a:lnTo>
                  <a:pt x="520176" y="115570"/>
                </a:lnTo>
                <a:lnTo>
                  <a:pt x="539164" y="102870"/>
                </a:lnTo>
                <a:lnTo>
                  <a:pt x="551977" y="83820"/>
                </a:lnTo>
                <a:lnTo>
                  <a:pt x="556679" y="60960"/>
                </a:lnTo>
                <a:lnTo>
                  <a:pt x="551977" y="36830"/>
                </a:lnTo>
                <a:lnTo>
                  <a:pt x="539164" y="17780"/>
                </a:lnTo>
                <a:lnTo>
                  <a:pt x="520176" y="5080"/>
                </a:lnTo>
                <a:lnTo>
                  <a:pt x="496951" y="0"/>
                </a:lnTo>
                <a:close/>
              </a:path>
            </a:pathLst>
          </a:custGeom>
          <a:solidFill>
            <a:srgbClr val="FFFFFF"/>
          </a:solidFill>
        </p:spPr>
        <p:txBody>
          <a:bodyPr wrap="square" lIns="0" tIns="0" rIns="0" bIns="0" rtlCol="0"/>
          <a:lstStyle/>
          <a:p>
            <a:endParaRPr sz="1837"/>
          </a:p>
        </p:txBody>
      </p:sp>
      <p:sp>
        <p:nvSpPr>
          <p:cNvPr id="9" name="object 27">
            <a:extLst>
              <a:ext uri="{FF2B5EF4-FFF2-40B4-BE49-F238E27FC236}">
                <a16:creationId xmlns:a16="http://schemas.microsoft.com/office/drawing/2014/main" id="{059969A6-0BBA-4076-A49B-08F90E83917D}"/>
              </a:ext>
            </a:extLst>
          </p:cNvPr>
          <p:cNvSpPr/>
          <p:nvPr userDrawn="1"/>
        </p:nvSpPr>
        <p:spPr>
          <a:xfrm>
            <a:off x="1775784" y="2409065"/>
            <a:ext cx="0" cy="3158885"/>
          </a:xfrm>
          <a:custGeom>
            <a:avLst/>
            <a:gdLst/>
            <a:ahLst/>
            <a:cxnLst/>
            <a:rect l="l" t="t" r="r" b="b"/>
            <a:pathLst>
              <a:path w="634" h="4088129">
                <a:moveTo>
                  <a:pt x="0" y="0"/>
                </a:moveTo>
                <a:lnTo>
                  <a:pt x="127" y="4087799"/>
                </a:lnTo>
              </a:path>
            </a:pathLst>
          </a:custGeom>
          <a:ln w="9144">
            <a:solidFill>
              <a:srgbClr val="FFFFFF"/>
            </a:solidFill>
          </a:ln>
        </p:spPr>
        <p:txBody>
          <a:bodyPr wrap="square" lIns="0" tIns="0" rIns="0" bIns="0" rtlCol="0"/>
          <a:lstStyle/>
          <a:p>
            <a:endParaRPr sz="1837"/>
          </a:p>
        </p:txBody>
      </p:sp>
      <p:pic>
        <p:nvPicPr>
          <p:cNvPr id="10" name="CustomIcon">
            <a:extLst>
              <a:ext uri="{FF2B5EF4-FFF2-40B4-BE49-F238E27FC236}">
                <a16:creationId xmlns:a16="http://schemas.microsoft.com/office/drawing/2014/main" id="{54236DA6-929C-446B-B975-D1B6A8C65A3A}"/>
              </a:ext>
            </a:extLst>
          </p:cNvPr>
          <p:cNvPicPr>
            <a:picLocks noChangeAspect="1"/>
          </p:cNvPicPr>
          <p:nvPr userDrawn="1">
            <p:custDataLst>
              <p:tags r:id="rId1"/>
            </p:custDataLst>
          </p:nvPr>
        </p:nvPicPr>
        <p:blipFill>
          <a:blip r:embed="rId4">
            <a:extLst>
              <a:ext uri="{96DAC541-7B7A-43D3-8B79-37D633B846F1}">
                <asvg:svgBlip xmlns:asvg="http://schemas.microsoft.com/office/drawing/2016/SVG/main" r:embed="rId5"/>
              </a:ext>
            </a:extLst>
          </a:blip>
          <a:stretch>
            <a:fillRect/>
          </a:stretch>
        </p:blipFill>
        <p:spPr>
          <a:xfrm>
            <a:off x="1420594" y="1631177"/>
            <a:ext cx="721008" cy="720997"/>
          </a:xfrm>
          <a:prstGeom prst="rect">
            <a:avLst/>
          </a:prstGeom>
        </p:spPr>
      </p:pic>
    </p:spTree>
    <p:extLst>
      <p:ext uri="{BB962C8B-B14F-4D97-AF65-F5344CB8AC3E}">
        <p14:creationId xmlns:p14="http://schemas.microsoft.com/office/powerpoint/2010/main" val="2742334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fr-FR" sz="2449" b="1" i="0" baseline="0" dirty="0">
              <a:solidFill>
                <a:schemeClr val="bg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1"/>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t" anchorCtr="0" forceAA="0" compatLnSpc="1">
            <a:prstTxWarp prst="textNoShape">
              <a:avLst/>
            </a:prstTxWarp>
            <a:noAutofit/>
          </a:bodyPr>
          <a:lstStyle/>
          <a:p>
            <a:pPr algn="ctr"/>
            <a:endParaRPr lang="fr-FR" sz="1600"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1"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5"/>
            </p:custDataLst>
          </p:nvPr>
        </p:nvCxnSpPr>
        <p:spPr>
          <a:xfrm>
            <a:off x="554737"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6"/>
            </p:custDataLst>
          </p:nvPr>
        </p:nvCxnSpPr>
        <p:spPr>
          <a:xfrm>
            <a:off x="554737"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1. On-page tracker">
            <a:extLst>
              <a:ext uri="{FF2B5EF4-FFF2-40B4-BE49-F238E27FC236}">
                <a16:creationId xmlns:a16="http://schemas.microsoft.com/office/drawing/2014/main" id="{BB1AC38F-F36C-421C-922E-DA64F703A4E3}"/>
              </a:ext>
            </a:extLst>
          </p:cNvPr>
          <p:cNvSpPr>
            <a:spLocks noGrp="1"/>
          </p:cNvSpPr>
          <p:nvPr>
            <p:ph type="body" sz="quarter" idx="16" hasCustomPrompt="1"/>
            <p:custDataLst>
              <p:tags r:id="rId7"/>
            </p:custDataLst>
          </p:nvPr>
        </p:nvSpPr>
        <p:spPr>
          <a:xfrm>
            <a:off x="7159753" y="89320"/>
            <a:ext cx="4480560" cy="123111"/>
          </a:xfrm>
        </p:spPr>
        <p:txBody>
          <a:bodyPr vert="horz" wrap="square" lIns="0" tIns="0" rIns="0" bIns="0" rtlCol="0" anchor="ctr" anchorCtr="0">
            <a:spAutoFit/>
          </a:bodyPr>
          <a:lstStyle>
            <a:lvl1pPr algn="r">
              <a:defRPr lang="en-US" sz="800" dirty="0"/>
            </a:lvl1pPr>
          </a:lstStyle>
          <a:p>
            <a:pPr lvl="0" algn="r"/>
            <a:r>
              <a:rPr lang="fr-FR" dirty="0" err="1"/>
              <a:t>Chapter</a:t>
            </a:r>
            <a:r>
              <a:rPr lang="fr-FR" dirty="0"/>
              <a:t> › Topic</a:t>
            </a: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8"/>
            </p:custDataLst>
          </p:nvPr>
        </p:nvSpPr>
        <p:spPr>
          <a:xfrm>
            <a:off x="554737" y="2744370"/>
            <a:ext cx="3465576" cy="769441"/>
          </a:xfrm>
          <a:prstGeom prst="rect">
            <a:avLst/>
          </a:prstGeom>
        </p:spPr>
        <p:txBody>
          <a:bodyPr wrap="square" anchor="b">
            <a:spAutoFit/>
          </a:bodyPr>
          <a:lstStyle>
            <a:lvl1pPr algn="l">
              <a:defRPr>
                <a:solidFill>
                  <a:schemeClr val="bg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9"/>
            </p:custDataLst>
          </p:nvPr>
        </p:nvSpPr>
        <p:spPr>
          <a:xfrm>
            <a:off x="554735" y="3659645"/>
            <a:ext cx="3465575" cy="276999"/>
          </a:xfrm>
        </p:spPr>
        <p:txBody>
          <a:bodyPr wrap="square">
            <a:spAutoFit/>
          </a:bodyPr>
          <a:lstStyle>
            <a:lvl1pPr marL="0" indent="0" algn="l">
              <a:buNone/>
              <a:defRPr sz="1800" b="0">
                <a:solidFill>
                  <a:schemeClr val="bg2"/>
                </a:solidFill>
              </a:defRPr>
            </a:lvl1pPr>
            <a:lvl2pPr marL="457176" indent="0" algn="ctr">
              <a:buNone/>
              <a:defRPr sz="2000"/>
            </a:lvl2pPr>
            <a:lvl3pPr marL="914350" indent="0" algn="ctr">
              <a:buNone/>
              <a:defRPr sz="1800"/>
            </a:lvl3pPr>
            <a:lvl4pPr marL="1371527" indent="0" algn="ctr">
              <a:buNone/>
              <a:defRPr sz="1600"/>
            </a:lvl4pPr>
            <a:lvl5pPr marL="1828702" indent="0" algn="ctr">
              <a:buNone/>
              <a:defRPr sz="1600"/>
            </a:lvl5pPr>
            <a:lvl6pPr marL="2285877" indent="0" algn="ctr">
              <a:buNone/>
              <a:defRPr sz="1600"/>
            </a:lvl6pPr>
            <a:lvl7pPr marL="2743051" indent="0" algn="ctr">
              <a:buNone/>
              <a:defRPr sz="1600"/>
            </a:lvl7pPr>
            <a:lvl8pPr marL="3200227" indent="0" algn="ctr">
              <a:buNone/>
              <a:defRPr sz="1600"/>
            </a:lvl8pPr>
            <a:lvl9pPr marL="3657403"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0"/>
            </p:custDataLst>
          </p:nvPr>
        </p:nvSpPr>
        <p:spPr>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bg2"/>
                </a:solidFill>
              </a:rPr>
              <a:t>Source: …</a:t>
            </a:r>
            <a:endParaRPr lang="fr-FR" sz="800" dirty="0">
              <a:solidFill>
                <a:schemeClr val="bg2"/>
              </a:solidFill>
            </a:endParaRPr>
          </a:p>
        </p:txBody>
      </p:sp>
    </p:spTree>
    <p:extLst>
      <p:ext uri="{BB962C8B-B14F-4D97-AF65-F5344CB8AC3E}">
        <p14:creationId xmlns:p14="http://schemas.microsoft.com/office/powerpoint/2010/main" val="4254856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Title">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429685" y="1009257"/>
            <a:ext cx="11330516" cy="339969"/>
          </a:xfrm>
          <a:prstGeom prst="rect">
            <a:avLst/>
          </a:prstGeom>
        </p:spPr>
        <p:txBody>
          <a:bodyPr rIns="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4" name="Title 1"/>
          <p:cNvSpPr>
            <a:spLocks noGrp="1"/>
          </p:cNvSpPr>
          <p:nvPr>
            <p:ph type="title"/>
          </p:nvPr>
        </p:nvSpPr>
        <p:spPr>
          <a:xfrm>
            <a:off x="429685" y="188079"/>
            <a:ext cx="11330516" cy="650264"/>
          </a:xfrm>
        </p:spPr>
        <p:txBody>
          <a:bodyPr>
            <a:noAutofit/>
          </a:bodyPr>
          <a:lstStyle>
            <a:lvl1pPr>
              <a:spcAft>
                <a:spcPts val="0"/>
              </a:spcAft>
              <a:defRPr sz="2200"/>
            </a:lvl1pPr>
          </a:lstStyle>
          <a:p>
            <a:r>
              <a:rPr lang="fr-FR" noProof="0"/>
              <a:t>Click to edit Master title style</a:t>
            </a:r>
          </a:p>
        </p:txBody>
      </p:sp>
    </p:spTree>
    <p:extLst>
      <p:ext uri="{BB962C8B-B14F-4D97-AF65-F5344CB8AC3E}">
        <p14:creationId xmlns:p14="http://schemas.microsoft.com/office/powerpoint/2010/main" val="555395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23F8A25-5842-46F0-9D06-9A6BA0CBA5D2}"/>
              </a:ext>
            </a:extLst>
          </p:cNvPr>
          <p:cNvSpPr>
            <a:spLocks noGrp="1"/>
          </p:cNvSpPr>
          <p:nvPr>
            <p:ph type="ftr" sz="quarter" idx="11"/>
          </p:nvPr>
        </p:nvSpPr>
        <p:spPr>
          <a:xfrm>
            <a:off x="66963" y="6530109"/>
            <a:ext cx="5391727" cy="191366"/>
          </a:xfrm>
        </p:spPr>
        <p:txBody>
          <a:bodyPr/>
          <a:lstStyle>
            <a:lvl1pPr algn="l">
              <a:defRPr/>
            </a:lvl1pPr>
          </a:lstStyle>
          <a:p>
            <a:endParaRPr lang="fr-FR" dirty="0"/>
          </a:p>
        </p:txBody>
      </p:sp>
      <p:sp>
        <p:nvSpPr>
          <p:cNvPr id="8" name="Title Placeholder 2">
            <a:extLst>
              <a:ext uri="{FF2B5EF4-FFF2-40B4-BE49-F238E27FC236}">
                <a16:creationId xmlns:a16="http://schemas.microsoft.com/office/drawing/2014/main" id="{DD1FA8DC-9F75-49CF-BA13-7274B2A7CA45}"/>
              </a:ext>
            </a:extLst>
          </p:cNvPr>
          <p:cNvSpPr>
            <a:spLocks noGrp="1" noChangeArrowheads="1"/>
          </p:cNvSpPr>
          <p:nvPr>
            <p:ph type="title"/>
          </p:nvPr>
        </p:nvSpPr>
        <p:spPr bwMode="gray">
          <a:xfrm>
            <a:off x="233259" y="157209"/>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Click to edit Master title style</a:t>
            </a:r>
            <a:endParaRPr lang="fr-FR" noProof="0" dirty="0"/>
          </a:p>
        </p:txBody>
      </p:sp>
    </p:spTree>
    <p:extLst>
      <p:ext uri="{BB962C8B-B14F-4D97-AF65-F5344CB8AC3E}">
        <p14:creationId xmlns:p14="http://schemas.microsoft.com/office/powerpoint/2010/main" val="482870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fr-MA" smtClean="0"/>
              <a:pPr algn="r"/>
              <a:t>‹N°›</a:t>
            </a:fld>
            <a:endParaRPr lang="fr-MA" dirty="0"/>
          </a:p>
        </p:txBody>
      </p:sp>
    </p:spTree>
    <p:extLst>
      <p:ext uri="{BB962C8B-B14F-4D97-AF65-F5344CB8AC3E}">
        <p14:creationId xmlns:p14="http://schemas.microsoft.com/office/powerpoint/2010/main" val="258432934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9" Type="http://schemas.openxmlformats.org/officeDocument/2006/relationships/tags" Target="../tags/tag27.xml"/><Relationship Id="rId21" Type="http://schemas.openxmlformats.org/officeDocument/2006/relationships/tags" Target="../tags/tag9.xml"/><Relationship Id="rId34" Type="http://schemas.openxmlformats.org/officeDocument/2006/relationships/tags" Target="../tags/tag22.xml"/><Relationship Id="rId42" Type="http://schemas.openxmlformats.org/officeDocument/2006/relationships/tags" Target="../tags/tag30.xml"/><Relationship Id="rId47" Type="http://schemas.openxmlformats.org/officeDocument/2006/relationships/tags" Target="../tags/tag35.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4.xml"/><Relationship Id="rId29" Type="http://schemas.openxmlformats.org/officeDocument/2006/relationships/tags" Target="../tags/tag17.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tags" Target="../tags/tag33.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49" Type="http://schemas.openxmlformats.org/officeDocument/2006/relationships/tags" Target="../tags/tag37.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4" Type="http://schemas.openxmlformats.org/officeDocument/2006/relationships/tags" Target="../tags/tag32.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tags" Target="../tags/tag31.xml"/><Relationship Id="rId48" Type="http://schemas.openxmlformats.org/officeDocument/2006/relationships/tags" Target="../tags/tag36.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46" Type="http://schemas.openxmlformats.org/officeDocument/2006/relationships/tags" Target="../tags/tag34.xml"/><Relationship Id="rId20" Type="http://schemas.openxmlformats.org/officeDocument/2006/relationships/tags" Target="../tags/tag8.xml"/><Relationship Id="rId41" Type="http://schemas.openxmlformats.org/officeDocument/2006/relationships/tags" Target="../tags/tag29.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9" Type="http://schemas.openxmlformats.org/officeDocument/2006/relationships/tags" Target="../tags/tag86.xml"/><Relationship Id="rId21" Type="http://schemas.openxmlformats.org/officeDocument/2006/relationships/tags" Target="../tags/tag68.xml"/><Relationship Id="rId34" Type="http://schemas.openxmlformats.org/officeDocument/2006/relationships/tags" Target="../tags/tag81.xml"/><Relationship Id="rId42" Type="http://schemas.openxmlformats.org/officeDocument/2006/relationships/tags" Target="../tags/tag89.xml"/><Relationship Id="rId47" Type="http://schemas.openxmlformats.org/officeDocument/2006/relationships/image" Target="../media/image2.png"/><Relationship Id="rId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tags" Target="../tags/tag63.xml"/><Relationship Id="rId29" Type="http://schemas.openxmlformats.org/officeDocument/2006/relationships/tags" Target="../tags/tag7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tags" Target="../tags/tag79.xml"/><Relationship Id="rId37" Type="http://schemas.openxmlformats.org/officeDocument/2006/relationships/tags" Target="../tags/tag84.xml"/><Relationship Id="rId40" Type="http://schemas.openxmlformats.org/officeDocument/2006/relationships/tags" Target="../tags/tag87.xml"/><Relationship Id="rId45" Type="http://schemas.openxmlformats.org/officeDocument/2006/relationships/oleObject" Target="../embeddings/oleObject6.bin"/><Relationship Id="rId5" Type="http://schemas.openxmlformats.org/officeDocument/2006/relationships/slideLayout" Target="../slideLayouts/slideLayout16.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tags" Target="../tags/tag75.xml"/><Relationship Id="rId36" Type="http://schemas.openxmlformats.org/officeDocument/2006/relationships/tags" Target="../tags/tag83.xml"/><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tags" Target="../tags/tag78.xml"/><Relationship Id="rId44" Type="http://schemas.openxmlformats.org/officeDocument/2006/relationships/tags" Target="../tags/tag91.xml"/><Relationship Id="rId4" Type="http://schemas.openxmlformats.org/officeDocument/2006/relationships/slideLayout" Target="../slideLayouts/slideLayout15.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tags" Target="../tags/tag77.xml"/><Relationship Id="rId35" Type="http://schemas.openxmlformats.org/officeDocument/2006/relationships/tags" Target="../tags/tag82.xml"/><Relationship Id="rId43" Type="http://schemas.openxmlformats.org/officeDocument/2006/relationships/tags" Target="../tags/tag90.xml"/><Relationship Id="rId8" Type="http://schemas.openxmlformats.org/officeDocument/2006/relationships/tags" Target="../tags/tag55.xml"/><Relationship Id="rId3" Type="http://schemas.openxmlformats.org/officeDocument/2006/relationships/slideLayout" Target="../slideLayouts/slideLayout1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tags" Target="../tags/tag80.xml"/><Relationship Id="rId38" Type="http://schemas.openxmlformats.org/officeDocument/2006/relationships/tags" Target="../tags/tag85.xml"/><Relationship Id="rId46" Type="http://schemas.openxmlformats.org/officeDocument/2006/relationships/image" Target="../media/image1.emf"/><Relationship Id="rId20" Type="http://schemas.openxmlformats.org/officeDocument/2006/relationships/tags" Target="../tags/tag67.xml"/><Relationship Id="rId41" Type="http://schemas.openxmlformats.org/officeDocument/2006/relationships/tags" Target="../tags/tag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0" y="0"/>
                        <a:ext cx="215979" cy="16197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B9D14E-E29D-4FA7-9685-6BCA1FEB12D6}"/>
              </a:ext>
            </a:extLst>
          </p:cNvPr>
          <p:cNvSpPr/>
          <p:nvPr userDrawn="1">
            <p:custDataLst>
              <p:tags r:id="rId14"/>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74" name="Group 173">
            <a:extLst>
              <a:ext uri="{FF2B5EF4-FFF2-40B4-BE49-F238E27FC236}">
                <a16:creationId xmlns:a16="http://schemas.microsoft.com/office/drawing/2014/main" id="{52951E77-9540-407C-9284-35C3A0ED2E94}"/>
              </a:ext>
            </a:extLst>
          </p:cNvPr>
          <p:cNvGrpSpPr/>
          <p:nvPr userDrawn="1"/>
        </p:nvGrpSpPr>
        <p:grpSpPr bwMode="gray">
          <a:xfrm>
            <a:off x="7984404" y="6007889"/>
            <a:ext cx="4210025" cy="858160"/>
            <a:chOff x="4310063" y="5171734"/>
            <a:chExt cx="7641431" cy="1557630"/>
          </a:xfrm>
        </p:grpSpPr>
        <p:cxnSp>
          <p:nvCxnSpPr>
            <p:cNvPr id="176" name="Straight Connector 175">
              <a:extLst>
                <a:ext uri="{FF2B5EF4-FFF2-40B4-BE49-F238E27FC236}">
                  <a16:creationId xmlns:a16="http://schemas.microsoft.com/office/drawing/2014/main" id="{720A0113-BAB1-4530-8DB1-025C6DB1973B}"/>
                </a:ext>
              </a:extLst>
            </p:cNvPr>
            <p:cNvCxnSpPr>
              <a:cxnSpLocks/>
            </p:cNvCxnSpPr>
            <p:nvPr/>
          </p:nvCxnSpPr>
          <p:spPr bwMode="gray">
            <a:xfrm flipV="1">
              <a:off x="11491913" y="6478879"/>
              <a:ext cx="449391" cy="24339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052EB10-AB34-41D2-B2FD-A715046C855D}"/>
                </a:ext>
              </a:extLst>
            </p:cNvPr>
            <p:cNvCxnSpPr>
              <a:cxnSpLocks/>
            </p:cNvCxnSpPr>
            <p:nvPr/>
          </p:nvCxnSpPr>
          <p:spPr bwMode="gray">
            <a:xfrm flipV="1">
              <a:off x="10732294" y="5174456"/>
              <a:ext cx="1219200" cy="154781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CD25449-E084-4257-986E-2552A5C4AC0A}"/>
                </a:ext>
              </a:extLst>
            </p:cNvPr>
            <p:cNvCxnSpPr>
              <a:cxnSpLocks/>
            </p:cNvCxnSpPr>
            <p:nvPr/>
          </p:nvCxnSpPr>
          <p:spPr bwMode="gray">
            <a:xfrm flipV="1">
              <a:off x="8481060" y="6161838"/>
              <a:ext cx="3468053" cy="55251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C4E1E313-8EE9-4796-988D-310D1CDA6FA0}"/>
                </a:ext>
              </a:extLst>
            </p:cNvPr>
            <p:cNvCxnSpPr>
              <a:cxnSpLocks/>
            </p:cNvCxnSpPr>
            <p:nvPr/>
          </p:nvCxnSpPr>
          <p:spPr bwMode="gray">
            <a:xfrm>
              <a:off x="9448800" y="5622131"/>
              <a:ext cx="378619" cy="11049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6E1AD96-69D3-40D4-B180-F459E3C137E3}"/>
                </a:ext>
              </a:extLst>
            </p:cNvPr>
            <p:cNvCxnSpPr>
              <a:cxnSpLocks/>
            </p:cNvCxnSpPr>
            <p:nvPr/>
          </p:nvCxnSpPr>
          <p:spPr bwMode="gray">
            <a:xfrm flipV="1">
              <a:off x="10438292" y="5171734"/>
              <a:ext cx="1510821" cy="23978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A65D4EB-6358-4F3A-BB3B-607EB428E922}"/>
                </a:ext>
              </a:extLst>
            </p:cNvPr>
            <p:cNvCxnSpPr>
              <a:cxnSpLocks/>
            </p:cNvCxnSpPr>
            <p:nvPr/>
          </p:nvCxnSpPr>
          <p:spPr bwMode="gray">
            <a:xfrm flipV="1">
              <a:off x="6880804" y="6019800"/>
              <a:ext cx="691784" cy="61759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7E0AB76-566B-4C51-9D94-C31655396FB3}"/>
                </a:ext>
              </a:extLst>
            </p:cNvPr>
            <p:cNvCxnSpPr>
              <a:cxnSpLocks/>
            </p:cNvCxnSpPr>
            <p:nvPr/>
          </p:nvCxnSpPr>
          <p:spPr bwMode="gray">
            <a:xfrm flipV="1">
              <a:off x="4310063" y="5411515"/>
              <a:ext cx="6128228" cy="130675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7AEBB3D-C1E7-41F2-833F-02792E046714}"/>
                </a:ext>
              </a:extLst>
            </p:cNvPr>
            <p:cNvCxnSpPr>
              <a:cxnSpLocks/>
            </p:cNvCxnSpPr>
            <p:nvPr/>
          </p:nvCxnSpPr>
          <p:spPr bwMode="gray">
            <a:xfrm flipV="1">
              <a:off x="6811302" y="6626678"/>
              <a:ext cx="80036" cy="9797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27A3DEE3-9B06-40EB-BDF6-A2F58C952260}"/>
                </a:ext>
              </a:extLst>
            </p:cNvPr>
            <p:cNvCxnSpPr>
              <a:cxnSpLocks/>
            </p:cNvCxnSpPr>
            <p:nvPr/>
          </p:nvCxnSpPr>
          <p:spPr bwMode="gray">
            <a:xfrm>
              <a:off x="10445727" y="5411514"/>
              <a:ext cx="791392" cy="131313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9E28888D-ABAF-4074-A7C4-5FB338E3E731}"/>
                </a:ext>
              </a:extLst>
            </p:cNvPr>
            <p:cNvCxnSpPr>
              <a:cxnSpLocks/>
            </p:cNvCxnSpPr>
            <p:nvPr/>
          </p:nvCxnSpPr>
          <p:spPr bwMode="gray">
            <a:xfrm flipH="1">
              <a:off x="10216562" y="5411514"/>
              <a:ext cx="221730" cy="130678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0A0CC43-8DA0-4074-9D11-7C45E629EB62}"/>
                </a:ext>
              </a:extLst>
            </p:cNvPr>
            <p:cNvCxnSpPr>
              <a:cxnSpLocks/>
            </p:cNvCxnSpPr>
            <p:nvPr/>
          </p:nvCxnSpPr>
          <p:spPr bwMode="gray">
            <a:xfrm flipV="1">
              <a:off x="9896475" y="6303169"/>
              <a:ext cx="1178719" cy="42386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B616F70-09C6-4CA4-8EC0-E76D396DCCFA}"/>
                </a:ext>
              </a:extLst>
            </p:cNvPr>
            <p:cNvCxnSpPr>
              <a:cxnSpLocks/>
            </p:cNvCxnSpPr>
            <p:nvPr/>
          </p:nvCxnSpPr>
          <p:spPr bwMode="gray">
            <a:xfrm>
              <a:off x="11060906" y="6307591"/>
              <a:ext cx="888207" cy="17128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C0F1607E-D2A1-444B-BD14-AF5EE1B1091F}"/>
                </a:ext>
              </a:extLst>
            </p:cNvPr>
            <p:cNvCxnSpPr>
              <a:cxnSpLocks/>
            </p:cNvCxnSpPr>
            <p:nvPr/>
          </p:nvCxnSpPr>
          <p:spPr bwMode="gray">
            <a:xfrm>
              <a:off x="8275686" y="6373196"/>
              <a:ext cx="563514" cy="35616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32D7D0D-1516-4F3D-B037-EF5B0A3AC985}"/>
                </a:ext>
              </a:extLst>
            </p:cNvPr>
            <p:cNvCxnSpPr>
              <a:cxnSpLocks/>
            </p:cNvCxnSpPr>
            <p:nvPr/>
          </p:nvCxnSpPr>
          <p:spPr bwMode="gray">
            <a:xfrm>
              <a:off x="5564981" y="6452289"/>
              <a:ext cx="2043956" cy="26855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39364AD-6789-4EB0-A59C-00B7C752AC6F}"/>
                </a:ext>
              </a:extLst>
            </p:cNvPr>
            <p:cNvCxnSpPr>
              <a:cxnSpLocks/>
            </p:cNvCxnSpPr>
            <p:nvPr/>
          </p:nvCxnSpPr>
          <p:spPr bwMode="gray">
            <a:xfrm flipV="1">
              <a:off x="8191500" y="5407819"/>
              <a:ext cx="2255044" cy="131195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7C7DE3A-5365-4EDF-8A8F-3CCCB52A3FC0}"/>
                </a:ext>
              </a:extLst>
            </p:cNvPr>
            <p:cNvCxnSpPr>
              <a:cxnSpLocks/>
            </p:cNvCxnSpPr>
            <p:nvPr/>
          </p:nvCxnSpPr>
          <p:spPr bwMode="gray">
            <a:xfrm flipV="1">
              <a:off x="6872288" y="6141244"/>
              <a:ext cx="139346" cy="58678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ECCC48B0-F028-4263-A156-B4C1A1D8B59F}"/>
                </a:ext>
              </a:extLst>
            </p:cNvPr>
            <p:cNvCxnSpPr>
              <a:cxnSpLocks/>
            </p:cNvCxnSpPr>
            <p:nvPr/>
          </p:nvCxnSpPr>
          <p:spPr bwMode="gray">
            <a:xfrm>
              <a:off x="7455355" y="6043613"/>
              <a:ext cx="565813" cy="68103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A097F2E4-191C-4406-924B-4EAAF8F47F46}"/>
                </a:ext>
              </a:extLst>
            </p:cNvPr>
            <p:cNvCxnSpPr>
              <a:cxnSpLocks/>
            </p:cNvCxnSpPr>
            <p:nvPr/>
          </p:nvCxnSpPr>
          <p:spPr bwMode="gray">
            <a:xfrm flipV="1">
              <a:off x="8096785" y="5815013"/>
              <a:ext cx="448341" cy="90582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056E57E-0F2D-4B3A-8D27-CE41FA00F15D}"/>
                </a:ext>
              </a:extLst>
            </p:cNvPr>
            <p:cNvCxnSpPr>
              <a:cxnSpLocks/>
            </p:cNvCxnSpPr>
            <p:nvPr/>
          </p:nvCxnSpPr>
          <p:spPr bwMode="gray">
            <a:xfrm>
              <a:off x="7693405" y="6000750"/>
              <a:ext cx="583225" cy="35955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910404F-8FC3-4C3E-97BA-BDB86BF96105}"/>
                </a:ext>
              </a:extLst>
            </p:cNvPr>
            <p:cNvCxnSpPr>
              <a:cxnSpLocks/>
            </p:cNvCxnSpPr>
            <p:nvPr/>
          </p:nvCxnSpPr>
          <p:spPr bwMode="gray">
            <a:xfrm>
              <a:off x="10441781" y="5412582"/>
              <a:ext cx="1507332" cy="47863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36" name="Rectangle 286"/>
          <p:cNvSpPr>
            <a:spLocks noGrp="1" noChangeArrowheads="1"/>
          </p:cNvSpPr>
          <p:nvPr>
            <p:ph type="body" idx="1"/>
          </p:nvPr>
        </p:nvSpPr>
        <p:spPr bwMode="gray">
          <a:xfrm>
            <a:off x="233259" y="2479367"/>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19" name="Title Placeholder 2"/>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Click to edit Master title style</a:t>
            </a:r>
            <a:endParaRPr lang="fr-FR" noProof="0" dirty="0"/>
          </a:p>
        </p:txBody>
      </p:sp>
      <p:sp>
        <p:nvSpPr>
          <p:cNvPr id="13" name="4. Footnote" hidden="1"/>
          <p:cNvSpPr txBox="1">
            <a:spLocks noChangeArrowheads="1"/>
          </p:cNvSpPr>
          <p:nvPr/>
        </p:nvSpPr>
        <p:spPr bwMode="gray">
          <a:xfrm>
            <a:off x="233259" y="635208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0423" indent="-100423">
              <a:defRPr/>
            </a:pPr>
            <a:r>
              <a:rPr lang="fr-FR" sz="1020" kern="1200" baseline="0" noProof="0" dirty="0">
                <a:solidFill>
                  <a:schemeClr val="tx1"/>
                </a:solidFill>
                <a:latin typeface="+mn-lt"/>
                <a:ea typeface="+mn-ea"/>
                <a:cs typeface="+mn-cs"/>
                <a:sym typeface="+mn-lt"/>
              </a:rPr>
              <a:t>1 Note de bas de page</a:t>
            </a:r>
          </a:p>
        </p:txBody>
      </p:sp>
      <p:sp>
        <p:nvSpPr>
          <p:cNvPr id="14" name="5. Source" hidden="1"/>
          <p:cNvSpPr>
            <a:spLocks noChangeArrowheads="1"/>
          </p:cNvSpPr>
          <p:nvPr/>
        </p:nvSpPr>
        <p:spPr bwMode="gray">
          <a:xfrm>
            <a:off x="233259" y="6543215"/>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1341" indent="-471341" defTabSz="913526">
              <a:tabLst/>
            </a:pPr>
            <a:r>
              <a:rPr lang="fr-FR" sz="1020" kern="1200" baseline="0" noProof="0" dirty="0">
                <a:solidFill>
                  <a:srgbClr val="000000"/>
                </a:solidFill>
                <a:latin typeface="+mn-lt"/>
                <a:ea typeface="+mn-ea"/>
                <a:cs typeface="+mn-cs"/>
                <a:sym typeface="+mn-lt"/>
              </a:rPr>
              <a:t>Source: Source</a:t>
            </a:r>
          </a:p>
        </p:txBody>
      </p:sp>
      <p:grpSp>
        <p:nvGrpSpPr>
          <p:cNvPr id="15" name="ACET" hidden="1"/>
          <p:cNvGrpSpPr>
            <a:grpSpLocks/>
          </p:cNvGrpSpPr>
          <p:nvPr/>
        </p:nvGrpSpPr>
        <p:grpSpPr bwMode="gray">
          <a:xfrm>
            <a:off x="233258" y="1847897"/>
            <a:ext cx="2919041"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fr-FR" sz="1632" b="1" kern="1200" baseline="0" noProof="0" dirty="0">
                  <a:solidFill>
                    <a:schemeClr val="tx1"/>
                  </a:solidFill>
                  <a:latin typeface="+mn-lt"/>
                  <a:ea typeface="+mn-ea"/>
                  <a:cs typeface="+mn-cs"/>
                  <a:sym typeface="+mn-lt"/>
                </a:rPr>
                <a:t>Titre</a:t>
              </a:r>
            </a:p>
            <a:p>
              <a:r>
                <a:rPr lang="fr-FR" sz="1632" b="0" kern="1200" baseline="0" noProof="0" dirty="0">
                  <a:solidFill>
                    <a:schemeClr val="tx1"/>
                  </a:solidFill>
                  <a:latin typeface="+mn-lt"/>
                  <a:ea typeface="+mn-ea"/>
                  <a:cs typeface="+mn-cs"/>
                  <a:sym typeface="+mn-lt"/>
                </a:rPr>
                <a:t>Unité de mesure</a:t>
              </a:r>
            </a:p>
          </p:txBody>
        </p:sp>
      </p:grpSp>
      <p:sp>
        <p:nvSpPr>
          <p:cNvPr id="3" name="pg number"/>
          <p:cNvSpPr>
            <a:spLocks/>
          </p:cNvSpPr>
          <p:nvPr/>
        </p:nvSpPr>
        <p:spPr bwMode="gray">
          <a:xfrm>
            <a:off x="11639802" y="6544785"/>
            <a:ext cx="318940"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
        <p:nvSpPr>
          <p:cNvPr id="11" name="3. Unit of measure" hidden="1"/>
          <p:cNvSpPr txBox="1">
            <a:spLocks noChangeArrowheads="1"/>
          </p:cNvSpPr>
          <p:nvPr/>
        </p:nvSpPr>
        <p:spPr bwMode="gray">
          <a:xfrm>
            <a:off x="233259" y="744394"/>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56763" algn="l"/>
              </a:tabLst>
              <a:defRPr/>
            </a:pPr>
            <a:r>
              <a:rPr lang="fr-FR" sz="1632" baseline="0" noProof="0" dirty="0">
                <a:solidFill>
                  <a:schemeClr val="tx1"/>
                </a:solidFill>
                <a:latin typeface="+mn-lt"/>
                <a:ea typeface="+mn-ea"/>
                <a:cs typeface="+mn-cs"/>
                <a:sym typeface="+mn-lt"/>
              </a:rPr>
              <a:t>Unité de mesure</a:t>
            </a:r>
          </a:p>
        </p:txBody>
      </p:sp>
      <p:sp>
        <p:nvSpPr>
          <p:cNvPr id="77" name="1. On-page tracker" hidden="1"/>
          <p:cNvSpPr>
            <a:spLocks noChangeArrowheads="1"/>
          </p:cNvSpPr>
          <p:nvPr/>
        </p:nvSpPr>
        <p:spPr bwMode="gray">
          <a:xfrm>
            <a:off x="233258" y="45941"/>
            <a:ext cx="70356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56763" algn="l"/>
              </a:tabLst>
            </a:pPr>
            <a:r>
              <a:rPr lang="fr-FR" sz="1224" cap="all" baseline="0" dirty="0">
                <a:latin typeface="+mn-lt"/>
                <a:ea typeface="+mn-ea"/>
                <a:cs typeface="+mn-cs"/>
                <a:sym typeface="+mn-lt"/>
              </a:rPr>
              <a:t>TRACKER</a:t>
            </a:r>
          </a:p>
        </p:txBody>
      </p:sp>
      <p:grpSp>
        <p:nvGrpSpPr>
          <p:cNvPr id="93" name="LegendBoxes" hidden="1"/>
          <p:cNvGrpSpPr>
            <a:grpSpLocks/>
          </p:cNvGrpSpPr>
          <p:nvPr/>
        </p:nvGrpSpPr>
        <p:grpSpPr bwMode="gray">
          <a:xfrm>
            <a:off x="11092160" y="744393"/>
            <a:ext cx="861717" cy="1022061"/>
            <a:chOff x="4936" y="176"/>
            <a:chExt cx="532" cy="631"/>
          </a:xfrm>
        </p:grpSpPr>
        <p:sp>
          <p:nvSpPr>
            <p:cNvPr id="94" name="Legend1"/>
            <p:cNvSpPr>
              <a:spLocks noChangeArrowheads="1"/>
            </p:cNvSpPr>
            <p:nvPr/>
          </p:nvSpPr>
          <p:spPr bwMode="gray">
            <a:xfrm>
              <a:off x="5096"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5" name="LegendRectangle1"/>
            <p:cNvSpPr>
              <a:spLocks noChangeArrowheads="1"/>
            </p:cNvSpPr>
            <p:nvPr/>
          </p:nvSpPr>
          <p:spPr bwMode="gray">
            <a:xfrm>
              <a:off x="4936" y="182"/>
              <a:ext cx="104" cy="10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6" name="Legend2"/>
            <p:cNvSpPr>
              <a:spLocks noChangeArrowheads="1"/>
            </p:cNvSpPr>
            <p:nvPr/>
          </p:nvSpPr>
          <p:spPr bwMode="gray">
            <a:xfrm>
              <a:off x="5096" y="347"/>
              <a:ext cx="372" cy="1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7" name="LegendRectangle2"/>
            <p:cNvSpPr>
              <a:spLocks noChangeArrowheads="1"/>
            </p:cNvSpPr>
            <p:nvPr/>
          </p:nvSpPr>
          <p:spPr bwMode="gray">
            <a:xfrm>
              <a:off x="4936" y="353"/>
              <a:ext cx="104" cy="10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8" name="Legend3"/>
            <p:cNvSpPr>
              <a:spLocks noChangeArrowheads="1"/>
            </p:cNvSpPr>
            <p:nvPr/>
          </p:nvSpPr>
          <p:spPr bwMode="gray">
            <a:xfrm>
              <a:off x="5096" y="517"/>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9" name="LegendRectangle3"/>
            <p:cNvSpPr>
              <a:spLocks noChangeArrowheads="1"/>
            </p:cNvSpPr>
            <p:nvPr/>
          </p:nvSpPr>
          <p:spPr bwMode="gray">
            <a:xfrm>
              <a:off x="4936" y="523"/>
              <a:ext cx="104" cy="104"/>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00" name="Legend4"/>
            <p:cNvSpPr>
              <a:spLocks noChangeArrowheads="1"/>
            </p:cNvSpPr>
            <p:nvPr/>
          </p:nvSpPr>
          <p:spPr bwMode="gray">
            <a:xfrm>
              <a:off x="5096" y="68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1" name="LegendRectangle4"/>
            <p:cNvSpPr>
              <a:spLocks noChangeArrowheads="1"/>
            </p:cNvSpPr>
            <p:nvPr/>
          </p:nvSpPr>
          <p:spPr bwMode="gray">
            <a:xfrm>
              <a:off x="4936" y="694"/>
              <a:ext cx="104" cy="104"/>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02" name="LegendLines" hidden="1"/>
          <p:cNvGrpSpPr>
            <a:grpSpLocks/>
          </p:cNvGrpSpPr>
          <p:nvPr/>
        </p:nvGrpSpPr>
        <p:grpSpPr bwMode="gray">
          <a:xfrm>
            <a:off x="10777928" y="744393"/>
            <a:ext cx="1175952" cy="749943"/>
            <a:chOff x="4750" y="176"/>
            <a:chExt cx="726" cy="463"/>
          </a:xfrm>
        </p:grpSpPr>
        <p:sp>
          <p:nvSpPr>
            <p:cNvPr id="103" name="LineLegend1"/>
            <p:cNvSpPr>
              <a:spLocks noChangeShapeType="1"/>
            </p:cNvSpPr>
            <p:nvPr/>
          </p:nvSpPr>
          <p:spPr bwMode="gray">
            <a:xfrm>
              <a:off x="4750" y="234"/>
              <a:ext cx="288" cy="0"/>
            </a:xfrm>
            <a:prstGeom prst="line">
              <a:avLst/>
            </a:prstGeom>
            <a:noFill/>
            <a:ln w="2857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4" name="LineLegend2"/>
            <p:cNvSpPr>
              <a:spLocks noChangeShapeType="1"/>
            </p:cNvSpPr>
            <p:nvPr/>
          </p:nvSpPr>
          <p:spPr bwMode="gray">
            <a:xfrm>
              <a:off x="4750" y="406"/>
              <a:ext cx="288" cy="0"/>
            </a:xfrm>
            <a:prstGeom prst="line">
              <a:avLst/>
            </a:prstGeom>
            <a:noFill/>
            <a:ln w="2857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5" name="LineLegend3"/>
            <p:cNvSpPr>
              <a:spLocks noChangeShapeType="1"/>
            </p:cNvSpPr>
            <p:nvPr/>
          </p:nvSpPr>
          <p:spPr bwMode="gray">
            <a:xfrm>
              <a:off x="4750" y="578"/>
              <a:ext cx="288" cy="0"/>
            </a:xfrm>
            <a:prstGeom prst="line">
              <a:avLst/>
            </a:prstGeom>
            <a:noFill/>
            <a:ln w="28575">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6" name="Legend1"/>
            <p:cNvSpPr>
              <a:spLocks noChangeArrowheads="1"/>
            </p:cNvSpPr>
            <p:nvPr/>
          </p:nvSpPr>
          <p:spPr bwMode="gray">
            <a:xfrm>
              <a:off x="5104"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7" name="Legend2"/>
            <p:cNvSpPr>
              <a:spLocks noChangeArrowheads="1"/>
            </p:cNvSpPr>
            <p:nvPr/>
          </p:nvSpPr>
          <p:spPr bwMode="gray">
            <a:xfrm>
              <a:off x="5104" y="34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8" name="Legend3"/>
            <p:cNvSpPr>
              <a:spLocks noChangeArrowheads="1"/>
            </p:cNvSpPr>
            <p:nvPr/>
          </p:nvSpPr>
          <p:spPr bwMode="gray">
            <a:xfrm>
              <a:off x="5104" y="520"/>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grpSp>
        <p:nvGrpSpPr>
          <p:cNvPr id="109" name="Sticker" hidden="1"/>
          <p:cNvGrpSpPr/>
          <p:nvPr/>
        </p:nvGrpSpPr>
        <p:grpSpPr bwMode="gray">
          <a:xfrm>
            <a:off x="11331265" y="742496"/>
            <a:ext cx="627478" cy="250146"/>
            <a:chOff x="8125798" y="283891"/>
            <a:chExt cx="614977" cy="245166"/>
          </a:xfrm>
        </p:grpSpPr>
        <p:sp>
          <p:nvSpPr>
            <p:cNvPr id="110" name="StickerRectangle"/>
            <p:cNvSpPr>
              <a:spLocks noChangeArrowheads="1"/>
            </p:cNvSpPr>
            <p:nvPr/>
          </p:nvSpPr>
          <p:spPr bwMode="gray">
            <a:xfrm>
              <a:off x="8125798" y="283891"/>
              <a:ext cx="614977"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fr-FR" sz="1224" noProof="0" dirty="0">
                  <a:solidFill>
                    <a:schemeClr val="tx1"/>
                  </a:solidFill>
                  <a:latin typeface="+mn-lt"/>
                  <a:ea typeface="+mn-ea"/>
                  <a:cs typeface="+mn-cs"/>
                  <a:sym typeface="+mn-lt"/>
                </a:rPr>
                <a:t>STICKER</a:t>
              </a:r>
            </a:p>
          </p:txBody>
        </p:sp>
        <p:cxnSp>
          <p:nvCxnSpPr>
            <p:cNvPr id="111" name="AutoShape 32"/>
            <p:cNvCxnSpPr>
              <a:cxnSpLocks noChangeShapeType="1"/>
              <a:stCxn id="110" idx="4"/>
              <a:endCxn id="110" idx="6"/>
            </p:cNvCxnSpPr>
            <p:nvPr/>
          </p:nvCxnSpPr>
          <p:spPr bwMode="gray">
            <a:xfrm>
              <a:off x="8125798" y="529057"/>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2" name="AutoShape 32"/>
            <p:cNvCxnSpPr>
              <a:cxnSpLocks noChangeShapeType="1"/>
              <a:stCxn id="110" idx="2"/>
              <a:endCxn id="110" idx="0"/>
            </p:cNvCxnSpPr>
            <p:nvPr userDrawn="1"/>
          </p:nvCxnSpPr>
          <p:spPr bwMode="gray">
            <a:xfrm>
              <a:off x="8125798" y="283891"/>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5" name="LegendMoons" hidden="1">
            <a:extLst>
              <a:ext uri="{FF2B5EF4-FFF2-40B4-BE49-F238E27FC236}">
                <a16:creationId xmlns:a16="http://schemas.microsoft.com/office/drawing/2014/main" id="{93AB639B-F803-4F88-98C4-AD3F6514D825}"/>
              </a:ext>
            </a:extLst>
          </p:cNvPr>
          <p:cNvGrpSpPr/>
          <p:nvPr userDrawn="1"/>
        </p:nvGrpSpPr>
        <p:grpSpPr bwMode="gray">
          <a:xfrm>
            <a:off x="11024745" y="744393"/>
            <a:ext cx="929089" cy="1333317"/>
            <a:chOff x="9556679" y="3357986"/>
            <a:chExt cx="910580" cy="1306774"/>
          </a:xfrm>
        </p:grpSpPr>
        <p:grpSp>
          <p:nvGrpSpPr>
            <p:cNvPr id="114" name="MoonLegend1"/>
            <p:cNvGrpSpPr>
              <a:grpSpLocks noChangeAspect="1"/>
            </p:cNvGrpSpPr>
            <p:nvPr>
              <p:custDataLst>
                <p:tags r:id="rId35"/>
              </p:custDataLst>
            </p:nvPr>
          </p:nvGrpSpPr>
          <p:grpSpPr bwMode="gray">
            <a:xfrm>
              <a:off x="9556679" y="3357986"/>
              <a:ext cx="209550" cy="209551"/>
              <a:chOff x="4533" y="183"/>
              <a:chExt cx="144" cy="144"/>
            </a:xfrm>
          </p:grpSpPr>
          <p:sp>
            <p:nvSpPr>
              <p:cNvPr id="132" name="Oval 38"/>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3" name="Arc 39"/>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5" name="MoonLegend2"/>
            <p:cNvGrpSpPr>
              <a:grpSpLocks noChangeAspect="1"/>
            </p:cNvGrpSpPr>
            <p:nvPr>
              <p:custDataLst>
                <p:tags r:id="rId36"/>
              </p:custDataLst>
            </p:nvPr>
          </p:nvGrpSpPr>
          <p:grpSpPr bwMode="gray">
            <a:xfrm>
              <a:off x="9556679" y="3632292"/>
              <a:ext cx="209550" cy="209551"/>
              <a:chOff x="1694" y="2044"/>
              <a:chExt cx="160" cy="160"/>
            </a:xfrm>
          </p:grpSpPr>
          <p:sp>
            <p:nvSpPr>
              <p:cNvPr id="130" name="Oval 41"/>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1" name="Arc 42"/>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6" name="MoonLegend4"/>
            <p:cNvGrpSpPr>
              <a:grpSpLocks noChangeAspect="1"/>
            </p:cNvGrpSpPr>
            <p:nvPr>
              <p:custDataLst>
                <p:tags r:id="rId37"/>
              </p:custDataLst>
            </p:nvPr>
          </p:nvGrpSpPr>
          <p:grpSpPr bwMode="gray">
            <a:xfrm>
              <a:off x="9556679" y="4180904"/>
              <a:ext cx="209550" cy="209551"/>
              <a:chOff x="4495" y="1198"/>
              <a:chExt cx="160" cy="160"/>
            </a:xfrm>
          </p:grpSpPr>
          <p:sp>
            <p:nvSpPr>
              <p:cNvPr id="128" name="Oval 47"/>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9" name="Arc 48"/>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7" name="MoonLegend5"/>
            <p:cNvGrpSpPr>
              <a:grpSpLocks noChangeAspect="1"/>
            </p:cNvGrpSpPr>
            <p:nvPr>
              <p:custDataLst>
                <p:tags r:id="rId38"/>
              </p:custDataLst>
            </p:nvPr>
          </p:nvGrpSpPr>
          <p:grpSpPr bwMode="gray">
            <a:xfrm>
              <a:off x="9556679" y="4455209"/>
              <a:ext cx="209550" cy="209551"/>
              <a:chOff x="4495" y="1440"/>
              <a:chExt cx="160" cy="160"/>
            </a:xfrm>
          </p:grpSpPr>
          <p:sp>
            <p:nvSpPr>
              <p:cNvPr id="126" name="Oval 50"/>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7" name="Oval 51"/>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sp>
          <p:nvSpPr>
            <p:cNvPr id="118" name="Legend1"/>
            <p:cNvSpPr>
              <a:spLocks noChangeArrowheads="1"/>
            </p:cNvSpPr>
            <p:nvPr/>
          </p:nvSpPr>
          <p:spPr bwMode="gray">
            <a:xfrm>
              <a:off x="9877354" y="3370429"/>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19" name="Legend2"/>
            <p:cNvSpPr>
              <a:spLocks noChangeArrowheads="1"/>
            </p:cNvSpPr>
            <p:nvPr/>
          </p:nvSpPr>
          <p:spPr bwMode="gray">
            <a:xfrm>
              <a:off x="9877354" y="3644735"/>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0" name="Legend3"/>
            <p:cNvSpPr>
              <a:spLocks noChangeArrowheads="1"/>
            </p:cNvSpPr>
            <p:nvPr/>
          </p:nvSpPr>
          <p:spPr bwMode="gray">
            <a:xfrm>
              <a:off x="9877354" y="3919041"/>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1" name="Legend4"/>
            <p:cNvSpPr>
              <a:spLocks noChangeArrowheads="1"/>
            </p:cNvSpPr>
            <p:nvPr/>
          </p:nvSpPr>
          <p:spPr bwMode="gray">
            <a:xfrm>
              <a:off x="9877354" y="4193347"/>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2" name="Legend5"/>
            <p:cNvSpPr>
              <a:spLocks noChangeArrowheads="1"/>
            </p:cNvSpPr>
            <p:nvPr/>
          </p:nvSpPr>
          <p:spPr bwMode="gray">
            <a:xfrm>
              <a:off x="9877354" y="4467652"/>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nvGrpSpPr>
            <p:cNvPr id="123" name="MoonLegend3"/>
            <p:cNvGrpSpPr>
              <a:grpSpLocks noChangeAspect="1"/>
            </p:cNvGrpSpPr>
            <p:nvPr>
              <p:custDataLst>
                <p:tags r:id="rId39"/>
              </p:custDataLst>
            </p:nvPr>
          </p:nvGrpSpPr>
          <p:grpSpPr bwMode="gray">
            <a:xfrm>
              <a:off x="9556679" y="3906598"/>
              <a:ext cx="209550" cy="209551"/>
              <a:chOff x="4495" y="1198"/>
              <a:chExt cx="160" cy="160"/>
            </a:xfrm>
          </p:grpSpPr>
          <p:sp>
            <p:nvSpPr>
              <p:cNvPr id="124" name="Oval 47"/>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5" name="Arc 48"/>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grpSp>
        <p:nvGrpSpPr>
          <p:cNvPr id="134" name="Moon" hidden="1"/>
          <p:cNvGrpSpPr/>
          <p:nvPr userDrawn="1">
            <p:custDataLst>
              <p:tags r:id="rId15"/>
            </p:custDataLst>
          </p:nvPr>
        </p:nvGrpSpPr>
        <p:grpSpPr bwMode="gray">
          <a:xfrm>
            <a:off x="11699579" y="2479367"/>
            <a:ext cx="259163" cy="259159"/>
            <a:chOff x="762000" y="1270000"/>
            <a:chExt cx="254000" cy="254000"/>
          </a:xfrm>
        </p:grpSpPr>
        <p:sp>
          <p:nvSpPr>
            <p:cNvPr id="135" name="Oval 134"/>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24" dirty="0">
                <a:solidFill>
                  <a:schemeClr val="tx1"/>
                </a:solidFill>
                <a:latin typeface="+mn-lt"/>
                <a:ea typeface="+mn-ea"/>
                <a:cs typeface="+mn-cs"/>
                <a:sym typeface="+mn-lt"/>
              </a:endParaRPr>
            </a:p>
          </p:txBody>
        </p:sp>
        <p:sp>
          <p:nvSpPr>
            <p:cNvPr id="136" name="Arc 135"/>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224" dirty="0">
                <a:latin typeface="+mn-lt"/>
                <a:ea typeface="+mn-ea"/>
                <a:cs typeface="+mn-cs"/>
                <a:sym typeface="+mn-lt"/>
              </a:endParaRPr>
            </a:p>
          </p:txBody>
        </p:sp>
      </p:grpSp>
      <p:sp>
        <p:nvSpPr>
          <p:cNvPr id="137" name="Oval" hidden="1"/>
          <p:cNvSpPr txBox="1">
            <a:spLocks/>
          </p:cNvSpPr>
          <p:nvPr userDrawn="1">
            <p:custDataLst>
              <p:tags r:id="rId16"/>
            </p:custDataLst>
          </p:nvPr>
        </p:nvSpPr>
        <p:spPr bwMode="gray">
          <a:xfrm>
            <a:off x="6638635" y="1990667"/>
            <a:ext cx="1554978" cy="1554955"/>
          </a:xfrm>
          <a:prstGeom prst="ellipse">
            <a:avLst/>
          </a:prstGeom>
          <a:solidFill>
            <a:schemeClr val="accent1"/>
          </a:solidFill>
          <a:ln w="9525">
            <a:solidFill>
              <a:schemeClr val="tx1"/>
            </a:solidFill>
            <a:miter lim="800000"/>
            <a:headEnd/>
            <a:tailEnd/>
          </a:ln>
          <a:effectLst/>
        </p:spPr>
        <p:txBody>
          <a:bodyPr vert="horz" wrap="square" lIns="36731" tIns="36731" rIns="36731" bIns="36731"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r>
              <a:rPr lang="fr-FR" sz="1837" dirty="0" err="1">
                <a:latin typeface="+mn-lt"/>
                <a:ea typeface="+mn-ea"/>
                <a:cs typeface="+mn-cs"/>
                <a:sym typeface="+mn-lt"/>
              </a:rPr>
              <a:t>Text</a:t>
            </a:r>
            <a:endParaRPr lang="fr-FR" sz="1837" dirty="0">
              <a:latin typeface="+mn-lt"/>
              <a:ea typeface="+mn-ea"/>
              <a:cs typeface="+mn-cs"/>
              <a:sym typeface="+mn-lt"/>
            </a:endParaRPr>
          </a:p>
        </p:txBody>
      </p:sp>
      <p:sp>
        <p:nvSpPr>
          <p:cNvPr id="138" name="Body3" hidden="1"/>
          <p:cNvSpPr txBox="1">
            <a:spLocks/>
          </p:cNvSpPr>
          <p:nvPr userDrawn="1">
            <p:custDataLst>
              <p:tags r:id="rId17"/>
            </p:custDataLst>
          </p:nvPr>
        </p:nvSpPr>
        <p:spPr bwMode="gray">
          <a:xfrm>
            <a:off x="3252670" y="1990666"/>
            <a:ext cx="1554978" cy="1554955"/>
          </a:xfrm>
          <a:prstGeom prst="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39" name="RoundedRectangle" hidden="1"/>
          <p:cNvSpPr txBox="1">
            <a:spLocks/>
          </p:cNvSpPr>
          <p:nvPr userDrawn="1">
            <p:custDataLst>
              <p:tags r:id="rId18"/>
            </p:custDataLst>
          </p:nvPr>
        </p:nvSpPr>
        <p:spPr bwMode="gray">
          <a:xfrm>
            <a:off x="4945652" y="1990666"/>
            <a:ext cx="1554978" cy="1554955"/>
          </a:xfrm>
          <a:prstGeom prst="round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40" name="Arrow" hidden="1"/>
          <p:cNvSpPr txBox="1"/>
          <p:nvPr userDrawn="1">
            <p:custDataLst>
              <p:tags r:id="rId19"/>
            </p:custDataLst>
          </p:nvPr>
        </p:nvSpPr>
        <p:spPr bwMode="gray">
          <a:xfrm>
            <a:off x="3250429" y="4762932"/>
            <a:ext cx="1865974" cy="932973"/>
          </a:xfrm>
          <a:prstGeom prst="rightArrow">
            <a:avLst>
              <a:gd name="adj1" fmla="val 54000"/>
              <a:gd name="adj2" fmla="val 37678"/>
            </a:avLst>
          </a:prstGeom>
          <a:solidFill>
            <a:schemeClr val="accent1"/>
          </a:solidFill>
          <a:ln w="9525">
            <a:solidFill>
              <a:schemeClr val="tx1"/>
            </a:solidFill>
            <a:miter lim="800000"/>
            <a:headEnd/>
            <a:tailEnd/>
          </a:ln>
          <a:effectLst/>
        </p:spPr>
        <p:txBody>
          <a:bodyPr vert="horz" wrap="square" lIns="73462"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41" name="DirArrow" hidden="1"/>
          <p:cNvSpPr>
            <a:spLocks noChangeArrowheads="1"/>
          </p:cNvSpPr>
          <p:nvPr userDrawn="1">
            <p:custDataLst>
              <p:tags r:id="rId20"/>
            </p:custDataLst>
          </p:nvPr>
        </p:nvSpPr>
        <p:spPr bwMode="gray">
          <a:xfrm rot="5400000">
            <a:off x="6930088" y="3392198"/>
            <a:ext cx="3153449" cy="350388"/>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fr-FR" sz="1837" dirty="0">
              <a:latin typeface="+mn-lt"/>
              <a:ea typeface="+mn-ea"/>
              <a:cs typeface="+mn-cs"/>
              <a:sym typeface="+mn-lt"/>
            </a:endParaRPr>
          </a:p>
        </p:txBody>
      </p:sp>
      <p:grpSp>
        <p:nvGrpSpPr>
          <p:cNvPr id="143" name="Flow" hidden="1"/>
          <p:cNvGrpSpPr/>
          <p:nvPr userDrawn="1">
            <p:custDataLst>
              <p:tags r:id="rId21"/>
            </p:custDataLst>
          </p:nvPr>
        </p:nvGrpSpPr>
        <p:grpSpPr bwMode="gray">
          <a:xfrm>
            <a:off x="3252670" y="3687790"/>
            <a:ext cx="1865974" cy="932973"/>
            <a:chOff x="5905500" y="3124200"/>
            <a:chExt cx="1828800" cy="914400"/>
          </a:xfrm>
        </p:grpSpPr>
        <p:sp>
          <p:nvSpPr>
            <p:cNvPr id="144" name="Freeform 143"/>
            <p:cNvSpPr/>
            <p:nvPr>
              <p:custDataLst>
                <p:tags r:id="rId3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5" name="TextBox 144"/>
            <p:cNvSpPr txBox="1"/>
            <p:nvPr>
              <p:custDataLst>
                <p:tags r:id="rId34"/>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grpSp>
      <p:grpSp>
        <p:nvGrpSpPr>
          <p:cNvPr id="146" name="SplitFlow" hidden="1"/>
          <p:cNvGrpSpPr/>
          <p:nvPr userDrawn="1">
            <p:custDataLst>
              <p:tags r:id="rId22"/>
            </p:custDataLst>
          </p:nvPr>
        </p:nvGrpSpPr>
        <p:grpSpPr bwMode="gray">
          <a:xfrm>
            <a:off x="5298241" y="3687790"/>
            <a:ext cx="1865974" cy="932973"/>
            <a:chOff x="114300" y="1270000"/>
            <a:chExt cx="1828800" cy="914400"/>
          </a:xfrm>
        </p:grpSpPr>
        <p:sp>
          <p:nvSpPr>
            <p:cNvPr id="147" name="Freeform 146"/>
            <p:cNvSpPr/>
            <p:nvPr>
              <p:custDataLst>
                <p:tags r:id="rId29"/>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8" name="TextBox 147"/>
            <p:cNvSpPr txBox="1"/>
            <p:nvPr>
              <p:custDataLst>
                <p:tags r:id="rId30"/>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sp>
          <p:nvSpPr>
            <p:cNvPr id="149" name="Freeform 148"/>
            <p:cNvSpPr/>
            <p:nvPr>
              <p:custDataLst>
                <p:tags r:id="rId31"/>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50" name="TextBox 149"/>
            <p:cNvSpPr txBox="1"/>
            <p:nvPr>
              <p:custDataLst>
                <p:tags r:id="rId32"/>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grpSp>
      <p:sp>
        <p:nvSpPr>
          <p:cNvPr id="72" name="SingleChevron" hidden="1">
            <a:extLst>
              <a:ext uri="{FF2B5EF4-FFF2-40B4-BE49-F238E27FC236}">
                <a16:creationId xmlns:a16="http://schemas.microsoft.com/office/drawing/2014/main" id="{CFD5AFE5-CC7D-4FB1-A087-58F7234FB49B}"/>
              </a:ext>
            </a:extLst>
          </p:cNvPr>
          <p:cNvSpPr>
            <a:spLocks noChangeAspect="1"/>
          </p:cNvSpPr>
          <p:nvPr userDrawn="1">
            <p:custDataLst>
              <p:tags r:id="rId23"/>
            </p:custDataLst>
          </p:nvPr>
        </p:nvSpPr>
        <p:spPr bwMode="gray">
          <a:xfrm>
            <a:off x="5181194" y="4806387"/>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nvGrpSpPr>
          <p:cNvPr id="73" name="DoubleChevron2" hidden="1">
            <a:extLst>
              <a:ext uri="{FF2B5EF4-FFF2-40B4-BE49-F238E27FC236}">
                <a16:creationId xmlns:a16="http://schemas.microsoft.com/office/drawing/2014/main" id="{1FBC2DCA-E208-40E8-8F09-4A1C8DC50063}"/>
              </a:ext>
            </a:extLst>
          </p:cNvPr>
          <p:cNvGrpSpPr>
            <a:grpSpLocks noChangeAspect="1"/>
          </p:cNvGrpSpPr>
          <p:nvPr userDrawn="1">
            <p:custDataLst>
              <p:tags r:id="rId24"/>
            </p:custDataLst>
          </p:nvPr>
        </p:nvGrpSpPr>
        <p:grpSpPr bwMode="gray">
          <a:xfrm>
            <a:off x="6475482" y="4806387"/>
            <a:ext cx="1268194" cy="1554955"/>
            <a:chOff x="1270000" y="1270000"/>
            <a:chExt cx="2951957" cy="3619500"/>
          </a:xfrm>
          <a:solidFill>
            <a:schemeClr val="accent1"/>
          </a:solidFill>
        </p:grpSpPr>
        <p:sp>
          <p:nvSpPr>
            <p:cNvPr id="74" name="Chevron1">
              <a:extLst>
                <a:ext uri="{FF2B5EF4-FFF2-40B4-BE49-F238E27FC236}">
                  <a16:creationId xmlns:a16="http://schemas.microsoft.com/office/drawing/2014/main" id="{2097777E-B149-4273-9309-E088098950F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5" name="Chevron2">
              <a:extLst>
                <a:ext uri="{FF2B5EF4-FFF2-40B4-BE49-F238E27FC236}">
                  <a16:creationId xmlns:a16="http://schemas.microsoft.com/office/drawing/2014/main" id="{D044F81E-D42E-4361-ADB9-5B1D2619FFC2}"/>
                </a:ext>
              </a:extLst>
            </p:cNvPr>
            <p:cNvSpPr>
              <a:spLocks noChangeAspect="1"/>
            </p:cNvSpPr>
            <p:nvPr>
              <p:custDataLst>
                <p:tags r:id="rId28"/>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grpSp>
        <p:nvGrpSpPr>
          <p:cNvPr id="76" name="DoubleChevron" hidden="1">
            <a:extLst>
              <a:ext uri="{FF2B5EF4-FFF2-40B4-BE49-F238E27FC236}">
                <a16:creationId xmlns:a16="http://schemas.microsoft.com/office/drawing/2014/main" id="{D85098D3-9F28-4FED-BA27-5B4E44E0AFE4}"/>
              </a:ext>
            </a:extLst>
          </p:cNvPr>
          <p:cNvGrpSpPr>
            <a:grpSpLocks noChangeAspect="1"/>
          </p:cNvGrpSpPr>
          <p:nvPr userDrawn="1">
            <p:custDataLst>
              <p:tags r:id="rId25"/>
            </p:custDataLst>
          </p:nvPr>
        </p:nvGrpSpPr>
        <p:grpSpPr bwMode="gray">
          <a:xfrm>
            <a:off x="5651016" y="4806387"/>
            <a:ext cx="1034947" cy="1554955"/>
            <a:chOff x="1270000" y="1270000"/>
            <a:chExt cx="2409032" cy="3619500"/>
          </a:xfrm>
          <a:solidFill>
            <a:schemeClr val="accent1"/>
          </a:solidFill>
        </p:grpSpPr>
        <p:sp>
          <p:nvSpPr>
            <p:cNvPr id="78" name="Chevron1">
              <a:extLst>
                <a:ext uri="{FF2B5EF4-FFF2-40B4-BE49-F238E27FC236}">
                  <a16:creationId xmlns:a16="http://schemas.microsoft.com/office/drawing/2014/main" id="{CE8944BF-22D3-4A15-9B5A-6B27911D4251}"/>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9" name="Chevron2">
              <a:extLst>
                <a:ext uri="{FF2B5EF4-FFF2-40B4-BE49-F238E27FC236}">
                  <a16:creationId xmlns:a16="http://schemas.microsoft.com/office/drawing/2014/main" id="{1860B34E-AF48-4E3A-BC9E-C7CF9D0E3AEF}"/>
                </a:ext>
              </a:extLst>
            </p:cNvPr>
            <p:cNvSpPr>
              <a:spLocks noChangeAspect="1"/>
            </p:cNvSpPr>
            <p:nvPr>
              <p:custDataLst>
                <p:tags r:id="rId27"/>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sp>
        <p:nvSpPr>
          <p:cNvPr id="80" name="Bracket" hidden="1">
            <a:extLst>
              <a:ext uri="{FF2B5EF4-FFF2-40B4-BE49-F238E27FC236}">
                <a16:creationId xmlns:a16="http://schemas.microsoft.com/office/drawing/2014/main" id="{4199AD2B-7E07-4AFE-A9B0-A509DBC7C910}"/>
              </a:ext>
            </a:extLst>
          </p:cNvPr>
          <p:cNvSpPr>
            <a:spLocks noChangeAspect="1"/>
          </p:cNvSpPr>
          <p:nvPr userDrawn="1">
            <p:custDataLst>
              <p:tags r:id="rId26"/>
            </p:custDataLst>
          </p:nvPr>
        </p:nvSpPr>
        <p:spPr bwMode="gray">
          <a:xfrm>
            <a:off x="7984404" y="3964119"/>
            <a:ext cx="194372" cy="1684536"/>
          </a:xfrm>
          <a:custGeom>
            <a:avLst/>
            <a:gdLst>
              <a:gd name="connsiteX0" fmla="*/ 0 w 273710"/>
              <a:gd name="connsiteY0" fmla="*/ 0 h 2908300"/>
              <a:gd name="connsiteX1" fmla="*/ 210210 w 273710"/>
              <a:gd name="connsiteY1" fmla="*/ 125730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10533 w 273710"/>
              <a:gd name="connsiteY2" fmla="*/ 7620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210210 w 210210"/>
              <a:gd name="connsiteY4" fmla="*/ 2146300 h 2908300"/>
              <a:gd name="connsiteX5" fmla="*/ 210210 w 210210"/>
              <a:gd name="connsiteY5" fmla="*/ 2908300 h 2908300"/>
              <a:gd name="connsiteX6" fmla="*/ 83210 w 2102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10533 w 210210"/>
              <a:gd name="connsiteY4" fmla="*/ 889000 h 2908300"/>
              <a:gd name="connsiteX5" fmla="*/ 210210 w 210210"/>
              <a:gd name="connsiteY5" fmla="*/ 2908300 h 2908300"/>
              <a:gd name="connsiteX6" fmla="*/ 83210 w 210210"/>
              <a:gd name="connsiteY6" fmla="*/ 2908300 h 2908300"/>
              <a:gd name="connsiteX0" fmla="*/ 0 w 83210"/>
              <a:gd name="connsiteY0" fmla="*/ 0 h 2908300"/>
              <a:gd name="connsiteX1" fmla="*/ 10533 w 83210"/>
              <a:gd name="connsiteY1" fmla="*/ 0 h 2908300"/>
              <a:gd name="connsiteX2" fmla="*/ 10533 w 83210"/>
              <a:gd name="connsiteY2" fmla="*/ 762000 h 2908300"/>
              <a:gd name="connsiteX3" fmla="*/ 15799 w 83210"/>
              <a:gd name="connsiteY3" fmla="*/ 825500 h 2908300"/>
              <a:gd name="connsiteX4" fmla="*/ 10533 w 83210"/>
              <a:gd name="connsiteY4" fmla="*/ 889000 h 2908300"/>
              <a:gd name="connsiteX5" fmla="*/ 10533 w 83210"/>
              <a:gd name="connsiteY5" fmla="*/ 1651001 h 2908300"/>
              <a:gd name="connsiteX6" fmla="*/ 83210 w 83210"/>
              <a:gd name="connsiteY6" fmla="*/ 2908300 h 2908300"/>
              <a:gd name="connsiteX0" fmla="*/ 0 w 15799"/>
              <a:gd name="connsiteY0" fmla="*/ 0 h 1651001"/>
              <a:gd name="connsiteX1" fmla="*/ 10533 w 15799"/>
              <a:gd name="connsiteY1" fmla="*/ 0 h 1651001"/>
              <a:gd name="connsiteX2" fmla="*/ 10533 w 15799"/>
              <a:gd name="connsiteY2" fmla="*/ 762000 h 1651001"/>
              <a:gd name="connsiteX3" fmla="*/ 15799 w 15799"/>
              <a:gd name="connsiteY3" fmla="*/ 825500 h 1651001"/>
              <a:gd name="connsiteX4" fmla="*/ 10533 w 15799"/>
              <a:gd name="connsiteY4" fmla="*/ 889000 h 1651001"/>
              <a:gd name="connsiteX5" fmla="*/ 10533 w 15799"/>
              <a:gd name="connsiteY5" fmla="*/ 1651001 h 1651001"/>
              <a:gd name="connsiteX6" fmla="*/ 0 w 15799"/>
              <a:gd name="connsiteY6" fmla="*/ 1651001 h 1651001"/>
              <a:gd name="connsiteX0" fmla="*/ 0 w 376545"/>
              <a:gd name="connsiteY0" fmla="*/ 0 h 5536204"/>
              <a:gd name="connsiteX1" fmla="*/ 371279 w 376545"/>
              <a:gd name="connsiteY1" fmla="*/ 3885203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5855 w 376545"/>
              <a:gd name="connsiteY2" fmla="*/ 762000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371279 w 371279"/>
              <a:gd name="connsiteY4" fmla="*/ 4774203 h 5536204"/>
              <a:gd name="connsiteX5" fmla="*/ 371279 w 371279"/>
              <a:gd name="connsiteY5" fmla="*/ 5536204 h 5536204"/>
              <a:gd name="connsiteX6" fmla="*/ 360746 w 371279"/>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5855 w 371279"/>
              <a:gd name="connsiteY4" fmla="*/ 889000 h 5536204"/>
              <a:gd name="connsiteX5" fmla="*/ 371279 w 371279"/>
              <a:gd name="connsiteY5" fmla="*/ 5536204 h 5536204"/>
              <a:gd name="connsiteX6" fmla="*/ 360746 w 371279"/>
              <a:gd name="connsiteY6" fmla="*/ 5536204 h 5536204"/>
              <a:gd name="connsiteX0" fmla="*/ 0 w 360746"/>
              <a:gd name="connsiteY0" fmla="*/ 0 h 5536204"/>
              <a:gd name="connsiteX1" fmla="*/ 5855 w 360746"/>
              <a:gd name="connsiteY1" fmla="*/ 0 h 5536204"/>
              <a:gd name="connsiteX2" fmla="*/ 5855 w 360746"/>
              <a:gd name="connsiteY2" fmla="*/ 762000 h 5536204"/>
              <a:gd name="connsiteX3" fmla="*/ 8782 w 360746"/>
              <a:gd name="connsiteY3" fmla="*/ 825500 h 5536204"/>
              <a:gd name="connsiteX4" fmla="*/ 5855 w 360746"/>
              <a:gd name="connsiteY4" fmla="*/ 889000 h 5536204"/>
              <a:gd name="connsiteX5" fmla="*/ 5855 w 360746"/>
              <a:gd name="connsiteY5" fmla="*/ 1651001 h 5536204"/>
              <a:gd name="connsiteX6" fmla="*/ 360746 w 360746"/>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1 w 8782"/>
              <a:gd name="connsiteY6" fmla="*/ 1651001 h 1651001"/>
              <a:gd name="connsiteX0" fmla="*/ 0 w 369528"/>
              <a:gd name="connsiteY0" fmla="*/ 0 h 5536204"/>
              <a:gd name="connsiteX1" fmla="*/ 366601 w 369528"/>
              <a:gd name="connsiteY1" fmla="*/ 3885203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5855 w 369528"/>
              <a:gd name="connsiteY2" fmla="*/ 762000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366601 w 366601"/>
              <a:gd name="connsiteY4" fmla="*/ 4774203 h 5536204"/>
              <a:gd name="connsiteX5" fmla="*/ 366601 w 366601"/>
              <a:gd name="connsiteY5" fmla="*/ 5536204 h 5536204"/>
              <a:gd name="connsiteX6" fmla="*/ 360747 w 366601"/>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5855 w 366601"/>
              <a:gd name="connsiteY4" fmla="*/ 889000 h 5536204"/>
              <a:gd name="connsiteX5" fmla="*/ 366601 w 366601"/>
              <a:gd name="connsiteY5" fmla="*/ 5536204 h 5536204"/>
              <a:gd name="connsiteX6" fmla="*/ 360747 w 366601"/>
              <a:gd name="connsiteY6" fmla="*/ 5536204 h 5536204"/>
              <a:gd name="connsiteX0" fmla="*/ 0 w 360747"/>
              <a:gd name="connsiteY0" fmla="*/ 0 h 5536204"/>
              <a:gd name="connsiteX1" fmla="*/ 5855 w 360747"/>
              <a:gd name="connsiteY1" fmla="*/ 0 h 5536204"/>
              <a:gd name="connsiteX2" fmla="*/ 5855 w 360747"/>
              <a:gd name="connsiteY2" fmla="*/ 762000 h 5536204"/>
              <a:gd name="connsiteX3" fmla="*/ 8782 w 360747"/>
              <a:gd name="connsiteY3" fmla="*/ 825500 h 5536204"/>
              <a:gd name="connsiteX4" fmla="*/ 5855 w 360747"/>
              <a:gd name="connsiteY4" fmla="*/ 889000 h 5536204"/>
              <a:gd name="connsiteX5" fmla="*/ 5855 w 360747"/>
              <a:gd name="connsiteY5" fmla="*/ 1651001 h 5536204"/>
              <a:gd name="connsiteX6" fmla="*/ 360747 w 360747"/>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0 w 8782"/>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2" h="1651001">
                <a:moveTo>
                  <a:pt x="0" y="0"/>
                </a:moveTo>
                <a:lnTo>
                  <a:pt x="5855" y="0"/>
                </a:lnTo>
                <a:lnTo>
                  <a:pt x="5855" y="762000"/>
                </a:lnTo>
                <a:lnTo>
                  <a:pt x="8782" y="825500"/>
                </a:lnTo>
                <a:lnTo>
                  <a:pt x="5855" y="889000"/>
                </a:lnTo>
                <a:lnTo>
                  <a:pt x="5855"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a:latin typeface="+mn-lt"/>
              <a:ea typeface="+mn-ea"/>
              <a:cs typeface="+mn-cs"/>
              <a:sym typeface="+mn-lt"/>
            </a:endParaRPr>
          </a:p>
        </p:txBody>
      </p:sp>
      <p:pic>
        <p:nvPicPr>
          <p:cNvPr id="7" name="Picture 6">
            <a:extLst>
              <a:ext uri="{FF2B5EF4-FFF2-40B4-BE49-F238E27FC236}">
                <a16:creationId xmlns:a16="http://schemas.microsoft.com/office/drawing/2014/main" id="{5563EAAC-4950-4FB8-B154-C6916F3ACCA5}"/>
              </a:ext>
            </a:extLst>
          </p:cNvPr>
          <p:cNvPicPr>
            <a:picLocks noChangeAspect="1"/>
          </p:cNvPicPr>
          <p:nvPr userDrawn="1"/>
        </p:nvPicPr>
        <p:blipFill>
          <a:blip r:embed="rId52"/>
          <a:stretch>
            <a:fillRect/>
          </a:stretch>
        </p:blipFill>
        <p:spPr bwMode="gray">
          <a:xfrm>
            <a:off x="11038433" y="293333"/>
            <a:ext cx="920308" cy="356243"/>
          </a:xfrm>
          <a:prstGeom prst="rect">
            <a:avLst/>
          </a:prstGeom>
        </p:spPr>
      </p:pic>
    </p:spTree>
    <p:extLst>
      <p:ext uri="{BB962C8B-B14F-4D97-AF65-F5344CB8AC3E}">
        <p14:creationId xmlns:p14="http://schemas.microsoft.com/office/powerpoint/2010/main" val="38017785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8" r:id="rId9"/>
    <p:sldLayoutId id="2147483679" r:id="rId10"/>
    <p:sldLayoutId id="2147483680" r:id="rId11"/>
  </p:sldLayoutIdLst>
  <p:hf sldNum="0" hdr="0" ftr="0" dt="0"/>
  <p:txStyles>
    <p:titleStyle>
      <a:lvl1pPr algn="l" defTabSz="1218095" rtl="0" eaLnBrk="1" fontAlgn="base" hangingPunct="1">
        <a:spcBef>
          <a:spcPct val="0"/>
        </a:spcBef>
        <a:spcAft>
          <a:spcPct val="0"/>
        </a:spcAft>
        <a:tabLst>
          <a:tab pos="456763" algn="l"/>
        </a:tabLst>
        <a:defRPr sz="2449" b="1" baseline="0">
          <a:solidFill>
            <a:schemeClr val="tx2"/>
          </a:solidFill>
          <a:latin typeface="+mj-lt"/>
          <a:ea typeface="+mj-ea"/>
          <a:cs typeface="+mj-cs"/>
          <a:sym typeface="+mj-lt"/>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1218095" rtl="0" eaLnBrk="1" fontAlgn="base" hangingPunct="1">
        <a:spcBef>
          <a:spcPct val="0"/>
        </a:spcBef>
        <a:spcAft>
          <a:spcPct val="0"/>
        </a:spcAft>
        <a:buClr>
          <a:schemeClr val="tx2"/>
        </a:buClr>
        <a:defRPr sz="1632" baseline="0">
          <a:solidFill>
            <a:schemeClr val="tx1"/>
          </a:solidFill>
          <a:latin typeface="+mn-lt"/>
          <a:ea typeface="+mn-ea"/>
          <a:cs typeface="+mn-cs"/>
          <a:sym typeface="+mn-lt"/>
        </a:defRPr>
      </a:lvl1pPr>
      <a:lvl2pPr marL="183654" indent="-183654" algn="l" defTabSz="1218095"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mn-ea"/>
          <a:cs typeface="+mn-cs"/>
          <a:sym typeface="+mn-lt"/>
        </a:defRPr>
      </a:lvl2pPr>
      <a:lvl3pPr marL="367308" indent="-183654" algn="l" defTabSz="1218095"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mn-ea"/>
          <a:cs typeface="+mn-cs"/>
          <a:sym typeface="+mn-lt"/>
        </a:defRPr>
      </a:lvl3pPr>
      <a:lvl4pPr marL="550962" indent="-183654" algn="l" defTabSz="1218095"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ea typeface="+mn-ea"/>
          <a:cs typeface="+mn-cs"/>
          <a:sym typeface="+mn-lt"/>
        </a:defRPr>
      </a:lvl4pPr>
      <a:lvl5pPr marL="734616" indent="-183654" algn="l" defTabSz="121809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mn-ea"/>
          <a:cs typeface="+mn-cs"/>
          <a:sym typeface="+mn-lt"/>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339367976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5" imgW="270" imgH="270" progId="TCLayout.ActiveDocument.1">
                  <p:embed/>
                </p:oleObj>
              </mc:Choice>
              <mc:Fallback>
                <p:oleObj name="think-cell Slide" r:id="rId45" imgW="270" imgH="270" progId="TCLayout.ActiveDocument.1">
                  <p:embed/>
                  <p:pic>
                    <p:nvPicPr>
                      <p:cNvPr id="2" name="Object 1" hidden="1"/>
                      <p:cNvPicPr/>
                      <p:nvPr/>
                    </p:nvPicPr>
                    <p:blipFill>
                      <a:blip r:embed="rId46"/>
                      <a:stretch>
                        <a:fillRect/>
                      </a:stretch>
                    </p:blipFill>
                    <p:spPr>
                      <a:xfrm>
                        <a:off x="0" y="0"/>
                        <a:ext cx="215979" cy="16197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B9D14E-E29D-4FA7-9685-6BCA1FEB12D6}"/>
              </a:ext>
            </a:extLst>
          </p:cNvPr>
          <p:cNvSpPr/>
          <p:nvPr userDrawn="1">
            <p:custDataLst>
              <p:tags r:id="rId9"/>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74" name="Group 173">
            <a:extLst>
              <a:ext uri="{FF2B5EF4-FFF2-40B4-BE49-F238E27FC236}">
                <a16:creationId xmlns:a16="http://schemas.microsoft.com/office/drawing/2014/main" id="{52951E77-9540-407C-9284-35C3A0ED2E94}"/>
              </a:ext>
            </a:extLst>
          </p:cNvPr>
          <p:cNvGrpSpPr/>
          <p:nvPr userDrawn="1"/>
        </p:nvGrpSpPr>
        <p:grpSpPr bwMode="gray">
          <a:xfrm>
            <a:off x="7984404" y="6007889"/>
            <a:ext cx="4210025" cy="858160"/>
            <a:chOff x="4310063" y="5171734"/>
            <a:chExt cx="7641431" cy="1557630"/>
          </a:xfrm>
        </p:grpSpPr>
        <p:cxnSp>
          <p:nvCxnSpPr>
            <p:cNvPr id="176" name="Straight Connector 175">
              <a:extLst>
                <a:ext uri="{FF2B5EF4-FFF2-40B4-BE49-F238E27FC236}">
                  <a16:creationId xmlns:a16="http://schemas.microsoft.com/office/drawing/2014/main" id="{720A0113-BAB1-4530-8DB1-025C6DB1973B}"/>
                </a:ext>
              </a:extLst>
            </p:cNvPr>
            <p:cNvCxnSpPr>
              <a:cxnSpLocks/>
            </p:cNvCxnSpPr>
            <p:nvPr/>
          </p:nvCxnSpPr>
          <p:spPr bwMode="gray">
            <a:xfrm flipV="1">
              <a:off x="11491913" y="6478879"/>
              <a:ext cx="449391" cy="24339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052EB10-AB34-41D2-B2FD-A715046C855D}"/>
                </a:ext>
              </a:extLst>
            </p:cNvPr>
            <p:cNvCxnSpPr>
              <a:cxnSpLocks/>
            </p:cNvCxnSpPr>
            <p:nvPr/>
          </p:nvCxnSpPr>
          <p:spPr bwMode="gray">
            <a:xfrm flipV="1">
              <a:off x="10732294" y="5174456"/>
              <a:ext cx="1219200" cy="154781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CD25449-E084-4257-986E-2552A5C4AC0A}"/>
                </a:ext>
              </a:extLst>
            </p:cNvPr>
            <p:cNvCxnSpPr>
              <a:cxnSpLocks/>
            </p:cNvCxnSpPr>
            <p:nvPr/>
          </p:nvCxnSpPr>
          <p:spPr bwMode="gray">
            <a:xfrm flipV="1">
              <a:off x="8481060" y="6161838"/>
              <a:ext cx="3468053" cy="55251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C4E1E313-8EE9-4796-988D-310D1CDA6FA0}"/>
                </a:ext>
              </a:extLst>
            </p:cNvPr>
            <p:cNvCxnSpPr>
              <a:cxnSpLocks/>
            </p:cNvCxnSpPr>
            <p:nvPr/>
          </p:nvCxnSpPr>
          <p:spPr bwMode="gray">
            <a:xfrm>
              <a:off x="9448800" y="5622131"/>
              <a:ext cx="378619" cy="11049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6E1AD96-69D3-40D4-B180-F459E3C137E3}"/>
                </a:ext>
              </a:extLst>
            </p:cNvPr>
            <p:cNvCxnSpPr>
              <a:cxnSpLocks/>
            </p:cNvCxnSpPr>
            <p:nvPr/>
          </p:nvCxnSpPr>
          <p:spPr bwMode="gray">
            <a:xfrm flipV="1">
              <a:off x="10438292" y="5171734"/>
              <a:ext cx="1510821" cy="23978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A65D4EB-6358-4F3A-BB3B-607EB428E922}"/>
                </a:ext>
              </a:extLst>
            </p:cNvPr>
            <p:cNvCxnSpPr>
              <a:cxnSpLocks/>
            </p:cNvCxnSpPr>
            <p:nvPr/>
          </p:nvCxnSpPr>
          <p:spPr bwMode="gray">
            <a:xfrm flipV="1">
              <a:off x="6880804" y="6019800"/>
              <a:ext cx="691784" cy="61759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7E0AB76-566B-4C51-9D94-C31655396FB3}"/>
                </a:ext>
              </a:extLst>
            </p:cNvPr>
            <p:cNvCxnSpPr>
              <a:cxnSpLocks/>
            </p:cNvCxnSpPr>
            <p:nvPr/>
          </p:nvCxnSpPr>
          <p:spPr bwMode="gray">
            <a:xfrm flipV="1">
              <a:off x="4310063" y="5411515"/>
              <a:ext cx="6128228" cy="130675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7AEBB3D-C1E7-41F2-833F-02792E046714}"/>
                </a:ext>
              </a:extLst>
            </p:cNvPr>
            <p:cNvCxnSpPr>
              <a:cxnSpLocks/>
            </p:cNvCxnSpPr>
            <p:nvPr/>
          </p:nvCxnSpPr>
          <p:spPr bwMode="gray">
            <a:xfrm flipV="1">
              <a:off x="6811302" y="6626678"/>
              <a:ext cx="80036" cy="9797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27A3DEE3-9B06-40EB-BDF6-A2F58C952260}"/>
                </a:ext>
              </a:extLst>
            </p:cNvPr>
            <p:cNvCxnSpPr>
              <a:cxnSpLocks/>
            </p:cNvCxnSpPr>
            <p:nvPr/>
          </p:nvCxnSpPr>
          <p:spPr bwMode="gray">
            <a:xfrm>
              <a:off x="10445727" y="5411514"/>
              <a:ext cx="791392" cy="131313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9E28888D-ABAF-4074-A7C4-5FB338E3E731}"/>
                </a:ext>
              </a:extLst>
            </p:cNvPr>
            <p:cNvCxnSpPr>
              <a:cxnSpLocks/>
            </p:cNvCxnSpPr>
            <p:nvPr/>
          </p:nvCxnSpPr>
          <p:spPr bwMode="gray">
            <a:xfrm flipH="1">
              <a:off x="10216562" y="5411514"/>
              <a:ext cx="221730" cy="130678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0A0CC43-8DA0-4074-9D11-7C45E629EB62}"/>
                </a:ext>
              </a:extLst>
            </p:cNvPr>
            <p:cNvCxnSpPr>
              <a:cxnSpLocks/>
            </p:cNvCxnSpPr>
            <p:nvPr/>
          </p:nvCxnSpPr>
          <p:spPr bwMode="gray">
            <a:xfrm flipV="1">
              <a:off x="9896475" y="6303169"/>
              <a:ext cx="1178719" cy="42386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B616F70-09C6-4CA4-8EC0-E76D396DCCFA}"/>
                </a:ext>
              </a:extLst>
            </p:cNvPr>
            <p:cNvCxnSpPr>
              <a:cxnSpLocks/>
            </p:cNvCxnSpPr>
            <p:nvPr/>
          </p:nvCxnSpPr>
          <p:spPr bwMode="gray">
            <a:xfrm>
              <a:off x="11060906" y="6307591"/>
              <a:ext cx="888207" cy="17128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C0F1607E-D2A1-444B-BD14-AF5EE1B1091F}"/>
                </a:ext>
              </a:extLst>
            </p:cNvPr>
            <p:cNvCxnSpPr>
              <a:cxnSpLocks/>
            </p:cNvCxnSpPr>
            <p:nvPr/>
          </p:nvCxnSpPr>
          <p:spPr bwMode="gray">
            <a:xfrm>
              <a:off x="8275686" y="6373196"/>
              <a:ext cx="563514" cy="35616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32D7D0D-1516-4F3D-B037-EF5B0A3AC985}"/>
                </a:ext>
              </a:extLst>
            </p:cNvPr>
            <p:cNvCxnSpPr>
              <a:cxnSpLocks/>
            </p:cNvCxnSpPr>
            <p:nvPr/>
          </p:nvCxnSpPr>
          <p:spPr bwMode="gray">
            <a:xfrm>
              <a:off x="5564981" y="6452289"/>
              <a:ext cx="2043956" cy="26855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39364AD-6789-4EB0-A59C-00B7C752AC6F}"/>
                </a:ext>
              </a:extLst>
            </p:cNvPr>
            <p:cNvCxnSpPr>
              <a:cxnSpLocks/>
            </p:cNvCxnSpPr>
            <p:nvPr/>
          </p:nvCxnSpPr>
          <p:spPr bwMode="gray">
            <a:xfrm flipV="1">
              <a:off x="8191500" y="5407819"/>
              <a:ext cx="2255044" cy="131195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7C7DE3A-5365-4EDF-8A8F-3CCCB52A3FC0}"/>
                </a:ext>
              </a:extLst>
            </p:cNvPr>
            <p:cNvCxnSpPr>
              <a:cxnSpLocks/>
            </p:cNvCxnSpPr>
            <p:nvPr/>
          </p:nvCxnSpPr>
          <p:spPr bwMode="gray">
            <a:xfrm flipV="1">
              <a:off x="6872288" y="6141244"/>
              <a:ext cx="139346" cy="58678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ECCC48B0-F028-4263-A156-B4C1A1D8B59F}"/>
                </a:ext>
              </a:extLst>
            </p:cNvPr>
            <p:cNvCxnSpPr>
              <a:cxnSpLocks/>
            </p:cNvCxnSpPr>
            <p:nvPr/>
          </p:nvCxnSpPr>
          <p:spPr bwMode="gray">
            <a:xfrm>
              <a:off x="7455355" y="6043613"/>
              <a:ext cx="565813" cy="68103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A097F2E4-191C-4406-924B-4EAAF8F47F46}"/>
                </a:ext>
              </a:extLst>
            </p:cNvPr>
            <p:cNvCxnSpPr>
              <a:cxnSpLocks/>
            </p:cNvCxnSpPr>
            <p:nvPr/>
          </p:nvCxnSpPr>
          <p:spPr bwMode="gray">
            <a:xfrm flipV="1">
              <a:off x="8096785" y="5815013"/>
              <a:ext cx="448341" cy="90582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056E57E-0F2D-4B3A-8D27-CE41FA00F15D}"/>
                </a:ext>
              </a:extLst>
            </p:cNvPr>
            <p:cNvCxnSpPr>
              <a:cxnSpLocks/>
            </p:cNvCxnSpPr>
            <p:nvPr/>
          </p:nvCxnSpPr>
          <p:spPr bwMode="gray">
            <a:xfrm>
              <a:off x="7693405" y="6000750"/>
              <a:ext cx="583225" cy="35955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910404F-8FC3-4C3E-97BA-BDB86BF96105}"/>
                </a:ext>
              </a:extLst>
            </p:cNvPr>
            <p:cNvCxnSpPr>
              <a:cxnSpLocks/>
            </p:cNvCxnSpPr>
            <p:nvPr/>
          </p:nvCxnSpPr>
          <p:spPr bwMode="gray">
            <a:xfrm>
              <a:off x="10441781" y="5412582"/>
              <a:ext cx="1507332" cy="47863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36" name="Rectangle 286"/>
          <p:cNvSpPr>
            <a:spLocks noGrp="1" noChangeArrowheads="1"/>
          </p:cNvSpPr>
          <p:nvPr>
            <p:ph type="body" idx="1"/>
          </p:nvPr>
        </p:nvSpPr>
        <p:spPr bwMode="gray">
          <a:xfrm>
            <a:off x="233259" y="2479367"/>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r-FR" noProof="0" dirty="0"/>
          </a:p>
        </p:txBody>
      </p:sp>
      <p:sp>
        <p:nvSpPr>
          <p:cNvPr id="19" name="Title Placeholder 2"/>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Click to edit Master title style</a:t>
            </a:r>
            <a:endParaRPr lang="fr-FR" noProof="0" dirty="0"/>
          </a:p>
        </p:txBody>
      </p:sp>
      <p:sp>
        <p:nvSpPr>
          <p:cNvPr id="13" name="4. Footnote" hidden="1"/>
          <p:cNvSpPr txBox="1">
            <a:spLocks noChangeArrowheads="1"/>
          </p:cNvSpPr>
          <p:nvPr/>
        </p:nvSpPr>
        <p:spPr bwMode="gray">
          <a:xfrm>
            <a:off x="233259" y="635208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0423" indent="-100423">
              <a:defRPr/>
            </a:pPr>
            <a:r>
              <a:rPr lang="fr-FR" sz="1020" kern="1200" baseline="0" noProof="0" dirty="0">
                <a:solidFill>
                  <a:schemeClr val="tx1"/>
                </a:solidFill>
                <a:latin typeface="+mn-lt"/>
                <a:ea typeface="+mn-ea"/>
                <a:cs typeface="+mn-cs"/>
                <a:sym typeface="+mn-lt"/>
              </a:rPr>
              <a:t>1 Note de bas de page</a:t>
            </a:r>
          </a:p>
        </p:txBody>
      </p:sp>
      <p:sp>
        <p:nvSpPr>
          <p:cNvPr id="14" name="5. Source" hidden="1"/>
          <p:cNvSpPr>
            <a:spLocks noChangeArrowheads="1"/>
          </p:cNvSpPr>
          <p:nvPr/>
        </p:nvSpPr>
        <p:spPr bwMode="gray">
          <a:xfrm>
            <a:off x="233259" y="6543215"/>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1341" indent="-471341" defTabSz="913526">
              <a:tabLst/>
            </a:pPr>
            <a:r>
              <a:rPr lang="fr-FR" sz="1020" kern="1200" baseline="0" noProof="0" dirty="0">
                <a:solidFill>
                  <a:srgbClr val="000000"/>
                </a:solidFill>
                <a:latin typeface="+mn-lt"/>
                <a:ea typeface="+mn-ea"/>
                <a:cs typeface="+mn-cs"/>
                <a:sym typeface="+mn-lt"/>
              </a:rPr>
              <a:t>Source: Source</a:t>
            </a:r>
          </a:p>
        </p:txBody>
      </p:sp>
      <p:grpSp>
        <p:nvGrpSpPr>
          <p:cNvPr id="15" name="ACET" hidden="1"/>
          <p:cNvGrpSpPr>
            <a:grpSpLocks/>
          </p:cNvGrpSpPr>
          <p:nvPr/>
        </p:nvGrpSpPr>
        <p:grpSpPr bwMode="gray">
          <a:xfrm>
            <a:off x="233258" y="1847897"/>
            <a:ext cx="2919041"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fr-FR" sz="1632" b="1" kern="1200" baseline="0" noProof="0" dirty="0">
                  <a:solidFill>
                    <a:schemeClr val="tx1"/>
                  </a:solidFill>
                  <a:latin typeface="+mn-lt"/>
                  <a:ea typeface="+mn-ea"/>
                  <a:cs typeface="+mn-cs"/>
                  <a:sym typeface="+mn-lt"/>
                </a:rPr>
                <a:t>Titre</a:t>
              </a:r>
            </a:p>
            <a:p>
              <a:r>
                <a:rPr lang="fr-FR" sz="1632" b="0" kern="1200" baseline="0" noProof="0" dirty="0">
                  <a:solidFill>
                    <a:schemeClr val="tx1"/>
                  </a:solidFill>
                  <a:latin typeface="+mn-lt"/>
                  <a:ea typeface="+mn-ea"/>
                  <a:cs typeface="+mn-cs"/>
                  <a:sym typeface="+mn-lt"/>
                </a:rPr>
                <a:t>Unité de mesure</a:t>
              </a:r>
            </a:p>
          </p:txBody>
        </p:sp>
      </p:grpSp>
      <p:sp>
        <p:nvSpPr>
          <p:cNvPr id="3" name="pg number"/>
          <p:cNvSpPr>
            <a:spLocks/>
          </p:cNvSpPr>
          <p:nvPr/>
        </p:nvSpPr>
        <p:spPr bwMode="gray">
          <a:xfrm>
            <a:off x="11639802" y="6544785"/>
            <a:ext cx="318940"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
        <p:nvSpPr>
          <p:cNvPr id="11" name="3. Unit of measure" hidden="1"/>
          <p:cNvSpPr txBox="1">
            <a:spLocks noChangeArrowheads="1"/>
          </p:cNvSpPr>
          <p:nvPr/>
        </p:nvSpPr>
        <p:spPr bwMode="gray">
          <a:xfrm>
            <a:off x="233259" y="744394"/>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56763" algn="l"/>
              </a:tabLst>
              <a:defRPr/>
            </a:pPr>
            <a:r>
              <a:rPr lang="fr-FR" sz="1632" baseline="0" noProof="0" dirty="0">
                <a:solidFill>
                  <a:schemeClr val="tx1"/>
                </a:solidFill>
                <a:latin typeface="+mn-lt"/>
                <a:ea typeface="+mn-ea"/>
                <a:cs typeface="+mn-cs"/>
                <a:sym typeface="+mn-lt"/>
              </a:rPr>
              <a:t>Unité de mesure</a:t>
            </a:r>
          </a:p>
        </p:txBody>
      </p:sp>
      <p:sp>
        <p:nvSpPr>
          <p:cNvPr id="77" name="1. On-page tracker" hidden="1"/>
          <p:cNvSpPr>
            <a:spLocks noChangeArrowheads="1"/>
          </p:cNvSpPr>
          <p:nvPr/>
        </p:nvSpPr>
        <p:spPr bwMode="gray">
          <a:xfrm>
            <a:off x="233258" y="45941"/>
            <a:ext cx="70356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56763" algn="l"/>
              </a:tabLst>
            </a:pPr>
            <a:r>
              <a:rPr lang="fr-FR" sz="1224" cap="all" baseline="0" dirty="0">
                <a:latin typeface="+mn-lt"/>
                <a:ea typeface="+mn-ea"/>
                <a:cs typeface="+mn-cs"/>
                <a:sym typeface="+mn-lt"/>
              </a:rPr>
              <a:t>TRACKER</a:t>
            </a:r>
          </a:p>
        </p:txBody>
      </p:sp>
      <p:grpSp>
        <p:nvGrpSpPr>
          <p:cNvPr id="93" name="LegendBoxes" hidden="1"/>
          <p:cNvGrpSpPr>
            <a:grpSpLocks/>
          </p:cNvGrpSpPr>
          <p:nvPr/>
        </p:nvGrpSpPr>
        <p:grpSpPr bwMode="gray">
          <a:xfrm>
            <a:off x="11092160" y="744393"/>
            <a:ext cx="861717" cy="1022061"/>
            <a:chOff x="4936" y="176"/>
            <a:chExt cx="532" cy="631"/>
          </a:xfrm>
        </p:grpSpPr>
        <p:sp>
          <p:nvSpPr>
            <p:cNvPr id="94" name="Legend1"/>
            <p:cNvSpPr>
              <a:spLocks noChangeArrowheads="1"/>
            </p:cNvSpPr>
            <p:nvPr/>
          </p:nvSpPr>
          <p:spPr bwMode="gray">
            <a:xfrm>
              <a:off x="5096"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5" name="LegendRectangle1"/>
            <p:cNvSpPr>
              <a:spLocks noChangeArrowheads="1"/>
            </p:cNvSpPr>
            <p:nvPr/>
          </p:nvSpPr>
          <p:spPr bwMode="gray">
            <a:xfrm>
              <a:off x="4936" y="182"/>
              <a:ext cx="104" cy="10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6" name="Legend2"/>
            <p:cNvSpPr>
              <a:spLocks noChangeArrowheads="1"/>
            </p:cNvSpPr>
            <p:nvPr/>
          </p:nvSpPr>
          <p:spPr bwMode="gray">
            <a:xfrm>
              <a:off x="5096" y="347"/>
              <a:ext cx="372" cy="1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7" name="LegendRectangle2"/>
            <p:cNvSpPr>
              <a:spLocks noChangeArrowheads="1"/>
            </p:cNvSpPr>
            <p:nvPr/>
          </p:nvSpPr>
          <p:spPr bwMode="gray">
            <a:xfrm>
              <a:off x="4936" y="353"/>
              <a:ext cx="104" cy="10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8" name="Legend3"/>
            <p:cNvSpPr>
              <a:spLocks noChangeArrowheads="1"/>
            </p:cNvSpPr>
            <p:nvPr/>
          </p:nvSpPr>
          <p:spPr bwMode="gray">
            <a:xfrm>
              <a:off x="5096" y="517"/>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9" name="LegendRectangle3"/>
            <p:cNvSpPr>
              <a:spLocks noChangeArrowheads="1"/>
            </p:cNvSpPr>
            <p:nvPr/>
          </p:nvSpPr>
          <p:spPr bwMode="gray">
            <a:xfrm>
              <a:off x="4936" y="523"/>
              <a:ext cx="104" cy="104"/>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00" name="Legend4"/>
            <p:cNvSpPr>
              <a:spLocks noChangeArrowheads="1"/>
            </p:cNvSpPr>
            <p:nvPr/>
          </p:nvSpPr>
          <p:spPr bwMode="gray">
            <a:xfrm>
              <a:off x="5096" y="68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1" name="LegendRectangle4"/>
            <p:cNvSpPr>
              <a:spLocks noChangeArrowheads="1"/>
            </p:cNvSpPr>
            <p:nvPr/>
          </p:nvSpPr>
          <p:spPr bwMode="gray">
            <a:xfrm>
              <a:off x="4936" y="694"/>
              <a:ext cx="104" cy="104"/>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02" name="LegendLines" hidden="1"/>
          <p:cNvGrpSpPr>
            <a:grpSpLocks/>
          </p:cNvGrpSpPr>
          <p:nvPr/>
        </p:nvGrpSpPr>
        <p:grpSpPr bwMode="gray">
          <a:xfrm>
            <a:off x="10777928" y="744393"/>
            <a:ext cx="1175952" cy="749943"/>
            <a:chOff x="4750" y="176"/>
            <a:chExt cx="726" cy="463"/>
          </a:xfrm>
        </p:grpSpPr>
        <p:sp>
          <p:nvSpPr>
            <p:cNvPr id="103" name="LineLegend1"/>
            <p:cNvSpPr>
              <a:spLocks noChangeShapeType="1"/>
            </p:cNvSpPr>
            <p:nvPr/>
          </p:nvSpPr>
          <p:spPr bwMode="gray">
            <a:xfrm>
              <a:off x="4750" y="234"/>
              <a:ext cx="288" cy="0"/>
            </a:xfrm>
            <a:prstGeom prst="line">
              <a:avLst/>
            </a:prstGeom>
            <a:noFill/>
            <a:ln w="2857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4" name="LineLegend2"/>
            <p:cNvSpPr>
              <a:spLocks noChangeShapeType="1"/>
            </p:cNvSpPr>
            <p:nvPr/>
          </p:nvSpPr>
          <p:spPr bwMode="gray">
            <a:xfrm>
              <a:off x="4750" y="406"/>
              <a:ext cx="288" cy="0"/>
            </a:xfrm>
            <a:prstGeom prst="line">
              <a:avLst/>
            </a:prstGeom>
            <a:noFill/>
            <a:ln w="2857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5" name="LineLegend3"/>
            <p:cNvSpPr>
              <a:spLocks noChangeShapeType="1"/>
            </p:cNvSpPr>
            <p:nvPr/>
          </p:nvSpPr>
          <p:spPr bwMode="gray">
            <a:xfrm>
              <a:off x="4750" y="578"/>
              <a:ext cx="288" cy="0"/>
            </a:xfrm>
            <a:prstGeom prst="line">
              <a:avLst/>
            </a:prstGeom>
            <a:noFill/>
            <a:ln w="28575">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6" name="Legend1"/>
            <p:cNvSpPr>
              <a:spLocks noChangeArrowheads="1"/>
            </p:cNvSpPr>
            <p:nvPr/>
          </p:nvSpPr>
          <p:spPr bwMode="gray">
            <a:xfrm>
              <a:off x="5104"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7" name="Legend2"/>
            <p:cNvSpPr>
              <a:spLocks noChangeArrowheads="1"/>
            </p:cNvSpPr>
            <p:nvPr/>
          </p:nvSpPr>
          <p:spPr bwMode="gray">
            <a:xfrm>
              <a:off x="5104" y="34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8" name="Legend3"/>
            <p:cNvSpPr>
              <a:spLocks noChangeArrowheads="1"/>
            </p:cNvSpPr>
            <p:nvPr/>
          </p:nvSpPr>
          <p:spPr bwMode="gray">
            <a:xfrm>
              <a:off x="5104" y="520"/>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grpSp>
        <p:nvGrpSpPr>
          <p:cNvPr id="109" name="Sticker" hidden="1"/>
          <p:cNvGrpSpPr/>
          <p:nvPr/>
        </p:nvGrpSpPr>
        <p:grpSpPr bwMode="gray">
          <a:xfrm>
            <a:off x="11331265" y="742496"/>
            <a:ext cx="627478" cy="250146"/>
            <a:chOff x="8125798" y="283891"/>
            <a:chExt cx="614977" cy="245166"/>
          </a:xfrm>
        </p:grpSpPr>
        <p:sp>
          <p:nvSpPr>
            <p:cNvPr id="110" name="StickerRectangle"/>
            <p:cNvSpPr>
              <a:spLocks noChangeArrowheads="1"/>
            </p:cNvSpPr>
            <p:nvPr/>
          </p:nvSpPr>
          <p:spPr bwMode="gray">
            <a:xfrm>
              <a:off x="8125798" y="283891"/>
              <a:ext cx="614977"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fr-FR" sz="1224" noProof="0" dirty="0">
                  <a:solidFill>
                    <a:schemeClr val="tx1"/>
                  </a:solidFill>
                  <a:latin typeface="+mn-lt"/>
                  <a:ea typeface="+mn-ea"/>
                  <a:cs typeface="+mn-cs"/>
                  <a:sym typeface="+mn-lt"/>
                </a:rPr>
                <a:t>STICKER</a:t>
              </a:r>
            </a:p>
          </p:txBody>
        </p:sp>
        <p:cxnSp>
          <p:nvCxnSpPr>
            <p:cNvPr id="111" name="AutoShape 32"/>
            <p:cNvCxnSpPr>
              <a:cxnSpLocks noChangeShapeType="1"/>
              <a:stCxn id="110" idx="4"/>
              <a:endCxn id="110" idx="6"/>
            </p:cNvCxnSpPr>
            <p:nvPr/>
          </p:nvCxnSpPr>
          <p:spPr bwMode="gray">
            <a:xfrm>
              <a:off x="8125798" y="529057"/>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2" name="AutoShape 32"/>
            <p:cNvCxnSpPr>
              <a:cxnSpLocks noChangeShapeType="1"/>
              <a:stCxn id="110" idx="2"/>
              <a:endCxn id="110" idx="0"/>
            </p:cNvCxnSpPr>
            <p:nvPr userDrawn="1"/>
          </p:nvCxnSpPr>
          <p:spPr bwMode="gray">
            <a:xfrm>
              <a:off x="8125798" y="283891"/>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5" name="LegendMoons" hidden="1">
            <a:extLst>
              <a:ext uri="{FF2B5EF4-FFF2-40B4-BE49-F238E27FC236}">
                <a16:creationId xmlns:a16="http://schemas.microsoft.com/office/drawing/2014/main" id="{93AB639B-F803-4F88-98C4-AD3F6514D825}"/>
              </a:ext>
            </a:extLst>
          </p:cNvPr>
          <p:cNvGrpSpPr/>
          <p:nvPr userDrawn="1"/>
        </p:nvGrpSpPr>
        <p:grpSpPr bwMode="gray">
          <a:xfrm>
            <a:off x="11024745" y="744393"/>
            <a:ext cx="929089" cy="1333317"/>
            <a:chOff x="9556679" y="3357986"/>
            <a:chExt cx="910580" cy="1306774"/>
          </a:xfrm>
        </p:grpSpPr>
        <p:grpSp>
          <p:nvGrpSpPr>
            <p:cNvPr id="114" name="MoonLegend1"/>
            <p:cNvGrpSpPr>
              <a:grpSpLocks noChangeAspect="1"/>
            </p:cNvGrpSpPr>
            <p:nvPr>
              <p:custDataLst>
                <p:tags r:id="rId30"/>
              </p:custDataLst>
            </p:nvPr>
          </p:nvGrpSpPr>
          <p:grpSpPr bwMode="gray">
            <a:xfrm>
              <a:off x="9556679" y="3357986"/>
              <a:ext cx="209550" cy="209551"/>
              <a:chOff x="4533" y="183"/>
              <a:chExt cx="144" cy="144"/>
            </a:xfrm>
          </p:grpSpPr>
          <p:sp>
            <p:nvSpPr>
              <p:cNvPr id="132" name="Oval 38"/>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3" name="Arc 39"/>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5" name="MoonLegend2"/>
            <p:cNvGrpSpPr>
              <a:grpSpLocks noChangeAspect="1"/>
            </p:cNvGrpSpPr>
            <p:nvPr>
              <p:custDataLst>
                <p:tags r:id="rId31"/>
              </p:custDataLst>
            </p:nvPr>
          </p:nvGrpSpPr>
          <p:grpSpPr bwMode="gray">
            <a:xfrm>
              <a:off x="9556679" y="3632292"/>
              <a:ext cx="209550" cy="209551"/>
              <a:chOff x="1694" y="2044"/>
              <a:chExt cx="160" cy="160"/>
            </a:xfrm>
          </p:grpSpPr>
          <p:sp>
            <p:nvSpPr>
              <p:cNvPr id="130" name="Oval 41"/>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1" name="Arc 42"/>
              <p:cNvSpPr>
                <a:spLocks noChangeAspect="1"/>
              </p:cNvSpPr>
              <p:nvPr>
                <p:custDataLst>
                  <p:tags r:id="rId42"/>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6" name="MoonLegend4"/>
            <p:cNvGrpSpPr>
              <a:grpSpLocks noChangeAspect="1"/>
            </p:cNvGrpSpPr>
            <p:nvPr>
              <p:custDataLst>
                <p:tags r:id="rId32"/>
              </p:custDataLst>
            </p:nvPr>
          </p:nvGrpSpPr>
          <p:grpSpPr bwMode="gray">
            <a:xfrm>
              <a:off x="9556679" y="4180904"/>
              <a:ext cx="209550" cy="209551"/>
              <a:chOff x="4495" y="1198"/>
              <a:chExt cx="160" cy="160"/>
            </a:xfrm>
          </p:grpSpPr>
          <p:sp>
            <p:nvSpPr>
              <p:cNvPr id="128" name="Oval 47"/>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9" name="Arc 48"/>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7" name="MoonLegend5"/>
            <p:cNvGrpSpPr>
              <a:grpSpLocks noChangeAspect="1"/>
            </p:cNvGrpSpPr>
            <p:nvPr>
              <p:custDataLst>
                <p:tags r:id="rId33"/>
              </p:custDataLst>
            </p:nvPr>
          </p:nvGrpSpPr>
          <p:grpSpPr bwMode="gray">
            <a:xfrm>
              <a:off x="9556679" y="4455209"/>
              <a:ext cx="209550" cy="209551"/>
              <a:chOff x="4495" y="1440"/>
              <a:chExt cx="160" cy="160"/>
            </a:xfrm>
          </p:grpSpPr>
          <p:sp>
            <p:nvSpPr>
              <p:cNvPr id="126" name="Oval 50"/>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7" name="Oval 51"/>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sp>
          <p:nvSpPr>
            <p:cNvPr id="118" name="Legend1"/>
            <p:cNvSpPr>
              <a:spLocks noChangeArrowheads="1"/>
            </p:cNvSpPr>
            <p:nvPr/>
          </p:nvSpPr>
          <p:spPr bwMode="gray">
            <a:xfrm>
              <a:off x="9877354" y="3370429"/>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19" name="Legend2"/>
            <p:cNvSpPr>
              <a:spLocks noChangeArrowheads="1"/>
            </p:cNvSpPr>
            <p:nvPr/>
          </p:nvSpPr>
          <p:spPr bwMode="gray">
            <a:xfrm>
              <a:off x="9877354" y="3644735"/>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0" name="Legend3"/>
            <p:cNvSpPr>
              <a:spLocks noChangeArrowheads="1"/>
            </p:cNvSpPr>
            <p:nvPr/>
          </p:nvSpPr>
          <p:spPr bwMode="gray">
            <a:xfrm>
              <a:off x="9877354" y="3919041"/>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1" name="Legend4"/>
            <p:cNvSpPr>
              <a:spLocks noChangeArrowheads="1"/>
            </p:cNvSpPr>
            <p:nvPr/>
          </p:nvSpPr>
          <p:spPr bwMode="gray">
            <a:xfrm>
              <a:off x="9877354" y="4193347"/>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2" name="Legend5"/>
            <p:cNvSpPr>
              <a:spLocks noChangeArrowheads="1"/>
            </p:cNvSpPr>
            <p:nvPr/>
          </p:nvSpPr>
          <p:spPr bwMode="gray">
            <a:xfrm>
              <a:off x="9877354" y="4467652"/>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nvGrpSpPr>
            <p:cNvPr id="123" name="MoonLegend3"/>
            <p:cNvGrpSpPr>
              <a:grpSpLocks noChangeAspect="1"/>
            </p:cNvGrpSpPr>
            <p:nvPr>
              <p:custDataLst>
                <p:tags r:id="rId34"/>
              </p:custDataLst>
            </p:nvPr>
          </p:nvGrpSpPr>
          <p:grpSpPr bwMode="gray">
            <a:xfrm>
              <a:off x="9556679" y="3906598"/>
              <a:ext cx="209550" cy="209551"/>
              <a:chOff x="4495" y="1198"/>
              <a:chExt cx="160" cy="160"/>
            </a:xfrm>
          </p:grpSpPr>
          <p:sp>
            <p:nvSpPr>
              <p:cNvPr id="124"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5" name="Arc 48"/>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grpSp>
        <p:nvGrpSpPr>
          <p:cNvPr id="134" name="Moon" hidden="1"/>
          <p:cNvGrpSpPr/>
          <p:nvPr userDrawn="1">
            <p:custDataLst>
              <p:tags r:id="rId10"/>
            </p:custDataLst>
          </p:nvPr>
        </p:nvGrpSpPr>
        <p:grpSpPr bwMode="gray">
          <a:xfrm>
            <a:off x="11699579" y="2479367"/>
            <a:ext cx="259163" cy="259159"/>
            <a:chOff x="762000" y="1270000"/>
            <a:chExt cx="254000" cy="254000"/>
          </a:xfrm>
        </p:grpSpPr>
        <p:sp>
          <p:nvSpPr>
            <p:cNvPr id="135" name="Oval 134"/>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24" dirty="0">
                <a:solidFill>
                  <a:schemeClr val="tx1"/>
                </a:solidFill>
                <a:latin typeface="+mn-lt"/>
                <a:ea typeface="+mn-ea"/>
                <a:cs typeface="+mn-cs"/>
                <a:sym typeface="+mn-lt"/>
              </a:endParaRPr>
            </a:p>
          </p:txBody>
        </p:sp>
        <p:sp>
          <p:nvSpPr>
            <p:cNvPr id="136" name="Arc 135"/>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224" dirty="0">
                <a:latin typeface="+mn-lt"/>
                <a:ea typeface="+mn-ea"/>
                <a:cs typeface="+mn-cs"/>
                <a:sym typeface="+mn-lt"/>
              </a:endParaRPr>
            </a:p>
          </p:txBody>
        </p:sp>
      </p:grpSp>
      <p:sp>
        <p:nvSpPr>
          <p:cNvPr id="137" name="Oval" hidden="1"/>
          <p:cNvSpPr txBox="1">
            <a:spLocks/>
          </p:cNvSpPr>
          <p:nvPr userDrawn="1">
            <p:custDataLst>
              <p:tags r:id="rId11"/>
            </p:custDataLst>
          </p:nvPr>
        </p:nvSpPr>
        <p:spPr bwMode="gray">
          <a:xfrm>
            <a:off x="6638635" y="1990667"/>
            <a:ext cx="1554978" cy="1554955"/>
          </a:xfrm>
          <a:prstGeom prst="ellipse">
            <a:avLst/>
          </a:prstGeom>
          <a:solidFill>
            <a:schemeClr val="accent1"/>
          </a:solidFill>
          <a:ln w="9525">
            <a:solidFill>
              <a:schemeClr val="tx1"/>
            </a:solidFill>
            <a:miter lim="800000"/>
            <a:headEnd/>
            <a:tailEnd/>
          </a:ln>
          <a:effectLst/>
        </p:spPr>
        <p:txBody>
          <a:bodyPr vert="horz" wrap="square" lIns="36731" tIns="36731" rIns="36731" bIns="36731"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r>
              <a:rPr lang="fr-FR" sz="1837">
                <a:latin typeface="+mn-lt"/>
                <a:ea typeface="+mn-ea"/>
                <a:cs typeface="+mn-cs"/>
                <a:sym typeface="+mn-lt"/>
              </a:rPr>
              <a:t>Text</a:t>
            </a:r>
            <a:endParaRPr lang="fr-FR" sz="1837" dirty="0">
              <a:latin typeface="+mn-lt"/>
              <a:ea typeface="+mn-ea"/>
              <a:cs typeface="+mn-cs"/>
              <a:sym typeface="+mn-lt"/>
            </a:endParaRPr>
          </a:p>
        </p:txBody>
      </p:sp>
      <p:sp>
        <p:nvSpPr>
          <p:cNvPr id="138" name="Body3" hidden="1"/>
          <p:cNvSpPr txBox="1">
            <a:spLocks/>
          </p:cNvSpPr>
          <p:nvPr userDrawn="1">
            <p:custDataLst>
              <p:tags r:id="rId12"/>
            </p:custDataLst>
          </p:nvPr>
        </p:nvSpPr>
        <p:spPr bwMode="gray">
          <a:xfrm>
            <a:off x="3252670" y="1990666"/>
            <a:ext cx="1554978" cy="1554955"/>
          </a:xfrm>
          <a:prstGeom prst="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39" name="RoundedRectangle" hidden="1"/>
          <p:cNvSpPr txBox="1">
            <a:spLocks/>
          </p:cNvSpPr>
          <p:nvPr userDrawn="1">
            <p:custDataLst>
              <p:tags r:id="rId13"/>
            </p:custDataLst>
          </p:nvPr>
        </p:nvSpPr>
        <p:spPr bwMode="gray">
          <a:xfrm>
            <a:off x="4945652" y="1990666"/>
            <a:ext cx="1554978" cy="1554955"/>
          </a:xfrm>
          <a:prstGeom prst="round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40" name="Arrow" hidden="1"/>
          <p:cNvSpPr txBox="1"/>
          <p:nvPr userDrawn="1">
            <p:custDataLst>
              <p:tags r:id="rId14"/>
            </p:custDataLst>
          </p:nvPr>
        </p:nvSpPr>
        <p:spPr bwMode="gray">
          <a:xfrm>
            <a:off x="3250429" y="4762932"/>
            <a:ext cx="1865974" cy="932973"/>
          </a:xfrm>
          <a:prstGeom prst="rightArrow">
            <a:avLst>
              <a:gd name="adj1" fmla="val 54000"/>
              <a:gd name="adj2" fmla="val 37678"/>
            </a:avLst>
          </a:prstGeom>
          <a:solidFill>
            <a:schemeClr val="accent1"/>
          </a:solidFill>
          <a:ln w="9525">
            <a:solidFill>
              <a:schemeClr val="tx1"/>
            </a:solidFill>
            <a:miter lim="800000"/>
            <a:headEnd/>
            <a:tailEnd/>
          </a:ln>
          <a:effectLst/>
        </p:spPr>
        <p:txBody>
          <a:bodyPr vert="horz" wrap="square" lIns="73462"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a:latin typeface="+mn-lt"/>
                <a:ea typeface="+mn-ea"/>
                <a:cs typeface="+mn-cs"/>
                <a:sym typeface="+mn-lt"/>
              </a:rPr>
              <a:t>Text</a:t>
            </a:r>
            <a:endParaRPr lang="fr-FR" sz="1837" dirty="0">
              <a:latin typeface="+mn-lt"/>
              <a:ea typeface="+mn-ea"/>
              <a:cs typeface="+mn-cs"/>
              <a:sym typeface="+mn-lt"/>
            </a:endParaRPr>
          </a:p>
        </p:txBody>
      </p:sp>
      <p:sp>
        <p:nvSpPr>
          <p:cNvPr id="141" name="DirArrow" hidden="1"/>
          <p:cNvSpPr>
            <a:spLocks noChangeArrowheads="1"/>
          </p:cNvSpPr>
          <p:nvPr userDrawn="1">
            <p:custDataLst>
              <p:tags r:id="rId15"/>
            </p:custDataLst>
          </p:nvPr>
        </p:nvSpPr>
        <p:spPr bwMode="gray">
          <a:xfrm rot="5400000">
            <a:off x="6930088" y="3392198"/>
            <a:ext cx="3153449" cy="350388"/>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fr-FR" sz="1837" dirty="0">
              <a:latin typeface="+mn-lt"/>
              <a:ea typeface="+mn-ea"/>
              <a:cs typeface="+mn-cs"/>
              <a:sym typeface="+mn-lt"/>
            </a:endParaRPr>
          </a:p>
        </p:txBody>
      </p:sp>
      <p:grpSp>
        <p:nvGrpSpPr>
          <p:cNvPr id="143" name="Flow" hidden="1"/>
          <p:cNvGrpSpPr/>
          <p:nvPr userDrawn="1">
            <p:custDataLst>
              <p:tags r:id="rId16"/>
            </p:custDataLst>
          </p:nvPr>
        </p:nvGrpSpPr>
        <p:grpSpPr bwMode="gray">
          <a:xfrm>
            <a:off x="3252670" y="3687790"/>
            <a:ext cx="1865974" cy="932973"/>
            <a:chOff x="5905500" y="3124200"/>
            <a:chExt cx="1828800" cy="914400"/>
          </a:xfrm>
        </p:grpSpPr>
        <p:sp>
          <p:nvSpPr>
            <p:cNvPr id="144" name="Freeform 143"/>
            <p:cNvSpPr/>
            <p:nvPr>
              <p:custDataLst>
                <p:tags r:id="rId28"/>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5" name="TextBox 144"/>
            <p:cNvSpPr txBox="1"/>
            <p:nvPr>
              <p:custDataLst>
                <p:tags r:id="rId29"/>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grpSp>
      <p:grpSp>
        <p:nvGrpSpPr>
          <p:cNvPr id="146" name="SplitFlow" hidden="1"/>
          <p:cNvGrpSpPr/>
          <p:nvPr userDrawn="1">
            <p:custDataLst>
              <p:tags r:id="rId17"/>
            </p:custDataLst>
          </p:nvPr>
        </p:nvGrpSpPr>
        <p:grpSpPr bwMode="gray">
          <a:xfrm>
            <a:off x="5298241" y="3687790"/>
            <a:ext cx="1865974" cy="932973"/>
            <a:chOff x="114300" y="1270000"/>
            <a:chExt cx="1828800" cy="914400"/>
          </a:xfrm>
        </p:grpSpPr>
        <p:sp>
          <p:nvSpPr>
            <p:cNvPr id="147" name="Freeform 146"/>
            <p:cNvSpPr/>
            <p:nvPr>
              <p:custDataLst>
                <p:tags r:id="rId24"/>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8" name="TextBox 147"/>
            <p:cNvSpPr txBox="1"/>
            <p:nvPr>
              <p:custDataLst>
                <p:tags r:id="rId25"/>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sp>
          <p:nvSpPr>
            <p:cNvPr id="149" name="Freeform 148"/>
            <p:cNvSpPr/>
            <p:nvPr>
              <p:custDataLst>
                <p:tags r:id="rId26"/>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50" name="TextBox 149"/>
            <p:cNvSpPr txBox="1"/>
            <p:nvPr>
              <p:custDataLst>
                <p:tags r:id="rId27"/>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a:latin typeface="+mn-lt"/>
                  <a:ea typeface="+mn-ea"/>
                  <a:cs typeface="+mn-cs"/>
                  <a:sym typeface="+mn-lt"/>
                </a:rPr>
                <a:t>Text</a:t>
              </a:r>
              <a:endParaRPr lang="fr-FR" sz="1837" b="1" dirty="0">
                <a:latin typeface="+mn-lt"/>
                <a:ea typeface="+mn-ea"/>
                <a:cs typeface="+mn-cs"/>
                <a:sym typeface="+mn-lt"/>
              </a:endParaRPr>
            </a:p>
          </p:txBody>
        </p:sp>
      </p:grpSp>
      <p:sp>
        <p:nvSpPr>
          <p:cNvPr id="72" name="SingleChevron" hidden="1">
            <a:extLst>
              <a:ext uri="{FF2B5EF4-FFF2-40B4-BE49-F238E27FC236}">
                <a16:creationId xmlns:a16="http://schemas.microsoft.com/office/drawing/2014/main" id="{CFD5AFE5-CC7D-4FB1-A087-58F7234FB49B}"/>
              </a:ext>
            </a:extLst>
          </p:cNvPr>
          <p:cNvSpPr>
            <a:spLocks noChangeAspect="1"/>
          </p:cNvSpPr>
          <p:nvPr userDrawn="1">
            <p:custDataLst>
              <p:tags r:id="rId18"/>
            </p:custDataLst>
          </p:nvPr>
        </p:nvSpPr>
        <p:spPr bwMode="gray">
          <a:xfrm>
            <a:off x="5181194" y="4806387"/>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nvGrpSpPr>
          <p:cNvPr id="73" name="DoubleChevron2" hidden="1">
            <a:extLst>
              <a:ext uri="{FF2B5EF4-FFF2-40B4-BE49-F238E27FC236}">
                <a16:creationId xmlns:a16="http://schemas.microsoft.com/office/drawing/2014/main" id="{1FBC2DCA-E208-40E8-8F09-4A1C8DC50063}"/>
              </a:ext>
            </a:extLst>
          </p:cNvPr>
          <p:cNvGrpSpPr>
            <a:grpSpLocks noChangeAspect="1"/>
          </p:cNvGrpSpPr>
          <p:nvPr userDrawn="1">
            <p:custDataLst>
              <p:tags r:id="rId19"/>
            </p:custDataLst>
          </p:nvPr>
        </p:nvGrpSpPr>
        <p:grpSpPr bwMode="gray">
          <a:xfrm>
            <a:off x="6475482" y="4806387"/>
            <a:ext cx="1268194" cy="1554955"/>
            <a:chOff x="1270000" y="1270000"/>
            <a:chExt cx="2951957" cy="3619500"/>
          </a:xfrm>
          <a:solidFill>
            <a:schemeClr val="accent1"/>
          </a:solidFill>
        </p:grpSpPr>
        <p:sp>
          <p:nvSpPr>
            <p:cNvPr id="74" name="Chevron1">
              <a:extLst>
                <a:ext uri="{FF2B5EF4-FFF2-40B4-BE49-F238E27FC236}">
                  <a16:creationId xmlns:a16="http://schemas.microsoft.com/office/drawing/2014/main" id="{2097777E-B149-4273-9309-E088098950F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5" name="Chevron2">
              <a:extLst>
                <a:ext uri="{FF2B5EF4-FFF2-40B4-BE49-F238E27FC236}">
                  <a16:creationId xmlns:a16="http://schemas.microsoft.com/office/drawing/2014/main" id="{D044F81E-D42E-4361-ADB9-5B1D2619FFC2}"/>
                </a:ext>
              </a:extLst>
            </p:cNvPr>
            <p:cNvSpPr>
              <a:spLocks noChangeAspect="1"/>
            </p:cNvSpPr>
            <p:nvPr>
              <p:custDataLst>
                <p:tags r:id="rId23"/>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grpSp>
        <p:nvGrpSpPr>
          <p:cNvPr id="76" name="DoubleChevron" hidden="1">
            <a:extLst>
              <a:ext uri="{FF2B5EF4-FFF2-40B4-BE49-F238E27FC236}">
                <a16:creationId xmlns:a16="http://schemas.microsoft.com/office/drawing/2014/main" id="{D85098D3-9F28-4FED-BA27-5B4E44E0AFE4}"/>
              </a:ext>
            </a:extLst>
          </p:cNvPr>
          <p:cNvGrpSpPr>
            <a:grpSpLocks noChangeAspect="1"/>
          </p:cNvGrpSpPr>
          <p:nvPr userDrawn="1">
            <p:custDataLst>
              <p:tags r:id="rId20"/>
            </p:custDataLst>
          </p:nvPr>
        </p:nvGrpSpPr>
        <p:grpSpPr bwMode="gray">
          <a:xfrm>
            <a:off x="5651016" y="4806387"/>
            <a:ext cx="1034947" cy="1554955"/>
            <a:chOff x="1270000" y="1270000"/>
            <a:chExt cx="2409032" cy="3619500"/>
          </a:xfrm>
          <a:solidFill>
            <a:schemeClr val="accent1"/>
          </a:solidFill>
        </p:grpSpPr>
        <p:sp>
          <p:nvSpPr>
            <p:cNvPr id="78" name="Chevron1">
              <a:extLst>
                <a:ext uri="{FF2B5EF4-FFF2-40B4-BE49-F238E27FC236}">
                  <a16:creationId xmlns:a16="http://schemas.microsoft.com/office/drawing/2014/main" id="{CE8944BF-22D3-4A15-9B5A-6B27911D4251}"/>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9" name="Chevron2">
              <a:extLst>
                <a:ext uri="{FF2B5EF4-FFF2-40B4-BE49-F238E27FC236}">
                  <a16:creationId xmlns:a16="http://schemas.microsoft.com/office/drawing/2014/main" id="{1860B34E-AF48-4E3A-BC9E-C7CF9D0E3AEF}"/>
                </a:ext>
              </a:extLst>
            </p:cNvPr>
            <p:cNvSpPr>
              <a:spLocks noChangeAspect="1"/>
            </p:cNvSpPr>
            <p:nvPr>
              <p:custDataLst>
                <p:tags r:id="rId22"/>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sp>
        <p:nvSpPr>
          <p:cNvPr id="80" name="Bracket" hidden="1">
            <a:extLst>
              <a:ext uri="{FF2B5EF4-FFF2-40B4-BE49-F238E27FC236}">
                <a16:creationId xmlns:a16="http://schemas.microsoft.com/office/drawing/2014/main" id="{4199AD2B-7E07-4AFE-A9B0-A509DBC7C910}"/>
              </a:ext>
            </a:extLst>
          </p:cNvPr>
          <p:cNvSpPr>
            <a:spLocks noChangeAspect="1"/>
          </p:cNvSpPr>
          <p:nvPr userDrawn="1">
            <p:custDataLst>
              <p:tags r:id="rId21"/>
            </p:custDataLst>
          </p:nvPr>
        </p:nvSpPr>
        <p:spPr bwMode="gray">
          <a:xfrm>
            <a:off x="7984404" y="3964119"/>
            <a:ext cx="194372" cy="1684536"/>
          </a:xfrm>
          <a:custGeom>
            <a:avLst/>
            <a:gdLst>
              <a:gd name="connsiteX0" fmla="*/ 0 w 273710"/>
              <a:gd name="connsiteY0" fmla="*/ 0 h 2908300"/>
              <a:gd name="connsiteX1" fmla="*/ 210210 w 273710"/>
              <a:gd name="connsiteY1" fmla="*/ 125730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10533 w 273710"/>
              <a:gd name="connsiteY2" fmla="*/ 7620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210210 w 210210"/>
              <a:gd name="connsiteY4" fmla="*/ 2146300 h 2908300"/>
              <a:gd name="connsiteX5" fmla="*/ 210210 w 210210"/>
              <a:gd name="connsiteY5" fmla="*/ 2908300 h 2908300"/>
              <a:gd name="connsiteX6" fmla="*/ 83210 w 2102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10533 w 210210"/>
              <a:gd name="connsiteY4" fmla="*/ 889000 h 2908300"/>
              <a:gd name="connsiteX5" fmla="*/ 210210 w 210210"/>
              <a:gd name="connsiteY5" fmla="*/ 2908300 h 2908300"/>
              <a:gd name="connsiteX6" fmla="*/ 83210 w 210210"/>
              <a:gd name="connsiteY6" fmla="*/ 2908300 h 2908300"/>
              <a:gd name="connsiteX0" fmla="*/ 0 w 83210"/>
              <a:gd name="connsiteY0" fmla="*/ 0 h 2908300"/>
              <a:gd name="connsiteX1" fmla="*/ 10533 w 83210"/>
              <a:gd name="connsiteY1" fmla="*/ 0 h 2908300"/>
              <a:gd name="connsiteX2" fmla="*/ 10533 w 83210"/>
              <a:gd name="connsiteY2" fmla="*/ 762000 h 2908300"/>
              <a:gd name="connsiteX3" fmla="*/ 15799 w 83210"/>
              <a:gd name="connsiteY3" fmla="*/ 825500 h 2908300"/>
              <a:gd name="connsiteX4" fmla="*/ 10533 w 83210"/>
              <a:gd name="connsiteY4" fmla="*/ 889000 h 2908300"/>
              <a:gd name="connsiteX5" fmla="*/ 10533 w 83210"/>
              <a:gd name="connsiteY5" fmla="*/ 1651001 h 2908300"/>
              <a:gd name="connsiteX6" fmla="*/ 83210 w 83210"/>
              <a:gd name="connsiteY6" fmla="*/ 2908300 h 2908300"/>
              <a:gd name="connsiteX0" fmla="*/ 0 w 15799"/>
              <a:gd name="connsiteY0" fmla="*/ 0 h 1651001"/>
              <a:gd name="connsiteX1" fmla="*/ 10533 w 15799"/>
              <a:gd name="connsiteY1" fmla="*/ 0 h 1651001"/>
              <a:gd name="connsiteX2" fmla="*/ 10533 w 15799"/>
              <a:gd name="connsiteY2" fmla="*/ 762000 h 1651001"/>
              <a:gd name="connsiteX3" fmla="*/ 15799 w 15799"/>
              <a:gd name="connsiteY3" fmla="*/ 825500 h 1651001"/>
              <a:gd name="connsiteX4" fmla="*/ 10533 w 15799"/>
              <a:gd name="connsiteY4" fmla="*/ 889000 h 1651001"/>
              <a:gd name="connsiteX5" fmla="*/ 10533 w 15799"/>
              <a:gd name="connsiteY5" fmla="*/ 1651001 h 1651001"/>
              <a:gd name="connsiteX6" fmla="*/ 0 w 15799"/>
              <a:gd name="connsiteY6" fmla="*/ 1651001 h 1651001"/>
              <a:gd name="connsiteX0" fmla="*/ 0 w 376545"/>
              <a:gd name="connsiteY0" fmla="*/ 0 h 5536204"/>
              <a:gd name="connsiteX1" fmla="*/ 371279 w 376545"/>
              <a:gd name="connsiteY1" fmla="*/ 3885203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5855 w 376545"/>
              <a:gd name="connsiteY2" fmla="*/ 762000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371279 w 371279"/>
              <a:gd name="connsiteY4" fmla="*/ 4774203 h 5536204"/>
              <a:gd name="connsiteX5" fmla="*/ 371279 w 371279"/>
              <a:gd name="connsiteY5" fmla="*/ 5536204 h 5536204"/>
              <a:gd name="connsiteX6" fmla="*/ 360746 w 371279"/>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5855 w 371279"/>
              <a:gd name="connsiteY4" fmla="*/ 889000 h 5536204"/>
              <a:gd name="connsiteX5" fmla="*/ 371279 w 371279"/>
              <a:gd name="connsiteY5" fmla="*/ 5536204 h 5536204"/>
              <a:gd name="connsiteX6" fmla="*/ 360746 w 371279"/>
              <a:gd name="connsiteY6" fmla="*/ 5536204 h 5536204"/>
              <a:gd name="connsiteX0" fmla="*/ 0 w 360746"/>
              <a:gd name="connsiteY0" fmla="*/ 0 h 5536204"/>
              <a:gd name="connsiteX1" fmla="*/ 5855 w 360746"/>
              <a:gd name="connsiteY1" fmla="*/ 0 h 5536204"/>
              <a:gd name="connsiteX2" fmla="*/ 5855 w 360746"/>
              <a:gd name="connsiteY2" fmla="*/ 762000 h 5536204"/>
              <a:gd name="connsiteX3" fmla="*/ 8782 w 360746"/>
              <a:gd name="connsiteY3" fmla="*/ 825500 h 5536204"/>
              <a:gd name="connsiteX4" fmla="*/ 5855 w 360746"/>
              <a:gd name="connsiteY4" fmla="*/ 889000 h 5536204"/>
              <a:gd name="connsiteX5" fmla="*/ 5855 w 360746"/>
              <a:gd name="connsiteY5" fmla="*/ 1651001 h 5536204"/>
              <a:gd name="connsiteX6" fmla="*/ 360746 w 360746"/>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1 w 8782"/>
              <a:gd name="connsiteY6" fmla="*/ 1651001 h 1651001"/>
              <a:gd name="connsiteX0" fmla="*/ 0 w 369528"/>
              <a:gd name="connsiteY0" fmla="*/ 0 h 5536204"/>
              <a:gd name="connsiteX1" fmla="*/ 366601 w 369528"/>
              <a:gd name="connsiteY1" fmla="*/ 3885203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5855 w 369528"/>
              <a:gd name="connsiteY2" fmla="*/ 762000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366601 w 366601"/>
              <a:gd name="connsiteY4" fmla="*/ 4774203 h 5536204"/>
              <a:gd name="connsiteX5" fmla="*/ 366601 w 366601"/>
              <a:gd name="connsiteY5" fmla="*/ 5536204 h 5536204"/>
              <a:gd name="connsiteX6" fmla="*/ 360747 w 366601"/>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5855 w 366601"/>
              <a:gd name="connsiteY4" fmla="*/ 889000 h 5536204"/>
              <a:gd name="connsiteX5" fmla="*/ 366601 w 366601"/>
              <a:gd name="connsiteY5" fmla="*/ 5536204 h 5536204"/>
              <a:gd name="connsiteX6" fmla="*/ 360747 w 366601"/>
              <a:gd name="connsiteY6" fmla="*/ 5536204 h 5536204"/>
              <a:gd name="connsiteX0" fmla="*/ 0 w 360747"/>
              <a:gd name="connsiteY0" fmla="*/ 0 h 5536204"/>
              <a:gd name="connsiteX1" fmla="*/ 5855 w 360747"/>
              <a:gd name="connsiteY1" fmla="*/ 0 h 5536204"/>
              <a:gd name="connsiteX2" fmla="*/ 5855 w 360747"/>
              <a:gd name="connsiteY2" fmla="*/ 762000 h 5536204"/>
              <a:gd name="connsiteX3" fmla="*/ 8782 w 360747"/>
              <a:gd name="connsiteY3" fmla="*/ 825500 h 5536204"/>
              <a:gd name="connsiteX4" fmla="*/ 5855 w 360747"/>
              <a:gd name="connsiteY4" fmla="*/ 889000 h 5536204"/>
              <a:gd name="connsiteX5" fmla="*/ 5855 w 360747"/>
              <a:gd name="connsiteY5" fmla="*/ 1651001 h 5536204"/>
              <a:gd name="connsiteX6" fmla="*/ 360747 w 360747"/>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0 w 8782"/>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2" h="1651001">
                <a:moveTo>
                  <a:pt x="0" y="0"/>
                </a:moveTo>
                <a:lnTo>
                  <a:pt x="5855" y="0"/>
                </a:lnTo>
                <a:lnTo>
                  <a:pt x="5855" y="762000"/>
                </a:lnTo>
                <a:lnTo>
                  <a:pt x="8782" y="825500"/>
                </a:lnTo>
                <a:lnTo>
                  <a:pt x="5855" y="889000"/>
                </a:lnTo>
                <a:lnTo>
                  <a:pt x="5855"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a:latin typeface="+mn-lt"/>
              <a:ea typeface="+mn-ea"/>
              <a:cs typeface="+mn-cs"/>
              <a:sym typeface="+mn-lt"/>
            </a:endParaRPr>
          </a:p>
        </p:txBody>
      </p:sp>
      <p:pic>
        <p:nvPicPr>
          <p:cNvPr id="7" name="Picture 6">
            <a:extLst>
              <a:ext uri="{FF2B5EF4-FFF2-40B4-BE49-F238E27FC236}">
                <a16:creationId xmlns:a16="http://schemas.microsoft.com/office/drawing/2014/main" id="{5563EAAC-4950-4FB8-B154-C6916F3ACCA5}"/>
              </a:ext>
            </a:extLst>
          </p:cNvPr>
          <p:cNvPicPr>
            <a:picLocks noChangeAspect="1"/>
          </p:cNvPicPr>
          <p:nvPr userDrawn="1"/>
        </p:nvPicPr>
        <p:blipFill>
          <a:blip r:embed="rId47"/>
          <a:stretch>
            <a:fillRect/>
          </a:stretch>
        </p:blipFill>
        <p:spPr bwMode="gray">
          <a:xfrm>
            <a:off x="11038433" y="293333"/>
            <a:ext cx="920308" cy="356243"/>
          </a:xfrm>
          <a:prstGeom prst="rect">
            <a:avLst/>
          </a:prstGeom>
        </p:spPr>
      </p:pic>
    </p:spTree>
    <p:extLst>
      <p:ext uri="{BB962C8B-B14F-4D97-AF65-F5344CB8AC3E}">
        <p14:creationId xmlns:p14="http://schemas.microsoft.com/office/powerpoint/2010/main" val="112893507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hf sldNum="0" hdr="0" ftr="0" dt="0"/>
  <p:txStyles>
    <p:titleStyle>
      <a:lvl1pPr algn="l" defTabSz="1218095" rtl="0" eaLnBrk="1" fontAlgn="base" hangingPunct="1">
        <a:spcBef>
          <a:spcPct val="0"/>
        </a:spcBef>
        <a:spcAft>
          <a:spcPct val="0"/>
        </a:spcAft>
        <a:tabLst>
          <a:tab pos="456763" algn="l"/>
        </a:tabLst>
        <a:defRPr sz="2449" b="1" baseline="0">
          <a:solidFill>
            <a:schemeClr val="tx2"/>
          </a:solidFill>
          <a:latin typeface="+mj-lt"/>
          <a:ea typeface="+mj-ea"/>
          <a:cs typeface="+mj-cs"/>
          <a:sym typeface="+mj-lt"/>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1218095" rtl="0" eaLnBrk="1" fontAlgn="base" hangingPunct="1">
        <a:spcBef>
          <a:spcPct val="0"/>
        </a:spcBef>
        <a:spcAft>
          <a:spcPct val="0"/>
        </a:spcAft>
        <a:buClr>
          <a:schemeClr val="tx2"/>
        </a:buClr>
        <a:defRPr sz="1632" baseline="0">
          <a:solidFill>
            <a:schemeClr val="tx1"/>
          </a:solidFill>
          <a:latin typeface="+mn-lt"/>
          <a:ea typeface="+mn-ea"/>
          <a:cs typeface="+mn-cs"/>
          <a:sym typeface="+mn-lt"/>
        </a:defRPr>
      </a:lvl1pPr>
      <a:lvl2pPr marL="183654" indent="-183654" algn="l" defTabSz="1218095"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mn-ea"/>
          <a:cs typeface="+mn-cs"/>
          <a:sym typeface="+mn-lt"/>
        </a:defRPr>
      </a:lvl2pPr>
      <a:lvl3pPr marL="367308" indent="-183654" algn="l" defTabSz="1218095"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mn-ea"/>
          <a:cs typeface="+mn-cs"/>
          <a:sym typeface="+mn-lt"/>
        </a:defRPr>
      </a:lvl3pPr>
      <a:lvl4pPr marL="550962" indent="-183654" algn="l" defTabSz="1218095"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ea typeface="+mn-ea"/>
          <a:cs typeface="+mn-cs"/>
          <a:sym typeface="+mn-lt"/>
        </a:defRPr>
      </a:lvl4pPr>
      <a:lvl5pPr marL="734616" indent="-183654" algn="l" defTabSz="121809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mn-ea"/>
          <a:cs typeface="+mn-cs"/>
          <a:sym typeface="+mn-lt"/>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21" Type="http://schemas.openxmlformats.org/officeDocument/2006/relationships/tags" Target="../tags/tag150.xml"/><Relationship Id="rId34" Type="http://schemas.openxmlformats.org/officeDocument/2006/relationships/image" Target="../media/image105.svg"/><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image" Target="../media/image104.png"/><Relationship Id="rId38" Type="http://schemas.openxmlformats.org/officeDocument/2006/relationships/image" Target="../media/image109.sv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oleObject" Target="../embeddings/oleObject16.bin"/><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tags" Target="../tags/tag153.xml"/><Relationship Id="rId32" Type="http://schemas.microsoft.com/office/2007/relationships/hdphoto" Target="../media/hdphoto1.wdp"/><Relationship Id="rId37" Type="http://schemas.openxmlformats.org/officeDocument/2006/relationships/image" Target="../media/image108.png"/><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notesSlide" Target="../notesSlides/notesSlide6.xml"/><Relationship Id="rId36" Type="http://schemas.openxmlformats.org/officeDocument/2006/relationships/image" Target="../media/image107.svg"/><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image" Target="../media/image103.png"/><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slideLayout" Target="../slideLayouts/slideLayout2.xml"/><Relationship Id="rId30" Type="http://schemas.openxmlformats.org/officeDocument/2006/relationships/image" Target="../media/image10.emf"/><Relationship Id="rId35" Type="http://schemas.openxmlformats.org/officeDocument/2006/relationships/image" Target="../media/image106.png"/><Relationship Id="rId8" Type="http://schemas.openxmlformats.org/officeDocument/2006/relationships/tags" Target="../tags/tag137.xml"/><Relationship Id="rId3" Type="http://schemas.openxmlformats.org/officeDocument/2006/relationships/tags" Target="../tags/tag132.xml"/></Relationships>
</file>

<file path=ppt/slides/_rels/slide11.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2.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13.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19.png"/><Relationship Id="rId3" Type="http://schemas.openxmlformats.org/officeDocument/2006/relationships/tags" Target="../tags/tag158.xml"/><Relationship Id="rId7" Type="http://schemas.openxmlformats.org/officeDocument/2006/relationships/oleObject" Target="../embeddings/oleObject17.bin"/><Relationship Id="rId12" Type="http://schemas.openxmlformats.org/officeDocument/2006/relationships/image" Target="../media/image118.sv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notesSlide" Target="../notesSlides/notesSlide9.xml"/><Relationship Id="rId11" Type="http://schemas.openxmlformats.org/officeDocument/2006/relationships/image" Target="../media/image117.png"/><Relationship Id="rId5" Type="http://schemas.openxmlformats.org/officeDocument/2006/relationships/slideLayout" Target="../slideLayouts/slideLayout2.xml"/><Relationship Id="rId10" Type="http://schemas.openxmlformats.org/officeDocument/2006/relationships/image" Target="../media/image116.svg"/><Relationship Id="rId4" Type="http://schemas.openxmlformats.org/officeDocument/2006/relationships/tags" Target="../tags/tag159.xml"/><Relationship Id="rId9" Type="http://schemas.openxmlformats.org/officeDocument/2006/relationships/image" Target="../media/image115.png"/><Relationship Id="rId14" Type="http://schemas.openxmlformats.org/officeDocument/2006/relationships/image" Target="../media/image120.svg"/></Relationships>
</file>

<file path=ppt/slides/_rels/slide1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sv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 Id="rId9" Type="http://schemas.openxmlformats.org/officeDocument/2006/relationships/image" Target="../media/image127.png"/></Relationships>
</file>

<file path=ppt/slides/_rels/slide15.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31.svg"/><Relationship Id="rId5" Type="http://schemas.openxmlformats.org/officeDocument/2006/relationships/image" Target="../media/image130.png"/><Relationship Id="rId4" Type="http://schemas.openxmlformats.org/officeDocument/2006/relationships/image" Target="../media/image129.svg"/></Relationships>
</file>

<file path=ppt/slides/_rels/slide1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138.jpeg"/><Relationship Id="rId5" Type="http://schemas.openxmlformats.org/officeDocument/2006/relationships/image" Target="../media/image137.png"/><Relationship Id="rId4" Type="http://schemas.openxmlformats.org/officeDocument/2006/relationships/image" Target="../media/image136.jp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2.bin"/><Relationship Id="rId13" Type="http://schemas.openxmlformats.org/officeDocument/2006/relationships/image" Target="../media/image17.svg"/><Relationship Id="rId3" Type="http://schemas.openxmlformats.org/officeDocument/2006/relationships/tags" Target="../tags/tag104.xml"/><Relationship Id="rId7" Type="http://schemas.openxmlformats.org/officeDocument/2006/relationships/notesSlide" Target="../notesSlides/notesSlide2.xml"/><Relationship Id="rId12" Type="http://schemas.openxmlformats.org/officeDocument/2006/relationships/image" Target="../media/image16.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slideLayout" Target="../slideLayouts/slideLayout5.xml"/><Relationship Id="rId11" Type="http://schemas.openxmlformats.org/officeDocument/2006/relationships/image" Target="../media/image15.svg"/><Relationship Id="rId5" Type="http://schemas.openxmlformats.org/officeDocument/2006/relationships/tags" Target="../tags/tag106.xml"/><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tags" Target="../tags/tag105.xml"/><Relationship Id="rId9" Type="http://schemas.openxmlformats.org/officeDocument/2006/relationships/image" Target="../media/image13.emf"/><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image" Target="../media/image23.png"/><Relationship Id="rId3" Type="http://schemas.openxmlformats.org/officeDocument/2006/relationships/tags" Target="../tags/tag113.xml"/><Relationship Id="rId21" Type="http://schemas.openxmlformats.org/officeDocument/2006/relationships/notesSlide" Target="../notesSlides/notesSlide4.xml"/><Relationship Id="rId34" Type="http://schemas.openxmlformats.org/officeDocument/2006/relationships/image" Target="../media/image31.sv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image" Target="../media/image22.svg"/><Relationship Id="rId33" Type="http://schemas.openxmlformats.org/officeDocument/2006/relationships/image" Target="../media/image30.png"/><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slideLayout" Target="../slideLayouts/slideLayout2.xml"/><Relationship Id="rId29" Type="http://schemas.openxmlformats.org/officeDocument/2006/relationships/image" Target="../media/image26.svg"/><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image" Target="../media/image21.png"/><Relationship Id="rId32" Type="http://schemas.openxmlformats.org/officeDocument/2006/relationships/image" Target="../media/image29.svg"/><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image" Target="../media/image20.emf"/><Relationship Id="rId28" Type="http://schemas.openxmlformats.org/officeDocument/2006/relationships/image" Target="../media/image25.png"/><Relationship Id="rId10" Type="http://schemas.openxmlformats.org/officeDocument/2006/relationships/tags" Target="../tags/tag120.xml"/><Relationship Id="rId19" Type="http://schemas.openxmlformats.org/officeDocument/2006/relationships/tags" Target="../tags/tag129.xml"/><Relationship Id="rId31" Type="http://schemas.openxmlformats.org/officeDocument/2006/relationships/image" Target="../media/image28.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oleObject" Target="../embeddings/oleObject15.bin"/><Relationship Id="rId27" Type="http://schemas.openxmlformats.org/officeDocument/2006/relationships/image" Target="../media/image24.svg"/><Relationship Id="rId30" Type="http://schemas.openxmlformats.org/officeDocument/2006/relationships/image" Target="../media/image27.svg"/><Relationship Id="rId8" Type="http://schemas.openxmlformats.org/officeDocument/2006/relationships/tags" Target="../tags/tag118.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svg"/><Relationship Id="rId21" Type="http://schemas.openxmlformats.org/officeDocument/2006/relationships/image" Target="../media/image51.svg"/><Relationship Id="rId7" Type="http://schemas.openxmlformats.org/officeDocument/2006/relationships/image" Target="../media/image37.svg"/><Relationship Id="rId12" Type="http://schemas.openxmlformats.org/officeDocument/2006/relationships/image" Target="../media/image42.png"/><Relationship Id="rId17" Type="http://schemas.openxmlformats.org/officeDocument/2006/relationships/image" Target="../media/image47.svg"/><Relationship Id="rId25" Type="http://schemas.openxmlformats.org/officeDocument/2006/relationships/image" Target="../media/image55.svg"/><Relationship Id="rId2" Type="http://schemas.openxmlformats.org/officeDocument/2006/relationships/image" Target="../media/image32.png"/><Relationship Id="rId16" Type="http://schemas.openxmlformats.org/officeDocument/2006/relationships/image" Target="../media/image46.png"/><Relationship Id="rId20" Type="http://schemas.openxmlformats.org/officeDocument/2006/relationships/image" Target="../media/image50.png"/><Relationship Id="rId29" Type="http://schemas.openxmlformats.org/officeDocument/2006/relationships/image" Target="../media/image59.svg"/><Relationship Id="rId1" Type="http://schemas.openxmlformats.org/officeDocument/2006/relationships/slideLayout" Target="../slideLayouts/slideLayout8.xml"/><Relationship Id="rId6" Type="http://schemas.openxmlformats.org/officeDocument/2006/relationships/image" Target="../media/image36.png"/><Relationship Id="rId11" Type="http://schemas.openxmlformats.org/officeDocument/2006/relationships/image" Target="../media/image41.svg"/><Relationship Id="rId24" Type="http://schemas.openxmlformats.org/officeDocument/2006/relationships/image" Target="../media/image54.png"/><Relationship Id="rId5" Type="http://schemas.openxmlformats.org/officeDocument/2006/relationships/image" Target="../media/image35.svg"/><Relationship Id="rId15" Type="http://schemas.openxmlformats.org/officeDocument/2006/relationships/image" Target="../media/image45.svg"/><Relationship Id="rId23" Type="http://schemas.openxmlformats.org/officeDocument/2006/relationships/image" Target="../media/image53.sv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svg"/><Relationship Id="rId31" Type="http://schemas.openxmlformats.org/officeDocument/2006/relationships/image" Target="../media/image61.sv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44.png"/><Relationship Id="rId22" Type="http://schemas.openxmlformats.org/officeDocument/2006/relationships/image" Target="../media/image52.png"/><Relationship Id="rId27" Type="http://schemas.openxmlformats.org/officeDocument/2006/relationships/image" Target="../media/image57.svg"/><Relationship Id="rId30" Type="http://schemas.openxmlformats.org/officeDocument/2006/relationships/image" Target="../media/image60.png"/></Relationships>
</file>

<file path=ppt/slides/_rels/slide9.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77.png"/><Relationship Id="rId26" Type="http://schemas.openxmlformats.org/officeDocument/2006/relationships/image" Target="../media/image85.png"/><Relationship Id="rId39" Type="http://schemas.openxmlformats.org/officeDocument/2006/relationships/image" Target="../media/image98.png"/><Relationship Id="rId21" Type="http://schemas.openxmlformats.org/officeDocument/2006/relationships/image" Target="../media/image80.png"/><Relationship Id="rId34" Type="http://schemas.openxmlformats.org/officeDocument/2006/relationships/image" Target="../media/image93.png"/><Relationship Id="rId42" Type="http://schemas.openxmlformats.org/officeDocument/2006/relationships/image" Target="../media/image101.png"/><Relationship Id="rId7" Type="http://schemas.openxmlformats.org/officeDocument/2006/relationships/image" Target="../media/image66.jpg"/><Relationship Id="rId2" Type="http://schemas.openxmlformats.org/officeDocument/2006/relationships/notesSlide" Target="../notesSlides/notesSlide5.xml"/><Relationship Id="rId16" Type="http://schemas.openxmlformats.org/officeDocument/2006/relationships/image" Target="../media/image75.png"/><Relationship Id="rId20" Type="http://schemas.openxmlformats.org/officeDocument/2006/relationships/image" Target="../media/image79.png"/><Relationship Id="rId29" Type="http://schemas.openxmlformats.org/officeDocument/2006/relationships/image" Target="../media/image88.png"/><Relationship Id="rId41" Type="http://schemas.openxmlformats.org/officeDocument/2006/relationships/image" Target="../media/image100.svg"/><Relationship Id="rId1" Type="http://schemas.openxmlformats.org/officeDocument/2006/relationships/slideLayout" Target="../slideLayouts/slideLayout8.xml"/><Relationship Id="rId6" Type="http://schemas.openxmlformats.org/officeDocument/2006/relationships/image" Target="../media/image65.png"/><Relationship Id="rId11" Type="http://schemas.openxmlformats.org/officeDocument/2006/relationships/image" Target="../media/image70.JPG"/><Relationship Id="rId24" Type="http://schemas.openxmlformats.org/officeDocument/2006/relationships/image" Target="../media/image83.png"/><Relationship Id="rId32" Type="http://schemas.openxmlformats.org/officeDocument/2006/relationships/image" Target="../media/image91.jpg"/><Relationship Id="rId37" Type="http://schemas.openxmlformats.org/officeDocument/2006/relationships/image" Target="../media/image96.png"/><Relationship Id="rId40" Type="http://schemas.openxmlformats.org/officeDocument/2006/relationships/image" Target="../media/image99.png"/><Relationship Id="rId5" Type="http://schemas.openxmlformats.org/officeDocument/2006/relationships/image" Target="../media/image64.png"/><Relationship Id="rId15" Type="http://schemas.openxmlformats.org/officeDocument/2006/relationships/image" Target="../media/image74.png"/><Relationship Id="rId23" Type="http://schemas.openxmlformats.org/officeDocument/2006/relationships/image" Target="../media/image82.jpeg"/><Relationship Id="rId28" Type="http://schemas.openxmlformats.org/officeDocument/2006/relationships/image" Target="../media/image87.png"/><Relationship Id="rId36" Type="http://schemas.openxmlformats.org/officeDocument/2006/relationships/image" Target="../media/image95.jpg"/><Relationship Id="rId10" Type="http://schemas.openxmlformats.org/officeDocument/2006/relationships/image" Target="../media/image69.png"/><Relationship Id="rId19" Type="http://schemas.openxmlformats.org/officeDocument/2006/relationships/image" Target="../media/image78.png"/><Relationship Id="rId31" Type="http://schemas.openxmlformats.org/officeDocument/2006/relationships/image" Target="../media/image90.jp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 Id="rId30" Type="http://schemas.openxmlformats.org/officeDocument/2006/relationships/image" Target="../media/image89.png"/><Relationship Id="rId35" Type="http://schemas.openxmlformats.org/officeDocument/2006/relationships/image" Target="../media/image94.png"/><Relationship Id="rId43" Type="http://schemas.openxmlformats.org/officeDocument/2006/relationships/image" Target="../media/image102.svg"/><Relationship Id="rId8" Type="http://schemas.openxmlformats.org/officeDocument/2006/relationships/image" Target="../media/image67.png"/><Relationship Id="rId3" Type="http://schemas.openxmlformats.org/officeDocument/2006/relationships/image" Target="../media/image62.pn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svg"/><Relationship Id="rId33" Type="http://schemas.openxmlformats.org/officeDocument/2006/relationships/image" Target="../media/image92.jpg"/><Relationship Id="rId38" Type="http://schemas.openxmlformats.org/officeDocument/2006/relationships/image" Target="../media/image9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
            </p:custDataLst>
          </p:nvPr>
        </p:nvGraphicFramePr>
        <p:xfrm>
          <a:off x="2251" y="-1141041"/>
          <a:ext cx="2159" cy="2159"/>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251" y="-1141041"/>
                        <a:ext cx="2159" cy="2159"/>
                      </a:xfrm>
                      <a:prstGeom prst="rect">
                        <a:avLst/>
                      </a:prstGeom>
                    </p:spPr>
                  </p:pic>
                </p:oleObj>
              </mc:Fallback>
            </mc:AlternateContent>
          </a:graphicData>
        </a:graphic>
      </p:graphicFrame>
      <p:sp>
        <p:nvSpPr>
          <p:cNvPr id="4" name="Rectangle 5" hidden="1">
            <a:extLst>
              <a:ext uri="{FF2B5EF4-FFF2-40B4-BE49-F238E27FC236}">
                <a16:creationId xmlns:a16="http://schemas.microsoft.com/office/drawing/2014/main" id="{E804E650-EE0B-4F82-8C12-814C3E9576BE}"/>
              </a:ext>
            </a:extLst>
          </p:cNvPr>
          <p:cNvSpPr/>
          <p:nvPr>
            <p:custDataLst>
              <p:tags r:id="rId2"/>
            </p:custDataLst>
          </p:nvPr>
        </p:nvSpPr>
        <p:spPr>
          <a:xfrm>
            <a:off x="90" y="1"/>
            <a:ext cx="161974"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4489" b="1" i="0" u="none" strike="noStrike" kern="1200" cap="none" spc="0" normalizeH="0" baseline="0" noProof="0" dirty="0" err="1">
              <a:ln>
                <a:noFill/>
              </a:ln>
              <a:solidFill>
                <a:srgbClr val="333333"/>
              </a:solidFill>
              <a:effectLst/>
              <a:uLnTx/>
              <a:uFillTx/>
              <a:latin typeface="Arial Narrow" panose="020B0606020202030204" pitchFamily="34" charset="0"/>
              <a:ea typeface="ＭＳ Ｐゴシック" panose="020B0600070205080204" pitchFamily="34" charset="-128"/>
              <a:cs typeface="+mn-cs"/>
              <a:sym typeface="Arial Narrow" panose="020B0606020202030204" pitchFamily="34" charset="0"/>
            </a:endParaRPr>
          </a:p>
        </p:txBody>
      </p:sp>
      <p:sp>
        <p:nvSpPr>
          <p:cNvPr id="3074" name="Rectangle 54"/>
          <p:cNvSpPr>
            <a:spLocks noGrp="1" noChangeArrowheads="1"/>
          </p:cNvSpPr>
          <p:nvPr>
            <p:ph type="ctrTitle"/>
          </p:nvPr>
        </p:nvSpPr>
        <p:spPr bwMode="gray">
          <a:xfrm>
            <a:off x="253690" y="2214277"/>
            <a:ext cx="6995601" cy="6908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fr-FR" sz="4489" dirty="0" err="1"/>
              <a:t>Toward</a:t>
            </a:r>
            <a:r>
              <a:rPr lang="fr-FR" sz="4489" dirty="0"/>
              <a:t> Smart </a:t>
            </a:r>
            <a:r>
              <a:rPr lang="fr-FR" sz="4489" dirty="0" err="1"/>
              <a:t>Government</a:t>
            </a:r>
            <a:r>
              <a:rPr lang="fr-FR" sz="4489" dirty="0"/>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1E0CA13-B26B-4933-928C-6CB20B957034}"/>
              </a:ext>
            </a:extLst>
          </p:cNvPr>
          <p:cNvGraphicFramePr>
            <a:graphicFrameLocks noChangeAspect="1"/>
          </p:cNvGraphicFramePr>
          <p:nvPr>
            <p:custDataLst>
              <p:tags r:id="rId1"/>
            </p:custData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3" name="Object 1" hidden="1">
                        <a:extLst>
                          <a:ext uri="{FF2B5EF4-FFF2-40B4-BE49-F238E27FC236}">
                            <a16:creationId xmlns:a16="http://schemas.microsoft.com/office/drawing/2014/main" id="{61E0CA13-B26B-4933-928C-6CB20B957034}"/>
                          </a:ext>
                        </a:extLst>
                      </p:cNvPr>
                      <p:cNvPicPr/>
                      <p:nvPr/>
                    </p:nvPicPr>
                    <p:blipFill>
                      <a:blip r:embed="rId30"/>
                      <a:stretch>
                        <a:fillRect/>
                      </a:stretch>
                    </p:blipFill>
                    <p:spPr>
                      <a:xfrm>
                        <a:off x="1801" y="1672"/>
                        <a:ext cx="1620" cy="1620"/>
                      </a:xfrm>
                      <a:prstGeom prst="rect">
                        <a:avLst/>
                      </a:prstGeom>
                    </p:spPr>
                  </p:pic>
                </p:oleObj>
              </mc:Fallback>
            </mc:AlternateContent>
          </a:graphicData>
        </a:graphic>
      </p:graphicFrame>
      <p:sp>
        <p:nvSpPr>
          <p:cNvPr id="11" name="Rectangle 2" hidden="1">
            <a:extLst>
              <a:ext uri="{FF2B5EF4-FFF2-40B4-BE49-F238E27FC236}">
                <a16:creationId xmlns:a16="http://schemas.microsoft.com/office/drawing/2014/main" id="{B3FAD527-B2F5-4243-9188-74B0904D9D16}"/>
              </a:ext>
            </a:extLst>
          </p:cNvPr>
          <p:cNvSpPr/>
          <p:nvPr>
            <p:custDataLst>
              <p:tags r:id="rId2"/>
            </p:custDataLst>
          </p:nvPr>
        </p:nvSpPr>
        <p:spPr>
          <a:xfrm>
            <a:off x="181" y="52"/>
            <a:ext cx="161971" cy="161971"/>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32962" fontAlgn="base">
              <a:spcBef>
                <a:spcPct val="0"/>
              </a:spcBef>
              <a:spcAft>
                <a:spcPct val="0"/>
              </a:spcAft>
            </a:pPr>
            <a:endParaRPr lang="fr-FR" sz="2449" b="1" dirty="0">
              <a:solidFill>
                <a:srgbClr val="333333"/>
              </a:solidFill>
              <a:latin typeface="Arial Narrow" panose="020B0606020202030204" pitchFamily="34" charset="0"/>
              <a:ea typeface="ＭＳ Ｐゴシック" panose="020B0600070205080204" pitchFamily="34" charset="-128"/>
              <a:sym typeface="Arial Narrow" panose="020B0606020202030204" pitchFamily="34" charset="0"/>
            </a:endParaRPr>
          </a:p>
        </p:txBody>
      </p:sp>
      <p:grpSp>
        <p:nvGrpSpPr>
          <p:cNvPr id="21" name="Group 20">
            <a:extLst>
              <a:ext uri="{FF2B5EF4-FFF2-40B4-BE49-F238E27FC236}">
                <a16:creationId xmlns:a16="http://schemas.microsoft.com/office/drawing/2014/main" id="{9685BF59-F82F-4F79-B8EB-0467006D2245}"/>
              </a:ext>
            </a:extLst>
          </p:cNvPr>
          <p:cNvGrpSpPr/>
          <p:nvPr/>
        </p:nvGrpSpPr>
        <p:grpSpPr>
          <a:xfrm>
            <a:off x="181" y="52"/>
            <a:ext cx="3830014" cy="6861137"/>
            <a:chOff x="0" y="-1"/>
            <a:chExt cx="3753823" cy="6724650"/>
          </a:xfrm>
        </p:grpSpPr>
        <p:pic>
          <p:nvPicPr>
            <p:cNvPr id="38" name="Picture 37">
              <a:extLst>
                <a:ext uri="{FF2B5EF4-FFF2-40B4-BE49-F238E27FC236}">
                  <a16:creationId xmlns:a16="http://schemas.microsoft.com/office/drawing/2014/main" id="{FC93D8A5-60FF-4866-A32F-BDDCEB5613E1}"/>
                </a:ext>
              </a:extLst>
            </p:cNvPr>
            <p:cNvPicPr>
              <a:picLocks/>
            </p:cNvPicPr>
            <p:nvPr/>
          </p:nvPicPr>
          <p:blipFill rotWithShape="1">
            <a:blip r:embed="rId31" cstate="print">
              <a:duotone>
                <a:prstClr val="black"/>
                <a:schemeClr val="accent4">
                  <a:tint val="45000"/>
                  <a:satMod val="400000"/>
                </a:schemeClr>
              </a:duotone>
              <a:extLst>
                <a:ext uri="{BEBA8EAE-BF5A-486C-A8C5-ECC9F3942E4B}">
                  <a14:imgProps xmlns:a14="http://schemas.microsoft.com/office/drawing/2010/main">
                    <a14:imgLayer r:embed="rId32">
                      <a14:imgEffect>
                        <a14:saturation sat="0"/>
                      </a14:imgEffect>
                    </a14:imgLayer>
                  </a14:imgProps>
                </a:ext>
                <a:ext uri="{28A0092B-C50C-407E-A947-70E740481C1C}">
                  <a14:useLocalDpi xmlns:a14="http://schemas.microsoft.com/office/drawing/2010/main" val="0"/>
                </a:ext>
              </a:extLst>
            </a:blip>
            <a:srcRect l="54670" t="-193" r="19944" b="21868"/>
            <a:stretch/>
          </p:blipFill>
          <p:spPr>
            <a:xfrm>
              <a:off x="0" y="-1"/>
              <a:ext cx="3745058" cy="6721476"/>
            </a:xfrm>
            <a:prstGeom prst="rect">
              <a:avLst/>
            </a:prstGeom>
          </p:spPr>
        </p:pic>
        <p:sp>
          <p:nvSpPr>
            <p:cNvPr id="43" name="Rectangle 42">
              <a:extLst>
                <a:ext uri="{FF2B5EF4-FFF2-40B4-BE49-F238E27FC236}">
                  <a16:creationId xmlns:a16="http://schemas.microsoft.com/office/drawing/2014/main" id="{A968AFCA-E7E9-4923-9D4E-FE2E48C9A72D}"/>
                </a:ext>
              </a:extLst>
            </p:cNvPr>
            <p:cNvSpPr>
              <a:spLocks/>
            </p:cNvSpPr>
            <p:nvPr/>
          </p:nvSpPr>
          <p:spPr>
            <a:xfrm>
              <a:off x="8765" y="0"/>
              <a:ext cx="3745058" cy="6724649"/>
            </a:xfrm>
            <a:prstGeom prst="rect">
              <a:avLst/>
            </a:prstGeom>
            <a:solidFill>
              <a:schemeClr val="accent4">
                <a:lumMod val="75000"/>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32962" fontAlgn="base">
                <a:spcBef>
                  <a:spcPct val="0"/>
                </a:spcBef>
                <a:spcAft>
                  <a:spcPct val="0"/>
                </a:spcAft>
              </a:pPr>
              <a:endParaRPr lang="fr-FR" sz="1837" dirty="0">
                <a:solidFill>
                  <a:srgbClr val="333333"/>
                </a:solidFill>
                <a:latin typeface="Arial Nova Light"/>
                <a:ea typeface="ＭＳ Ｐゴシック"/>
              </a:endParaRPr>
            </a:p>
          </p:txBody>
        </p:sp>
      </p:grpSp>
      <p:sp>
        <p:nvSpPr>
          <p:cNvPr id="2" name="Title Placeholder 2">
            <a:extLst>
              <a:ext uri="{FF2B5EF4-FFF2-40B4-BE49-F238E27FC236}">
                <a16:creationId xmlns:a16="http://schemas.microsoft.com/office/drawing/2014/main" id="{019BC57C-9120-4B3C-89C4-C5064F346D34}"/>
              </a:ext>
            </a:extLst>
          </p:cNvPr>
          <p:cNvSpPr>
            <a:spLocks noGrp="1"/>
          </p:cNvSpPr>
          <p:nvPr>
            <p:ph type="title"/>
          </p:nvPr>
        </p:nvSpPr>
        <p:spPr>
          <a:xfrm>
            <a:off x="3997065" y="283086"/>
            <a:ext cx="6750444" cy="760276"/>
          </a:xfrm>
        </p:spPr>
        <p:txBody>
          <a:bodyPr/>
          <a:lstStyle/>
          <a:p>
            <a:pPr algn="just"/>
            <a:r>
              <a:rPr lang="fr-FR" dirty="0"/>
              <a:t>La Digital </a:t>
            </a:r>
            <a:r>
              <a:rPr lang="fr-FR" dirty="0" err="1"/>
              <a:t>Factory</a:t>
            </a:r>
            <a:r>
              <a:rPr lang="fr-FR" dirty="0"/>
              <a:t>  est le moteur des transformations digitales des administrations</a:t>
            </a:r>
          </a:p>
        </p:txBody>
      </p:sp>
      <p:sp>
        <p:nvSpPr>
          <p:cNvPr id="7" name="TextBox 6">
            <a:extLst>
              <a:ext uri="{FF2B5EF4-FFF2-40B4-BE49-F238E27FC236}">
                <a16:creationId xmlns:a16="http://schemas.microsoft.com/office/drawing/2014/main" id="{7A5E00AB-78FD-4DBE-B444-4C56EAFAD140}"/>
              </a:ext>
            </a:extLst>
          </p:cNvPr>
          <p:cNvSpPr txBox="1">
            <a:spLocks/>
          </p:cNvSpPr>
          <p:nvPr/>
        </p:nvSpPr>
        <p:spPr>
          <a:xfrm>
            <a:off x="353561" y="2346390"/>
            <a:ext cx="3220251" cy="17306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indent="366056" defTabSz="1218095" fontAlgn="base">
              <a:spcBef>
                <a:spcPts val="612"/>
              </a:spcBef>
              <a:spcAft>
                <a:spcPct val="0"/>
              </a:spcAft>
              <a:buClr>
                <a:srgbClr val="149AC2"/>
              </a:buClr>
            </a:pPr>
            <a:r>
              <a:rPr lang="fr-FR" sz="1837" b="1" dirty="0">
                <a:solidFill>
                  <a:srgbClr val="FFFFFF"/>
                </a:solidFill>
                <a:latin typeface="Arial Nova Light"/>
                <a:ea typeface="ＭＳ Ｐゴシック"/>
              </a:rPr>
              <a:t>La Digital </a:t>
            </a:r>
            <a:r>
              <a:rPr lang="fr-FR" sz="1837" b="1" dirty="0" err="1">
                <a:solidFill>
                  <a:srgbClr val="FFFFFF"/>
                </a:solidFill>
                <a:latin typeface="Arial Nova Light"/>
                <a:ea typeface="ＭＳ Ｐゴシック"/>
              </a:rPr>
              <a:t>Factory</a:t>
            </a:r>
            <a:r>
              <a:rPr lang="fr-FR" sz="1837" b="1" dirty="0">
                <a:solidFill>
                  <a:srgbClr val="FFFFFF"/>
                </a:solidFill>
                <a:latin typeface="Arial Nova Light"/>
                <a:ea typeface="ＭＳ Ｐゴシック"/>
              </a:rPr>
              <a:t>, une entité de l’ADD ayant pour vocation de soutenir la transformation digitale de l’administration en s’appuyant sur des partenaires privés</a:t>
            </a:r>
          </a:p>
        </p:txBody>
      </p:sp>
      <p:sp>
        <p:nvSpPr>
          <p:cNvPr id="8" name="TextBox 7">
            <a:extLst>
              <a:ext uri="{FF2B5EF4-FFF2-40B4-BE49-F238E27FC236}">
                <a16:creationId xmlns:a16="http://schemas.microsoft.com/office/drawing/2014/main" id="{19E5F272-E7F9-442B-A497-6A366DB84419}"/>
              </a:ext>
            </a:extLst>
          </p:cNvPr>
          <p:cNvSpPr txBox="1"/>
          <p:nvPr/>
        </p:nvSpPr>
        <p:spPr bwMode="gray">
          <a:xfrm rot="10800000">
            <a:off x="117938" y="2024862"/>
            <a:ext cx="524624" cy="780267"/>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defTabSz="913526" fontAlgn="base">
              <a:spcBef>
                <a:spcPct val="0"/>
              </a:spcBef>
              <a:spcAft>
                <a:spcPts val="408"/>
              </a:spcAft>
              <a:buClr>
                <a:srgbClr val="FFFFFF"/>
              </a:buClr>
            </a:pPr>
            <a:r>
              <a:rPr lang="fr-FR" sz="8979" dirty="0">
                <a:solidFill>
                  <a:srgbClr val="FFFFFF"/>
                </a:solidFill>
                <a:latin typeface="Georgia" panose="02040502050405020303" pitchFamily="18" charset="0"/>
                <a:ea typeface="ＭＳ Ｐゴシック"/>
              </a:rPr>
              <a:t>”</a:t>
            </a:r>
            <a:endParaRPr lang="fr-FR" sz="3265" dirty="0">
              <a:solidFill>
                <a:srgbClr val="FFFFFF"/>
              </a:solidFill>
              <a:latin typeface="Georgia" panose="02040502050405020303" pitchFamily="18" charset="0"/>
              <a:ea typeface="ＭＳ Ｐゴシック"/>
            </a:endParaRPr>
          </a:p>
        </p:txBody>
      </p:sp>
      <p:sp>
        <p:nvSpPr>
          <p:cNvPr id="9" name="TextBox 8">
            <a:extLst>
              <a:ext uri="{FF2B5EF4-FFF2-40B4-BE49-F238E27FC236}">
                <a16:creationId xmlns:a16="http://schemas.microsoft.com/office/drawing/2014/main" id="{0C1C300B-6FEB-4024-AD2B-044CB6B2C9E4}"/>
              </a:ext>
            </a:extLst>
          </p:cNvPr>
          <p:cNvSpPr txBox="1"/>
          <p:nvPr/>
        </p:nvSpPr>
        <p:spPr bwMode="gray">
          <a:xfrm>
            <a:off x="1055385" y="3702961"/>
            <a:ext cx="524624" cy="780267"/>
          </a:xfrm>
          <a:prstGeom prst="rect">
            <a:avLst/>
          </a:prstGeom>
        </p:spPr>
        <p:txBody>
          <a:bodyPr vert="horz" wrap="none" lIns="0" tIns="0" rIns="0" bIns="0" rtlCol="0" anchor="t" anchorCtr="0">
            <a:noAutofit/>
          </a:bodyPr>
          <a:lstStyle>
            <a:lvl1pPr marL="0" lvl="0" indent="0" defTabSz="895350" eaLnBrk="1" latinLnBrk="0" hangingPunct="1">
              <a:lnSpc>
                <a:spcPct val="100000"/>
              </a:lnSpc>
              <a:spcAft>
                <a:spcPts val="400"/>
              </a:spcAft>
              <a:buClr>
                <a:schemeClr val="tx2"/>
              </a:buClr>
              <a:buSzPct val="100000"/>
              <a:defRPr lang="en-US" b="0" baseline="0" dirty="0">
                <a:latin typeface="+mn-lt"/>
              </a:defRPr>
            </a:lvl1pPr>
            <a:lvl2pPr marL="193675" lvl="1" indent="-192088" defTabSz="895350" eaLnBrk="1" latinLnBrk="0" hangingPunct="1">
              <a:lnSpc>
                <a:spcPct val="100000"/>
              </a:lnSpc>
              <a:spcAft>
                <a:spcPts val="400"/>
              </a:spcAft>
              <a:buClr>
                <a:schemeClr val="tx1"/>
              </a:buClr>
              <a:buSzPct val="125000"/>
              <a:buFont typeface="Arial" charset="0"/>
              <a:buChar char="▪"/>
              <a:defRPr lang="en-US" b="0" baseline="0" dirty="0">
                <a:latin typeface="+mn-lt"/>
              </a:defRPr>
            </a:lvl2pPr>
            <a:lvl3pPr marL="457200" lvl="2" indent="-261938" defTabSz="895350" eaLnBrk="1" latinLnBrk="0" hangingPunct="1">
              <a:lnSpc>
                <a:spcPct val="100000"/>
              </a:lnSpc>
              <a:spcAft>
                <a:spcPts val="400"/>
              </a:spcAft>
              <a:buClr>
                <a:schemeClr val="tx1"/>
              </a:buClr>
              <a:buSzPct val="120000"/>
              <a:buFont typeface="Arial" charset="0"/>
              <a:buChar char="–"/>
              <a:defRPr lang="en-US" baseline="0" dirty="0">
                <a:latin typeface="+mn-lt"/>
              </a:defRPr>
            </a:lvl3pPr>
            <a:lvl4pPr marL="614363" lvl="3" indent="-155575" defTabSz="895350" eaLnBrk="1" latinLnBrk="0" hangingPunct="1">
              <a:lnSpc>
                <a:spcPct val="100000"/>
              </a:lnSpc>
              <a:spcAft>
                <a:spcPts val="400"/>
              </a:spcAft>
              <a:buClr>
                <a:schemeClr val="tx1"/>
              </a:buClr>
              <a:buSzPct val="120000"/>
              <a:buFont typeface="Arial" charset="0"/>
              <a:buChar char="▫"/>
              <a:defRPr lang="en-US" baseline="0" dirty="0">
                <a:latin typeface="+mn-lt"/>
              </a:defRPr>
            </a:lvl4pPr>
            <a:lvl5pPr marL="749808" lvl="4" indent="-130175" defTabSz="895350" eaLnBrk="1" latinLnBrk="0" hangingPunct="1">
              <a:lnSpc>
                <a:spcPct val="100000"/>
              </a:lnSpc>
              <a:spcAft>
                <a:spcPts val="400"/>
              </a:spcAft>
              <a:buClr>
                <a:schemeClr val="tx1"/>
              </a:buClr>
              <a:buSzPct val="89000"/>
              <a:buFont typeface="Arial" charset="0"/>
              <a:buChar char="-"/>
              <a:tabLst/>
              <a:defRPr lang="en-US" baseline="0" dirty="0">
                <a:latin typeface="+mn-lt"/>
              </a:defRPr>
            </a:lvl5pPr>
            <a:lvl6pPr marL="1306655" indent="-226849" defTabSz="1560283" fontAlgn="base">
              <a:spcBef>
                <a:spcPct val="0"/>
              </a:spcBef>
              <a:spcAft>
                <a:spcPct val="0"/>
              </a:spcAft>
              <a:buClr>
                <a:schemeClr val="tx2"/>
              </a:buClr>
              <a:buSzPct val="89000"/>
              <a:buFont typeface="Arial" charset="0"/>
              <a:buChar char="-"/>
              <a:defRPr lang="x-none" sz="2789" baseline="0">
                <a:latin typeface="+mn-lt"/>
              </a:defRPr>
            </a:lvl6pPr>
            <a:lvl7pPr marL="1306655" indent="-226849" defTabSz="1560283" fontAlgn="base">
              <a:spcBef>
                <a:spcPct val="0"/>
              </a:spcBef>
              <a:spcAft>
                <a:spcPct val="0"/>
              </a:spcAft>
              <a:buClr>
                <a:schemeClr val="tx2"/>
              </a:buClr>
              <a:buSzPct val="89000"/>
              <a:buFont typeface="Arial" charset="0"/>
              <a:buChar char="-"/>
              <a:defRPr lang="x-none" sz="2789" baseline="0">
                <a:latin typeface="+mn-lt"/>
              </a:defRPr>
            </a:lvl7pPr>
            <a:lvl8pPr marL="1306655" indent="-226849" defTabSz="1560283" fontAlgn="base">
              <a:spcBef>
                <a:spcPct val="0"/>
              </a:spcBef>
              <a:spcAft>
                <a:spcPct val="0"/>
              </a:spcAft>
              <a:buClr>
                <a:schemeClr val="tx2"/>
              </a:buClr>
              <a:buSzPct val="89000"/>
              <a:buFont typeface="Arial" charset="0"/>
              <a:buChar char="-"/>
              <a:defRPr lang="x-none" sz="2789" baseline="0">
                <a:latin typeface="+mn-lt"/>
              </a:defRPr>
            </a:lvl8pPr>
            <a:lvl9pPr marL="1306655" indent="-226849" defTabSz="1560283" fontAlgn="base">
              <a:spcBef>
                <a:spcPct val="0"/>
              </a:spcBef>
              <a:spcAft>
                <a:spcPct val="0"/>
              </a:spcAft>
              <a:buClr>
                <a:schemeClr val="tx2"/>
              </a:buClr>
              <a:buSzPct val="89000"/>
              <a:buFont typeface="Arial" charset="0"/>
              <a:buChar char="-"/>
              <a:defRPr lang="x-none" sz="2789" baseline="0">
                <a:latin typeface="+mn-lt"/>
              </a:defRPr>
            </a:lvl9pPr>
          </a:lstStyle>
          <a:p>
            <a:pPr defTabSz="913526" fontAlgn="base">
              <a:spcBef>
                <a:spcPct val="0"/>
              </a:spcBef>
              <a:spcAft>
                <a:spcPts val="408"/>
              </a:spcAft>
              <a:buClr>
                <a:srgbClr val="FFFFFF"/>
              </a:buClr>
            </a:pPr>
            <a:r>
              <a:rPr lang="fr-FR" sz="8979" dirty="0">
                <a:solidFill>
                  <a:srgbClr val="FFFFFF"/>
                </a:solidFill>
                <a:latin typeface="Georgia" panose="02040502050405020303" pitchFamily="18" charset="0"/>
                <a:ea typeface="ＭＳ Ｐゴシック"/>
              </a:rPr>
              <a:t>”</a:t>
            </a:r>
            <a:endParaRPr lang="fr-FR" sz="3265" dirty="0">
              <a:solidFill>
                <a:srgbClr val="FFFFFF"/>
              </a:solidFill>
              <a:latin typeface="Georgia" panose="02040502050405020303" pitchFamily="18" charset="0"/>
              <a:ea typeface="ＭＳ Ｐゴシック"/>
            </a:endParaRPr>
          </a:p>
        </p:txBody>
      </p:sp>
      <p:pic>
        <p:nvPicPr>
          <p:cNvPr id="17" name="CustomIcon">
            <a:extLst>
              <a:ext uri="{FF2B5EF4-FFF2-40B4-BE49-F238E27FC236}">
                <a16:creationId xmlns:a16="http://schemas.microsoft.com/office/drawing/2014/main" id="{D81B61FF-7503-4287-B0B4-375D4344CBFA}"/>
              </a:ext>
            </a:extLst>
          </p:cNvPr>
          <p:cNvPicPr>
            <a:picLocks noChangeAspect="1"/>
          </p:cNvPicPr>
          <p:nvPr>
            <p:custDataLst>
              <p:tags r:id="rId3"/>
            </p:custDataLst>
          </p:nvPr>
        </p:nvPicPr>
        <p:blipFill>
          <a:blip r:embed="rId33">
            <a:extLst>
              <a:ext uri="{96DAC541-7B7A-43D3-8B79-37D633B846F1}">
                <asvg:svgBlip xmlns:asvg="http://schemas.microsoft.com/office/drawing/2016/SVG/main" r:embed="rId34"/>
              </a:ext>
            </a:extLst>
          </a:blip>
          <a:stretch>
            <a:fillRect/>
          </a:stretch>
        </p:blipFill>
        <p:spPr>
          <a:xfrm>
            <a:off x="4286960" y="1676049"/>
            <a:ext cx="568806" cy="568806"/>
          </a:xfrm>
          <a:prstGeom prst="rect">
            <a:avLst/>
          </a:prstGeom>
        </p:spPr>
      </p:pic>
      <p:cxnSp>
        <p:nvCxnSpPr>
          <p:cNvPr id="45" name="Straight Connector 44">
            <a:extLst>
              <a:ext uri="{FF2B5EF4-FFF2-40B4-BE49-F238E27FC236}">
                <a16:creationId xmlns:a16="http://schemas.microsoft.com/office/drawing/2014/main" id="{92A7CF4A-FCE9-461C-92D9-A27974CB54B1}"/>
              </a:ext>
            </a:extLst>
          </p:cNvPr>
          <p:cNvCxnSpPr>
            <a:cxnSpLocks/>
          </p:cNvCxnSpPr>
          <p:nvPr/>
        </p:nvCxnSpPr>
        <p:spPr>
          <a:xfrm>
            <a:off x="5354695" y="1234122"/>
            <a:ext cx="0" cy="3342491"/>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48D1FC2-3485-41AE-B7C7-353FD89C34A3}"/>
              </a:ext>
            </a:extLst>
          </p:cNvPr>
          <p:cNvSpPr txBox="1"/>
          <p:nvPr/>
        </p:nvSpPr>
        <p:spPr>
          <a:xfrm>
            <a:off x="3997064" y="2461763"/>
            <a:ext cx="1150306" cy="11537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pPr>
            <a:r>
              <a:rPr lang="fr-FR" sz="1837" b="1" dirty="0">
                <a:solidFill>
                  <a:srgbClr val="149AC2"/>
                </a:solidFill>
                <a:latin typeface="Arial Nova Light"/>
                <a:ea typeface="ＭＳ Ｐゴシック"/>
              </a:rPr>
              <a:t>Rappel des principes agiles clés adoptés</a:t>
            </a:r>
          </a:p>
        </p:txBody>
      </p:sp>
      <p:sp>
        <p:nvSpPr>
          <p:cNvPr id="12" name="TextBox 11">
            <a:extLst>
              <a:ext uri="{FF2B5EF4-FFF2-40B4-BE49-F238E27FC236}">
                <a16:creationId xmlns:a16="http://schemas.microsoft.com/office/drawing/2014/main" id="{C61D0BFA-1583-4F1B-96B4-4F68091EB13D}"/>
              </a:ext>
            </a:extLst>
          </p:cNvPr>
          <p:cNvSpPr txBox="1">
            <a:spLocks/>
          </p:cNvSpPr>
          <p:nvPr/>
        </p:nvSpPr>
        <p:spPr>
          <a:xfrm>
            <a:off x="5471142" y="4674521"/>
            <a:ext cx="6263188" cy="20107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Plateforme </a:t>
            </a:r>
            <a:r>
              <a:rPr lang="fr-FR" sz="1428" b="1" dirty="0" err="1">
                <a:solidFill>
                  <a:srgbClr val="149AC2"/>
                </a:solidFill>
                <a:latin typeface="Arial Nova Light"/>
                <a:ea typeface="ＭＳ Ｐゴシック"/>
              </a:rPr>
              <a:t>Ziara</a:t>
            </a:r>
            <a:r>
              <a:rPr lang="fr-FR" sz="1428" b="1" dirty="0">
                <a:solidFill>
                  <a:srgbClr val="149AC2"/>
                </a:solidFill>
                <a:latin typeface="Arial Nova Light"/>
                <a:ea typeface="ＭＳ Ｐゴシック"/>
              </a:rPr>
              <a:t> </a:t>
            </a: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Plateforme </a:t>
            </a:r>
            <a:r>
              <a:rPr lang="fr-FR" sz="1428" b="1" dirty="0" err="1">
                <a:solidFill>
                  <a:srgbClr val="149AC2"/>
                </a:solidFill>
                <a:latin typeface="Arial Nova Light"/>
                <a:ea typeface="ＭＳ Ｐゴシック"/>
              </a:rPr>
              <a:t>Startuphubmaroc</a:t>
            </a:r>
            <a:endParaRPr lang="fr-FR" sz="1428" b="1" dirty="0">
              <a:solidFill>
                <a:srgbClr val="149AC2"/>
              </a:solidFill>
              <a:latin typeface="Arial Nova Light"/>
              <a:ea typeface="ＭＳ Ｐゴシック"/>
            </a:endParaRP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Plateforme e-</a:t>
            </a:r>
            <a:r>
              <a:rPr lang="fr-FR" sz="1428" b="1" dirty="0" err="1">
                <a:solidFill>
                  <a:srgbClr val="149AC2"/>
                </a:solidFill>
                <a:latin typeface="Arial Nova Light"/>
                <a:ea typeface="ＭＳ Ｐゴシック"/>
              </a:rPr>
              <a:t>Himaya</a:t>
            </a:r>
            <a:endParaRPr lang="fr-FR" sz="1428" b="1" dirty="0">
              <a:solidFill>
                <a:srgbClr val="149AC2"/>
              </a:solidFill>
              <a:latin typeface="Arial Nova Light"/>
              <a:ea typeface="ＭＳ Ｐゴシック"/>
            </a:endParaRP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Plateforme d’approvisionnement</a:t>
            </a: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Refonte de </a:t>
            </a:r>
            <a:r>
              <a:rPr lang="fr-FR" sz="1428" b="1" dirty="0" err="1">
                <a:solidFill>
                  <a:srgbClr val="149AC2"/>
                </a:solidFill>
                <a:latin typeface="Arial Nova Light"/>
                <a:ea typeface="ＭＳ Ｐゴシック"/>
              </a:rPr>
              <a:t>Mahakim</a:t>
            </a:r>
            <a:endParaRPr lang="fr-FR" sz="1428" b="1" dirty="0">
              <a:solidFill>
                <a:srgbClr val="149AC2"/>
              </a:solidFill>
              <a:latin typeface="Arial Nova Light"/>
              <a:ea typeface="ＭＳ Ｐゴシック"/>
            </a:endParaRP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Open API</a:t>
            </a:r>
          </a:p>
          <a:p>
            <a:pPr marL="367308" lvl="2" indent="-183654" defTabSz="1218095" fontAlgn="base">
              <a:spcBef>
                <a:spcPts val="612"/>
              </a:spcBef>
              <a:spcAft>
                <a:spcPct val="0"/>
              </a:spcAft>
              <a:buClr>
                <a:srgbClr val="149AC2"/>
              </a:buClr>
            </a:pPr>
            <a:r>
              <a:rPr lang="fr-FR" sz="1428" b="1" dirty="0">
                <a:solidFill>
                  <a:srgbClr val="149AC2"/>
                </a:solidFill>
                <a:latin typeface="Arial Nova Light"/>
                <a:ea typeface="ＭＳ Ｐゴシック"/>
              </a:rPr>
              <a:t>Application de suivi social suite au séisme AL Haouz </a:t>
            </a:r>
          </a:p>
        </p:txBody>
      </p:sp>
      <p:pic>
        <p:nvPicPr>
          <p:cNvPr id="26" name="CustomIcon">
            <a:extLst>
              <a:ext uri="{FF2B5EF4-FFF2-40B4-BE49-F238E27FC236}">
                <a16:creationId xmlns:a16="http://schemas.microsoft.com/office/drawing/2014/main" id="{21A0D33C-2A31-4A9E-87DE-A50F704EA727}"/>
              </a:ext>
            </a:extLst>
          </p:cNvPr>
          <p:cNvPicPr>
            <a:picLocks/>
          </p:cNvPicPr>
          <p:nvPr>
            <p:custDataLst>
              <p:tags r:id="rId4"/>
            </p:custDataLst>
          </p:nvPr>
        </p:nvPicPr>
        <p:blipFill>
          <a:blip r:embed="rId35">
            <a:extLst>
              <a:ext uri="{96DAC541-7B7A-43D3-8B79-37D633B846F1}">
                <asvg:svgBlip xmlns:asvg="http://schemas.microsoft.com/office/drawing/2016/SVG/main" r:embed="rId36"/>
              </a:ext>
            </a:extLst>
          </a:blip>
          <a:stretch>
            <a:fillRect/>
          </a:stretch>
        </p:blipFill>
        <p:spPr>
          <a:xfrm>
            <a:off x="4313144" y="4988779"/>
            <a:ext cx="516435" cy="516435"/>
          </a:xfrm>
          <a:prstGeom prst="rect">
            <a:avLst/>
          </a:prstGeom>
        </p:spPr>
      </p:pic>
      <p:cxnSp>
        <p:nvCxnSpPr>
          <p:cNvPr id="46" name="Straight Connector 45">
            <a:extLst>
              <a:ext uri="{FF2B5EF4-FFF2-40B4-BE49-F238E27FC236}">
                <a16:creationId xmlns:a16="http://schemas.microsoft.com/office/drawing/2014/main" id="{AB814162-7EC4-4B6A-87FD-76CDAF522316}"/>
              </a:ext>
            </a:extLst>
          </p:cNvPr>
          <p:cNvCxnSpPr>
            <a:cxnSpLocks/>
          </p:cNvCxnSpPr>
          <p:nvPr/>
        </p:nvCxnSpPr>
        <p:spPr>
          <a:xfrm>
            <a:off x="5354695" y="4762906"/>
            <a:ext cx="0" cy="1836534"/>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6FEF9D0-43D4-4543-AD68-F38AA671577E}"/>
              </a:ext>
            </a:extLst>
          </p:cNvPr>
          <p:cNvSpPr txBox="1"/>
          <p:nvPr/>
        </p:nvSpPr>
        <p:spPr>
          <a:xfrm>
            <a:off x="4058018" y="5760905"/>
            <a:ext cx="1150306" cy="5768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pPr>
            <a:r>
              <a:rPr lang="fr-FR" sz="1837" b="1" dirty="0">
                <a:solidFill>
                  <a:srgbClr val="149AC2"/>
                </a:solidFill>
                <a:latin typeface="Arial Nova Light"/>
                <a:ea typeface="ＭＳ Ｐゴシック"/>
              </a:rPr>
              <a:t>Progrès accomplis</a:t>
            </a:r>
          </a:p>
        </p:txBody>
      </p:sp>
      <p:grpSp>
        <p:nvGrpSpPr>
          <p:cNvPr id="108" name="Group 162">
            <a:extLst>
              <a:ext uri="{FF2B5EF4-FFF2-40B4-BE49-F238E27FC236}">
                <a16:creationId xmlns:a16="http://schemas.microsoft.com/office/drawing/2014/main" id="{F47DC583-5BA2-4360-82F1-24AE016D0C51}"/>
              </a:ext>
            </a:extLst>
          </p:cNvPr>
          <p:cNvGrpSpPr/>
          <p:nvPr/>
        </p:nvGrpSpPr>
        <p:grpSpPr>
          <a:xfrm>
            <a:off x="9319553" y="2972970"/>
            <a:ext cx="1453082" cy="1624452"/>
            <a:chOff x="7572668" y="4702385"/>
            <a:chExt cx="1395845" cy="1560466"/>
          </a:xfrm>
        </p:grpSpPr>
        <p:sp>
          <p:nvSpPr>
            <p:cNvPr id="109" name="TextBox 41">
              <a:extLst>
                <a:ext uri="{FF2B5EF4-FFF2-40B4-BE49-F238E27FC236}">
                  <a16:creationId xmlns:a16="http://schemas.microsoft.com/office/drawing/2014/main" id="{720D1E8B-6FAE-426D-86D5-E07E668F7B2C}"/>
                </a:ext>
              </a:extLst>
            </p:cNvPr>
            <p:cNvSpPr txBox="1">
              <a:spLocks/>
            </p:cNvSpPr>
            <p:nvPr>
              <p:custDataLst>
                <p:tags r:id="rId24"/>
              </p:custDataLst>
            </p:nvPr>
          </p:nvSpPr>
          <p:spPr>
            <a:xfrm>
              <a:off x="7572668" y="4702385"/>
              <a:ext cx="1395845" cy="1560466"/>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Une gouvernance “légère” mais ciblée</a:t>
              </a:r>
            </a:p>
          </p:txBody>
        </p:sp>
        <p:sp>
          <p:nvSpPr>
            <p:cNvPr id="110" name="Oval 11">
              <a:extLst>
                <a:ext uri="{FF2B5EF4-FFF2-40B4-BE49-F238E27FC236}">
                  <a16:creationId xmlns:a16="http://schemas.microsoft.com/office/drawing/2014/main" id="{CE5E51F8-FCA7-4F9F-9B28-9DBC4D5B85C7}"/>
                </a:ext>
              </a:extLst>
            </p:cNvPr>
            <p:cNvSpPr txBox="1">
              <a:spLocks/>
            </p:cNvSpPr>
            <p:nvPr>
              <p:custDataLst>
                <p:tags r:id="rId25"/>
              </p:custDataLst>
            </p:nvPr>
          </p:nvSpPr>
          <p:spPr>
            <a:xfrm>
              <a:off x="7603148" y="4736217"/>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7</a:t>
              </a:r>
            </a:p>
          </p:txBody>
        </p:sp>
        <p:grpSp>
          <p:nvGrpSpPr>
            <p:cNvPr id="111" name="Group 27">
              <a:extLst>
                <a:ext uri="{FF2B5EF4-FFF2-40B4-BE49-F238E27FC236}">
                  <a16:creationId xmlns:a16="http://schemas.microsoft.com/office/drawing/2014/main" id="{179215CF-9198-429C-88EF-CB716913431E}"/>
                </a:ext>
              </a:extLst>
            </p:cNvPr>
            <p:cNvGrpSpPr>
              <a:grpSpLocks/>
            </p:cNvGrpSpPr>
            <p:nvPr/>
          </p:nvGrpSpPr>
          <p:grpSpPr>
            <a:xfrm>
              <a:off x="8363832" y="5673783"/>
              <a:ext cx="536103" cy="530559"/>
              <a:chOff x="7942803" y="7498974"/>
              <a:chExt cx="536111" cy="530567"/>
            </a:xfrm>
          </p:grpSpPr>
          <p:sp>
            <p:nvSpPr>
              <p:cNvPr id="112" name="Oval 11">
                <a:extLst>
                  <a:ext uri="{FF2B5EF4-FFF2-40B4-BE49-F238E27FC236}">
                    <a16:creationId xmlns:a16="http://schemas.microsoft.com/office/drawing/2014/main" id="{48AC8F7E-276A-436E-8B3E-0EDCC5EEE016}"/>
                  </a:ext>
                </a:extLst>
              </p:cNvPr>
              <p:cNvSpPr txBox="1"/>
              <p:nvPr>
                <p:custDataLst>
                  <p:tags r:id="rId26"/>
                </p:custDataLst>
              </p:nvPr>
            </p:nvSpPr>
            <p:spPr>
              <a:xfrm>
                <a:off x="7942803" y="7498974"/>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sp>
            <p:nvSpPr>
              <p:cNvPr id="113" name="Freeform 36">
                <a:extLst>
                  <a:ext uri="{FF2B5EF4-FFF2-40B4-BE49-F238E27FC236}">
                    <a16:creationId xmlns:a16="http://schemas.microsoft.com/office/drawing/2014/main" id="{B1040A30-4E59-41F8-B9E0-67EB6682A6ED}"/>
                  </a:ext>
                </a:extLst>
              </p:cNvPr>
              <p:cNvSpPr>
                <a:spLocks noEditPoints="1"/>
              </p:cNvSpPr>
              <p:nvPr/>
            </p:nvSpPr>
            <p:spPr bwMode="auto">
              <a:xfrm>
                <a:off x="8038868" y="7566911"/>
                <a:ext cx="360438" cy="359530"/>
              </a:xfrm>
              <a:custGeom>
                <a:avLst/>
                <a:gdLst>
                  <a:gd name="T0" fmla="*/ 220 w 396"/>
                  <a:gd name="T1" fmla="*/ 313 h 395"/>
                  <a:gd name="T2" fmla="*/ 25 w 396"/>
                  <a:gd name="T3" fmla="*/ 313 h 395"/>
                  <a:gd name="T4" fmla="*/ 6 w 396"/>
                  <a:gd name="T5" fmla="*/ 350 h 395"/>
                  <a:gd name="T6" fmla="*/ 2 w 396"/>
                  <a:gd name="T7" fmla="*/ 391 h 395"/>
                  <a:gd name="T8" fmla="*/ 13 w 396"/>
                  <a:gd name="T9" fmla="*/ 393 h 395"/>
                  <a:gd name="T10" fmla="*/ 229 w 396"/>
                  <a:gd name="T11" fmla="*/ 388 h 395"/>
                  <a:gd name="T12" fmla="*/ 240 w 396"/>
                  <a:gd name="T13" fmla="*/ 395 h 395"/>
                  <a:gd name="T14" fmla="*/ 244 w 396"/>
                  <a:gd name="T15" fmla="*/ 354 h 395"/>
                  <a:gd name="T16" fmla="*/ 31 w 396"/>
                  <a:gd name="T17" fmla="*/ 350 h 395"/>
                  <a:gd name="T18" fmla="*/ 42 w 396"/>
                  <a:gd name="T19" fmla="*/ 320 h 395"/>
                  <a:gd name="T20" fmla="*/ 211 w 396"/>
                  <a:gd name="T21" fmla="*/ 326 h 395"/>
                  <a:gd name="T22" fmla="*/ 244 w 396"/>
                  <a:gd name="T23" fmla="*/ 149 h 395"/>
                  <a:gd name="T24" fmla="*/ 270 w 396"/>
                  <a:gd name="T25" fmla="*/ 123 h 395"/>
                  <a:gd name="T26" fmla="*/ 299 w 396"/>
                  <a:gd name="T27" fmla="*/ 108 h 395"/>
                  <a:gd name="T28" fmla="*/ 220 w 396"/>
                  <a:gd name="T29" fmla="*/ 0 h 395"/>
                  <a:gd name="T30" fmla="*/ 183 w 396"/>
                  <a:gd name="T31" fmla="*/ 32 h 395"/>
                  <a:gd name="T32" fmla="*/ 111 w 396"/>
                  <a:gd name="T33" fmla="*/ 109 h 395"/>
                  <a:gd name="T34" fmla="*/ 84 w 396"/>
                  <a:gd name="T35" fmla="*/ 123 h 395"/>
                  <a:gd name="T36" fmla="*/ 67 w 396"/>
                  <a:gd name="T37" fmla="*/ 169 h 395"/>
                  <a:gd name="T38" fmla="*/ 160 w 396"/>
                  <a:gd name="T39" fmla="*/ 245 h 395"/>
                  <a:gd name="T40" fmla="*/ 185 w 396"/>
                  <a:gd name="T41" fmla="*/ 213 h 395"/>
                  <a:gd name="T42" fmla="*/ 210 w 396"/>
                  <a:gd name="T43" fmla="*/ 184 h 395"/>
                  <a:gd name="T44" fmla="*/ 373 w 396"/>
                  <a:gd name="T45" fmla="*/ 335 h 395"/>
                  <a:gd name="T46" fmla="*/ 396 w 396"/>
                  <a:gd name="T47" fmla="*/ 318 h 395"/>
                  <a:gd name="T48" fmla="*/ 211 w 396"/>
                  <a:gd name="T49" fmla="*/ 16 h 395"/>
                  <a:gd name="T50" fmla="*/ 290 w 396"/>
                  <a:gd name="T51" fmla="*/ 90 h 395"/>
                  <a:gd name="T52" fmla="*/ 278 w 396"/>
                  <a:gd name="T53" fmla="*/ 108 h 395"/>
                  <a:gd name="T54" fmla="*/ 198 w 396"/>
                  <a:gd name="T55" fmla="*/ 35 h 395"/>
                  <a:gd name="T56" fmla="*/ 158 w 396"/>
                  <a:gd name="T57" fmla="*/ 228 h 395"/>
                  <a:gd name="T58" fmla="*/ 77 w 396"/>
                  <a:gd name="T59" fmla="*/ 158 h 395"/>
                  <a:gd name="T60" fmla="*/ 86 w 396"/>
                  <a:gd name="T61" fmla="*/ 139 h 395"/>
                  <a:gd name="T62" fmla="*/ 111 w 396"/>
                  <a:gd name="T63" fmla="*/ 152 h 395"/>
                  <a:gd name="T64" fmla="*/ 154 w 396"/>
                  <a:gd name="T65" fmla="*/ 195 h 395"/>
                  <a:gd name="T66" fmla="*/ 167 w 396"/>
                  <a:gd name="T67" fmla="*/ 220 h 395"/>
                  <a:gd name="T68" fmla="*/ 121 w 396"/>
                  <a:gd name="T69" fmla="*/ 141 h 395"/>
                  <a:gd name="T70" fmla="*/ 188 w 396"/>
                  <a:gd name="T71" fmla="*/ 57 h 395"/>
                  <a:gd name="T72" fmla="*/ 246 w 396"/>
                  <a:gd name="T73" fmla="*/ 104 h 395"/>
                  <a:gd name="T74" fmla="*/ 228 w 396"/>
                  <a:gd name="T75" fmla="*/ 144 h 395"/>
                  <a:gd name="T76" fmla="*/ 373 w 396"/>
                  <a:gd name="T77" fmla="*/ 321 h 395"/>
                  <a:gd name="T78" fmla="*/ 379 w 396"/>
                  <a:gd name="T79" fmla="*/ 305 h 395"/>
                  <a:gd name="T80" fmla="*/ 98 w 396"/>
                  <a:gd name="T81" fmla="*/ 271 h 395"/>
                  <a:gd name="T82" fmla="*/ 106 w 396"/>
                  <a:gd name="T83" fmla="*/ 262 h 395"/>
                  <a:gd name="T84" fmla="*/ 85 w 396"/>
                  <a:gd name="T85" fmla="*/ 236 h 395"/>
                  <a:gd name="T86" fmla="*/ 80 w 396"/>
                  <a:gd name="T87" fmla="*/ 248 h 395"/>
                  <a:gd name="T88" fmla="*/ 56 w 396"/>
                  <a:gd name="T89" fmla="*/ 276 h 395"/>
                  <a:gd name="T90" fmla="*/ 85 w 396"/>
                  <a:gd name="T91" fmla="*/ 288 h 395"/>
                  <a:gd name="T92" fmla="*/ 84 w 396"/>
                  <a:gd name="T93" fmla="*/ 275 h 395"/>
                  <a:gd name="T94" fmla="*/ 53 w 396"/>
                  <a:gd name="T95" fmla="*/ 266 h 395"/>
                  <a:gd name="T96" fmla="*/ 166 w 396"/>
                  <a:gd name="T97" fmla="*/ 289 h 395"/>
                  <a:gd name="T98" fmla="*/ 193 w 396"/>
                  <a:gd name="T99" fmla="*/ 272 h 395"/>
                  <a:gd name="T100" fmla="*/ 184 w 396"/>
                  <a:gd name="T101" fmla="*/ 262 h 395"/>
                  <a:gd name="T102" fmla="*/ 158 w 396"/>
                  <a:gd name="T103" fmla="*/ 28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6" h="395">
                    <a:moveTo>
                      <a:pt x="237" y="350"/>
                    </a:moveTo>
                    <a:lnTo>
                      <a:pt x="229" y="350"/>
                    </a:lnTo>
                    <a:lnTo>
                      <a:pt x="229" y="335"/>
                    </a:lnTo>
                    <a:lnTo>
                      <a:pt x="226" y="322"/>
                    </a:lnTo>
                    <a:lnTo>
                      <a:pt x="220" y="313"/>
                    </a:lnTo>
                    <a:lnTo>
                      <a:pt x="211" y="307"/>
                    </a:lnTo>
                    <a:lnTo>
                      <a:pt x="199" y="304"/>
                    </a:lnTo>
                    <a:lnTo>
                      <a:pt x="47" y="304"/>
                    </a:lnTo>
                    <a:lnTo>
                      <a:pt x="35" y="307"/>
                    </a:lnTo>
                    <a:lnTo>
                      <a:pt x="25" y="313"/>
                    </a:lnTo>
                    <a:lnTo>
                      <a:pt x="18" y="322"/>
                    </a:lnTo>
                    <a:lnTo>
                      <a:pt x="16" y="335"/>
                    </a:lnTo>
                    <a:lnTo>
                      <a:pt x="16" y="350"/>
                    </a:lnTo>
                    <a:lnTo>
                      <a:pt x="8" y="350"/>
                    </a:lnTo>
                    <a:lnTo>
                      <a:pt x="6" y="350"/>
                    </a:lnTo>
                    <a:lnTo>
                      <a:pt x="3" y="352"/>
                    </a:lnTo>
                    <a:lnTo>
                      <a:pt x="2" y="354"/>
                    </a:lnTo>
                    <a:lnTo>
                      <a:pt x="0" y="357"/>
                    </a:lnTo>
                    <a:lnTo>
                      <a:pt x="0" y="388"/>
                    </a:lnTo>
                    <a:lnTo>
                      <a:pt x="2" y="391"/>
                    </a:lnTo>
                    <a:lnTo>
                      <a:pt x="3" y="393"/>
                    </a:lnTo>
                    <a:lnTo>
                      <a:pt x="6" y="395"/>
                    </a:lnTo>
                    <a:lnTo>
                      <a:pt x="8" y="395"/>
                    </a:lnTo>
                    <a:lnTo>
                      <a:pt x="12" y="395"/>
                    </a:lnTo>
                    <a:lnTo>
                      <a:pt x="13" y="393"/>
                    </a:lnTo>
                    <a:lnTo>
                      <a:pt x="16" y="391"/>
                    </a:lnTo>
                    <a:lnTo>
                      <a:pt x="16" y="388"/>
                    </a:lnTo>
                    <a:lnTo>
                      <a:pt x="16" y="365"/>
                    </a:lnTo>
                    <a:lnTo>
                      <a:pt x="229" y="365"/>
                    </a:lnTo>
                    <a:lnTo>
                      <a:pt x="229" y="388"/>
                    </a:lnTo>
                    <a:lnTo>
                      <a:pt x="230" y="391"/>
                    </a:lnTo>
                    <a:lnTo>
                      <a:pt x="231" y="393"/>
                    </a:lnTo>
                    <a:lnTo>
                      <a:pt x="234" y="395"/>
                    </a:lnTo>
                    <a:lnTo>
                      <a:pt x="237" y="395"/>
                    </a:lnTo>
                    <a:lnTo>
                      <a:pt x="240" y="395"/>
                    </a:lnTo>
                    <a:lnTo>
                      <a:pt x="242" y="393"/>
                    </a:lnTo>
                    <a:lnTo>
                      <a:pt x="244" y="391"/>
                    </a:lnTo>
                    <a:lnTo>
                      <a:pt x="244" y="388"/>
                    </a:lnTo>
                    <a:lnTo>
                      <a:pt x="244" y="357"/>
                    </a:lnTo>
                    <a:lnTo>
                      <a:pt x="244" y="354"/>
                    </a:lnTo>
                    <a:lnTo>
                      <a:pt x="242" y="352"/>
                    </a:lnTo>
                    <a:lnTo>
                      <a:pt x="240" y="350"/>
                    </a:lnTo>
                    <a:lnTo>
                      <a:pt x="237" y="350"/>
                    </a:lnTo>
                    <a:close/>
                    <a:moveTo>
                      <a:pt x="213" y="350"/>
                    </a:moveTo>
                    <a:lnTo>
                      <a:pt x="31" y="350"/>
                    </a:lnTo>
                    <a:lnTo>
                      <a:pt x="31" y="335"/>
                    </a:lnTo>
                    <a:lnTo>
                      <a:pt x="33" y="330"/>
                    </a:lnTo>
                    <a:lnTo>
                      <a:pt x="34" y="326"/>
                    </a:lnTo>
                    <a:lnTo>
                      <a:pt x="38" y="322"/>
                    </a:lnTo>
                    <a:lnTo>
                      <a:pt x="42" y="320"/>
                    </a:lnTo>
                    <a:lnTo>
                      <a:pt x="47" y="320"/>
                    </a:lnTo>
                    <a:lnTo>
                      <a:pt x="199" y="320"/>
                    </a:lnTo>
                    <a:lnTo>
                      <a:pt x="203" y="320"/>
                    </a:lnTo>
                    <a:lnTo>
                      <a:pt x="208" y="322"/>
                    </a:lnTo>
                    <a:lnTo>
                      <a:pt x="211" y="326"/>
                    </a:lnTo>
                    <a:lnTo>
                      <a:pt x="213" y="330"/>
                    </a:lnTo>
                    <a:lnTo>
                      <a:pt x="213" y="335"/>
                    </a:lnTo>
                    <a:lnTo>
                      <a:pt x="213" y="350"/>
                    </a:lnTo>
                    <a:close/>
                    <a:moveTo>
                      <a:pt x="391" y="295"/>
                    </a:moveTo>
                    <a:lnTo>
                      <a:pt x="244" y="149"/>
                    </a:lnTo>
                    <a:lnTo>
                      <a:pt x="257" y="136"/>
                    </a:lnTo>
                    <a:lnTo>
                      <a:pt x="261" y="132"/>
                    </a:lnTo>
                    <a:lnTo>
                      <a:pt x="263" y="127"/>
                    </a:lnTo>
                    <a:lnTo>
                      <a:pt x="265" y="122"/>
                    </a:lnTo>
                    <a:lnTo>
                      <a:pt x="270" y="123"/>
                    </a:lnTo>
                    <a:lnTo>
                      <a:pt x="275" y="125"/>
                    </a:lnTo>
                    <a:lnTo>
                      <a:pt x="281" y="123"/>
                    </a:lnTo>
                    <a:lnTo>
                      <a:pt x="287" y="121"/>
                    </a:lnTo>
                    <a:lnTo>
                      <a:pt x="292" y="117"/>
                    </a:lnTo>
                    <a:lnTo>
                      <a:pt x="299" y="108"/>
                    </a:lnTo>
                    <a:lnTo>
                      <a:pt x="306" y="98"/>
                    </a:lnTo>
                    <a:lnTo>
                      <a:pt x="306" y="86"/>
                    </a:lnTo>
                    <a:lnTo>
                      <a:pt x="299" y="76"/>
                    </a:lnTo>
                    <a:lnTo>
                      <a:pt x="230" y="7"/>
                    </a:lnTo>
                    <a:lnTo>
                      <a:pt x="220" y="0"/>
                    </a:lnTo>
                    <a:lnTo>
                      <a:pt x="208" y="0"/>
                    </a:lnTo>
                    <a:lnTo>
                      <a:pt x="198" y="7"/>
                    </a:lnTo>
                    <a:lnTo>
                      <a:pt x="189" y="16"/>
                    </a:lnTo>
                    <a:lnTo>
                      <a:pt x="184" y="23"/>
                    </a:lnTo>
                    <a:lnTo>
                      <a:pt x="183" y="32"/>
                    </a:lnTo>
                    <a:lnTo>
                      <a:pt x="185" y="41"/>
                    </a:lnTo>
                    <a:lnTo>
                      <a:pt x="179" y="44"/>
                    </a:lnTo>
                    <a:lnTo>
                      <a:pt x="174" y="46"/>
                    </a:lnTo>
                    <a:lnTo>
                      <a:pt x="170" y="50"/>
                    </a:lnTo>
                    <a:lnTo>
                      <a:pt x="111" y="109"/>
                    </a:lnTo>
                    <a:lnTo>
                      <a:pt x="107" y="113"/>
                    </a:lnTo>
                    <a:lnTo>
                      <a:pt x="104" y="118"/>
                    </a:lnTo>
                    <a:lnTo>
                      <a:pt x="102" y="125"/>
                    </a:lnTo>
                    <a:lnTo>
                      <a:pt x="93" y="122"/>
                    </a:lnTo>
                    <a:lnTo>
                      <a:pt x="84" y="123"/>
                    </a:lnTo>
                    <a:lnTo>
                      <a:pt x="76" y="128"/>
                    </a:lnTo>
                    <a:lnTo>
                      <a:pt x="67" y="137"/>
                    </a:lnTo>
                    <a:lnTo>
                      <a:pt x="61" y="148"/>
                    </a:lnTo>
                    <a:lnTo>
                      <a:pt x="61" y="159"/>
                    </a:lnTo>
                    <a:lnTo>
                      <a:pt x="67" y="169"/>
                    </a:lnTo>
                    <a:lnTo>
                      <a:pt x="136" y="239"/>
                    </a:lnTo>
                    <a:lnTo>
                      <a:pt x="142" y="243"/>
                    </a:lnTo>
                    <a:lnTo>
                      <a:pt x="147" y="245"/>
                    </a:lnTo>
                    <a:lnTo>
                      <a:pt x="153" y="245"/>
                    </a:lnTo>
                    <a:lnTo>
                      <a:pt x="160" y="245"/>
                    </a:lnTo>
                    <a:lnTo>
                      <a:pt x="165" y="243"/>
                    </a:lnTo>
                    <a:lnTo>
                      <a:pt x="170" y="239"/>
                    </a:lnTo>
                    <a:lnTo>
                      <a:pt x="179" y="230"/>
                    </a:lnTo>
                    <a:lnTo>
                      <a:pt x="184" y="222"/>
                    </a:lnTo>
                    <a:lnTo>
                      <a:pt x="185" y="213"/>
                    </a:lnTo>
                    <a:lnTo>
                      <a:pt x="183" y="204"/>
                    </a:lnTo>
                    <a:lnTo>
                      <a:pt x="188" y="202"/>
                    </a:lnTo>
                    <a:lnTo>
                      <a:pt x="193" y="199"/>
                    </a:lnTo>
                    <a:lnTo>
                      <a:pt x="198" y="195"/>
                    </a:lnTo>
                    <a:lnTo>
                      <a:pt x="210" y="184"/>
                    </a:lnTo>
                    <a:lnTo>
                      <a:pt x="356" y="329"/>
                    </a:lnTo>
                    <a:lnTo>
                      <a:pt x="360" y="331"/>
                    </a:lnTo>
                    <a:lnTo>
                      <a:pt x="364" y="334"/>
                    </a:lnTo>
                    <a:lnTo>
                      <a:pt x="369" y="334"/>
                    </a:lnTo>
                    <a:lnTo>
                      <a:pt x="373" y="335"/>
                    </a:lnTo>
                    <a:lnTo>
                      <a:pt x="378" y="334"/>
                    </a:lnTo>
                    <a:lnTo>
                      <a:pt x="382" y="334"/>
                    </a:lnTo>
                    <a:lnTo>
                      <a:pt x="387" y="331"/>
                    </a:lnTo>
                    <a:lnTo>
                      <a:pt x="389" y="329"/>
                    </a:lnTo>
                    <a:lnTo>
                      <a:pt x="396" y="318"/>
                    </a:lnTo>
                    <a:lnTo>
                      <a:pt x="396" y="305"/>
                    </a:lnTo>
                    <a:lnTo>
                      <a:pt x="391" y="295"/>
                    </a:lnTo>
                    <a:close/>
                    <a:moveTo>
                      <a:pt x="199" y="26"/>
                    </a:moveTo>
                    <a:lnTo>
                      <a:pt x="208" y="17"/>
                    </a:lnTo>
                    <a:lnTo>
                      <a:pt x="211" y="16"/>
                    </a:lnTo>
                    <a:lnTo>
                      <a:pt x="213" y="14"/>
                    </a:lnTo>
                    <a:lnTo>
                      <a:pt x="217" y="16"/>
                    </a:lnTo>
                    <a:lnTo>
                      <a:pt x="220" y="17"/>
                    </a:lnTo>
                    <a:lnTo>
                      <a:pt x="289" y="87"/>
                    </a:lnTo>
                    <a:lnTo>
                      <a:pt x="290" y="90"/>
                    </a:lnTo>
                    <a:lnTo>
                      <a:pt x="292" y="92"/>
                    </a:lnTo>
                    <a:lnTo>
                      <a:pt x="290" y="95"/>
                    </a:lnTo>
                    <a:lnTo>
                      <a:pt x="289" y="98"/>
                    </a:lnTo>
                    <a:lnTo>
                      <a:pt x="280" y="107"/>
                    </a:lnTo>
                    <a:lnTo>
                      <a:pt x="278" y="108"/>
                    </a:lnTo>
                    <a:lnTo>
                      <a:pt x="275" y="109"/>
                    </a:lnTo>
                    <a:lnTo>
                      <a:pt x="272" y="108"/>
                    </a:lnTo>
                    <a:lnTo>
                      <a:pt x="270" y="107"/>
                    </a:lnTo>
                    <a:lnTo>
                      <a:pt x="199" y="36"/>
                    </a:lnTo>
                    <a:lnTo>
                      <a:pt x="198" y="35"/>
                    </a:lnTo>
                    <a:lnTo>
                      <a:pt x="198" y="31"/>
                    </a:lnTo>
                    <a:lnTo>
                      <a:pt x="198" y="28"/>
                    </a:lnTo>
                    <a:lnTo>
                      <a:pt x="199" y="26"/>
                    </a:lnTo>
                    <a:close/>
                    <a:moveTo>
                      <a:pt x="167" y="220"/>
                    </a:moveTo>
                    <a:lnTo>
                      <a:pt x="158" y="228"/>
                    </a:lnTo>
                    <a:lnTo>
                      <a:pt x="156" y="230"/>
                    </a:lnTo>
                    <a:lnTo>
                      <a:pt x="153" y="231"/>
                    </a:lnTo>
                    <a:lnTo>
                      <a:pt x="151" y="230"/>
                    </a:lnTo>
                    <a:lnTo>
                      <a:pt x="148" y="228"/>
                    </a:lnTo>
                    <a:lnTo>
                      <a:pt x="77" y="158"/>
                    </a:lnTo>
                    <a:lnTo>
                      <a:pt x="76" y="155"/>
                    </a:lnTo>
                    <a:lnTo>
                      <a:pt x="76" y="153"/>
                    </a:lnTo>
                    <a:lnTo>
                      <a:pt x="76" y="150"/>
                    </a:lnTo>
                    <a:lnTo>
                      <a:pt x="77" y="148"/>
                    </a:lnTo>
                    <a:lnTo>
                      <a:pt x="86" y="139"/>
                    </a:lnTo>
                    <a:lnTo>
                      <a:pt x="89" y="137"/>
                    </a:lnTo>
                    <a:lnTo>
                      <a:pt x="93" y="136"/>
                    </a:lnTo>
                    <a:lnTo>
                      <a:pt x="95" y="137"/>
                    </a:lnTo>
                    <a:lnTo>
                      <a:pt x="98" y="139"/>
                    </a:lnTo>
                    <a:lnTo>
                      <a:pt x="111" y="152"/>
                    </a:lnTo>
                    <a:lnTo>
                      <a:pt x="111" y="152"/>
                    </a:lnTo>
                    <a:lnTo>
                      <a:pt x="111" y="152"/>
                    </a:lnTo>
                    <a:lnTo>
                      <a:pt x="154" y="195"/>
                    </a:lnTo>
                    <a:lnTo>
                      <a:pt x="154" y="195"/>
                    </a:lnTo>
                    <a:lnTo>
                      <a:pt x="154" y="195"/>
                    </a:lnTo>
                    <a:lnTo>
                      <a:pt x="167" y="209"/>
                    </a:lnTo>
                    <a:lnTo>
                      <a:pt x="169" y="211"/>
                    </a:lnTo>
                    <a:lnTo>
                      <a:pt x="170" y="214"/>
                    </a:lnTo>
                    <a:lnTo>
                      <a:pt x="169" y="217"/>
                    </a:lnTo>
                    <a:lnTo>
                      <a:pt x="167" y="220"/>
                    </a:lnTo>
                    <a:close/>
                    <a:moveTo>
                      <a:pt x="187" y="185"/>
                    </a:moveTo>
                    <a:lnTo>
                      <a:pt x="180" y="189"/>
                    </a:lnTo>
                    <a:lnTo>
                      <a:pt x="172" y="189"/>
                    </a:lnTo>
                    <a:lnTo>
                      <a:pt x="165" y="185"/>
                    </a:lnTo>
                    <a:lnTo>
                      <a:pt x="121" y="141"/>
                    </a:lnTo>
                    <a:lnTo>
                      <a:pt x="117" y="134"/>
                    </a:lnTo>
                    <a:lnTo>
                      <a:pt x="117" y="126"/>
                    </a:lnTo>
                    <a:lnTo>
                      <a:pt x="121" y="119"/>
                    </a:lnTo>
                    <a:lnTo>
                      <a:pt x="180" y="60"/>
                    </a:lnTo>
                    <a:lnTo>
                      <a:pt x="188" y="57"/>
                    </a:lnTo>
                    <a:lnTo>
                      <a:pt x="195" y="57"/>
                    </a:lnTo>
                    <a:lnTo>
                      <a:pt x="202" y="60"/>
                    </a:lnTo>
                    <a:lnTo>
                      <a:pt x="202" y="60"/>
                    </a:lnTo>
                    <a:lnTo>
                      <a:pt x="246" y="104"/>
                    </a:lnTo>
                    <a:lnTo>
                      <a:pt x="246" y="104"/>
                    </a:lnTo>
                    <a:lnTo>
                      <a:pt x="249" y="112"/>
                    </a:lnTo>
                    <a:lnTo>
                      <a:pt x="249" y="119"/>
                    </a:lnTo>
                    <a:lnTo>
                      <a:pt x="246" y="126"/>
                    </a:lnTo>
                    <a:lnTo>
                      <a:pt x="228" y="144"/>
                    </a:lnTo>
                    <a:lnTo>
                      <a:pt x="228" y="144"/>
                    </a:lnTo>
                    <a:lnTo>
                      <a:pt x="228" y="144"/>
                    </a:lnTo>
                    <a:lnTo>
                      <a:pt x="187" y="185"/>
                    </a:lnTo>
                    <a:close/>
                    <a:moveTo>
                      <a:pt x="379" y="318"/>
                    </a:moveTo>
                    <a:lnTo>
                      <a:pt x="376" y="320"/>
                    </a:lnTo>
                    <a:lnTo>
                      <a:pt x="373" y="321"/>
                    </a:lnTo>
                    <a:lnTo>
                      <a:pt x="370" y="320"/>
                    </a:lnTo>
                    <a:lnTo>
                      <a:pt x="367" y="318"/>
                    </a:lnTo>
                    <a:lnTo>
                      <a:pt x="221" y="172"/>
                    </a:lnTo>
                    <a:lnTo>
                      <a:pt x="234" y="159"/>
                    </a:lnTo>
                    <a:lnTo>
                      <a:pt x="379" y="305"/>
                    </a:lnTo>
                    <a:lnTo>
                      <a:pt x="382" y="309"/>
                    </a:lnTo>
                    <a:lnTo>
                      <a:pt x="382" y="312"/>
                    </a:lnTo>
                    <a:lnTo>
                      <a:pt x="382" y="316"/>
                    </a:lnTo>
                    <a:lnTo>
                      <a:pt x="379" y="318"/>
                    </a:lnTo>
                    <a:close/>
                    <a:moveTo>
                      <a:pt x="98" y="271"/>
                    </a:moveTo>
                    <a:lnTo>
                      <a:pt x="99" y="271"/>
                    </a:lnTo>
                    <a:lnTo>
                      <a:pt x="102" y="270"/>
                    </a:lnTo>
                    <a:lnTo>
                      <a:pt x="104" y="268"/>
                    </a:lnTo>
                    <a:lnTo>
                      <a:pt x="106" y="266"/>
                    </a:lnTo>
                    <a:lnTo>
                      <a:pt x="106" y="262"/>
                    </a:lnTo>
                    <a:lnTo>
                      <a:pt x="104" y="259"/>
                    </a:lnTo>
                    <a:lnTo>
                      <a:pt x="93" y="240"/>
                    </a:lnTo>
                    <a:lnTo>
                      <a:pt x="92" y="237"/>
                    </a:lnTo>
                    <a:lnTo>
                      <a:pt x="89" y="236"/>
                    </a:lnTo>
                    <a:lnTo>
                      <a:pt x="85" y="236"/>
                    </a:lnTo>
                    <a:lnTo>
                      <a:pt x="83" y="236"/>
                    </a:lnTo>
                    <a:lnTo>
                      <a:pt x="80" y="239"/>
                    </a:lnTo>
                    <a:lnTo>
                      <a:pt x="79" y="241"/>
                    </a:lnTo>
                    <a:lnTo>
                      <a:pt x="79" y="244"/>
                    </a:lnTo>
                    <a:lnTo>
                      <a:pt x="80" y="248"/>
                    </a:lnTo>
                    <a:lnTo>
                      <a:pt x="92" y="267"/>
                    </a:lnTo>
                    <a:lnTo>
                      <a:pt x="93" y="270"/>
                    </a:lnTo>
                    <a:lnTo>
                      <a:pt x="95" y="271"/>
                    </a:lnTo>
                    <a:lnTo>
                      <a:pt x="98" y="271"/>
                    </a:lnTo>
                    <a:close/>
                    <a:moveTo>
                      <a:pt x="56" y="276"/>
                    </a:moveTo>
                    <a:lnTo>
                      <a:pt x="76" y="288"/>
                    </a:lnTo>
                    <a:lnTo>
                      <a:pt x="77" y="289"/>
                    </a:lnTo>
                    <a:lnTo>
                      <a:pt x="80" y="289"/>
                    </a:lnTo>
                    <a:lnTo>
                      <a:pt x="83" y="289"/>
                    </a:lnTo>
                    <a:lnTo>
                      <a:pt x="85" y="288"/>
                    </a:lnTo>
                    <a:lnTo>
                      <a:pt x="86" y="285"/>
                    </a:lnTo>
                    <a:lnTo>
                      <a:pt x="88" y="282"/>
                    </a:lnTo>
                    <a:lnTo>
                      <a:pt x="88" y="280"/>
                    </a:lnTo>
                    <a:lnTo>
                      <a:pt x="86" y="277"/>
                    </a:lnTo>
                    <a:lnTo>
                      <a:pt x="84" y="275"/>
                    </a:lnTo>
                    <a:lnTo>
                      <a:pt x="63" y="263"/>
                    </a:lnTo>
                    <a:lnTo>
                      <a:pt x="61" y="262"/>
                    </a:lnTo>
                    <a:lnTo>
                      <a:pt x="58" y="262"/>
                    </a:lnTo>
                    <a:lnTo>
                      <a:pt x="56" y="263"/>
                    </a:lnTo>
                    <a:lnTo>
                      <a:pt x="53" y="266"/>
                    </a:lnTo>
                    <a:lnTo>
                      <a:pt x="53" y="268"/>
                    </a:lnTo>
                    <a:lnTo>
                      <a:pt x="53" y="272"/>
                    </a:lnTo>
                    <a:lnTo>
                      <a:pt x="54" y="275"/>
                    </a:lnTo>
                    <a:lnTo>
                      <a:pt x="56" y="276"/>
                    </a:lnTo>
                    <a:close/>
                    <a:moveTo>
                      <a:pt x="166" y="289"/>
                    </a:moveTo>
                    <a:lnTo>
                      <a:pt x="167" y="289"/>
                    </a:lnTo>
                    <a:lnTo>
                      <a:pt x="170" y="288"/>
                    </a:lnTo>
                    <a:lnTo>
                      <a:pt x="189" y="276"/>
                    </a:lnTo>
                    <a:lnTo>
                      <a:pt x="192" y="275"/>
                    </a:lnTo>
                    <a:lnTo>
                      <a:pt x="193" y="272"/>
                    </a:lnTo>
                    <a:lnTo>
                      <a:pt x="193" y="268"/>
                    </a:lnTo>
                    <a:lnTo>
                      <a:pt x="192" y="266"/>
                    </a:lnTo>
                    <a:lnTo>
                      <a:pt x="190" y="263"/>
                    </a:lnTo>
                    <a:lnTo>
                      <a:pt x="188" y="262"/>
                    </a:lnTo>
                    <a:lnTo>
                      <a:pt x="184" y="262"/>
                    </a:lnTo>
                    <a:lnTo>
                      <a:pt x="181" y="263"/>
                    </a:lnTo>
                    <a:lnTo>
                      <a:pt x="162" y="275"/>
                    </a:lnTo>
                    <a:lnTo>
                      <a:pt x="160" y="277"/>
                    </a:lnTo>
                    <a:lnTo>
                      <a:pt x="158" y="280"/>
                    </a:lnTo>
                    <a:lnTo>
                      <a:pt x="158" y="282"/>
                    </a:lnTo>
                    <a:lnTo>
                      <a:pt x="160" y="285"/>
                    </a:lnTo>
                    <a:lnTo>
                      <a:pt x="161" y="288"/>
                    </a:lnTo>
                    <a:lnTo>
                      <a:pt x="163" y="289"/>
                    </a:lnTo>
                    <a:lnTo>
                      <a:pt x="166" y="289"/>
                    </a:lnTo>
                    <a:close/>
                  </a:path>
                </a:pathLst>
              </a:custGeom>
              <a:solidFill>
                <a:srgbClr val="FFFFFF"/>
              </a:solidFill>
              <a:ln w="0">
                <a:no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nvGrpSpPr>
          <p:cNvPr id="114" name="Group 167">
            <a:extLst>
              <a:ext uri="{FF2B5EF4-FFF2-40B4-BE49-F238E27FC236}">
                <a16:creationId xmlns:a16="http://schemas.microsoft.com/office/drawing/2014/main" id="{99B0305E-7FFB-4CF4-B82E-29CBA9A9D527}"/>
              </a:ext>
            </a:extLst>
          </p:cNvPr>
          <p:cNvGrpSpPr/>
          <p:nvPr/>
        </p:nvGrpSpPr>
        <p:grpSpPr>
          <a:xfrm>
            <a:off x="8554485" y="1208888"/>
            <a:ext cx="1453082" cy="1636475"/>
            <a:chOff x="4662594" y="3064098"/>
            <a:chExt cx="1395845" cy="1572015"/>
          </a:xfrm>
        </p:grpSpPr>
        <p:sp>
          <p:nvSpPr>
            <p:cNvPr id="115" name="TextBox 23">
              <a:extLst>
                <a:ext uri="{FF2B5EF4-FFF2-40B4-BE49-F238E27FC236}">
                  <a16:creationId xmlns:a16="http://schemas.microsoft.com/office/drawing/2014/main" id="{8B3B385F-874D-4EE6-A645-EB7A7F4062AF}"/>
                </a:ext>
              </a:extLst>
            </p:cNvPr>
            <p:cNvSpPr txBox="1">
              <a:spLocks/>
            </p:cNvSpPr>
            <p:nvPr>
              <p:custDataLst>
                <p:tags r:id="rId21"/>
              </p:custDataLst>
            </p:nvPr>
          </p:nvSpPr>
          <p:spPr>
            <a:xfrm>
              <a:off x="4662594" y="3064098"/>
              <a:ext cx="1395845" cy="1572015"/>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Ressources dédiées</a:t>
              </a:r>
            </a:p>
          </p:txBody>
        </p:sp>
        <p:sp>
          <p:nvSpPr>
            <p:cNvPr id="116" name="Oval 11">
              <a:extLst>
                <a:ext uri="{FF2B5EF4-FFF2-40B4-BE49-F238E27FC236}">
                  <a16:creationId xmlns:a16="http://schemas.microsoft.com/office/drawing/2014/main" id="{3DC3F951-B823-4976-8B58-A9162BF85F34}"/>
                </a:ext>
              </a:extLst>
            </p:cNvPr>
            <p:cNvSpPr txBox="1">
              <a:spLocks/>
            </p:cNvSpPr>
            <p:nvPr>
              <p:custDataLst>
                <p:tags r:id="rId22"/>
              </p:custDataLst>
            </p:nvPr>
          </p:nvSpPr>
          <p:spPr>
            <a:xfrm>
              <a:off x="4698746" y="3116913"/>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3</a:t>
              </a:r>
            </a:p>
          </p:txBody>
        </p:sp>
        <p:grpSp>
          <p:nvGrpSpPr>
            <p:cNvPr id="117" name="Group 153">
              <a:extLst>
                <a:ext uri="{FF2B5EF4-FFF2-40B4-BE49-F238E27FC236}">
                  <a16:creationId xmlns:a16="http://schemas.microsoft.com/office/drawing/2014/main" id="{897687B2-2CC4-41BD-B93F-CB6CD05599B2}"/>
                </a:ext>
              </a:extLst>
            </p:cNvPr>
            <p:cNvGrpSpPr/>
            <p:nvPr/>
          </p:nvGrpSpPr>
          <p:grpSpPr>
            <a:xfrm>
              <a:off x="5453755" y="4014745"/>
              <a:ext cx="536103" cy="530559"/>
              <a:chOff x="5032606" y="5469112"/>
              <a:chExt cx="536111" cy="530567"/>
            </a:xfrm>
          </p:grpSpPr>
          <p:sp>
            <p:nvSpPr>
              <p:cNvPr id="118" name="Oval 11">
                <a:extLst>
                  <a:ext uri="{FF2B5EF4-FFF2-40B4-BE49-F238E27FC236}">
                    <a16:creationId xmlns:a16="http://schemas.microsoft.com/office/drawing/2014/main" id="{420D5603-E593-4A0B-9361-67F61862B554}"/>
                  </a:ext>
                </a:extLst>
              </p:cNvPr>
              <p:cNvSpPr txBox="1"/>
              <p:nvPr>
                <p:custDataLst>
                  <p:tags r:id="rId23"/>
                </p:custDataLst>
              </p:nvPr>
            </p:nvSpPr>
            <p:spPr>
              <a:xfrm>
                <a:off x="5032606" y="5469112"/>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grpSp>
            <p:nvGrpSpPr>
              <p:cNvPr id="119" name="Group 53">
                <a:extLst>
                  <a:ext uri="{FF2B5EF4-FFF2-40B4-BE49-F238E27FC236}">
                    <a16:creationId xmlns:a16="http://schemas.microsoft.com/office/drawing/2014/main" id="{90ABEB9F-E880-4106-A71E-771B964A5B68}"/>
                  </a:ext>
                </a:extLst>
              </p:cNvPr>
              <p:cNvGrpSpPr/>
              <p:nvPr/>
            </p:nvGrpSpPr>
            <p:grpSpPr bwMode="gray">
              <a:xfrm>
                <a:off x="5122882" y="5480734"/>
                <a:ext cx="353452" cy="398977"/>
                <a:chOff x="1705499" y="1940941"/>
                <a:chExt cx="989844" cy="1117338"/>
              </a:xfrm>
              <a:noFill/>
            </p:grpSpPr>
            <p:sp>
              <p:nvSpPr>
                <p:cNvPr id="120" name="Freeform 159">
                  <a:extLst>
                    <a:ext uri="{FF2B5EF4-FFF2-40B4-BE49-F238E27FC236}">
                      <a16:creationId xmlns:a16="http://schemas.microsoft.com/office/drawing/2014/main" id="{95FA90F5-5270-4A69-8C26-120E19026278}"/>
                    </a:ext>
                  </a:extLst>
                </p:cNvPr>
                <p:cNvSpPr>
                  <a:spLocks noEditPoints="1"/>
                </p:cNvSpPr>
                <p:nvPr/>
              </p:nvSpPr>
              <p:spPr bwMode="gray">
                <a:xfrm>
                  <a:off x="1705499" y="2231342"/>
                  <a:ext cx="989844" cy="453309"/>
                </a:xfrm>
                <a:custGeom>
                  <a:avLst/>
                  <a:gdLst>
                    <a:gd name="T0" fmla="*/ 16 w 559"/>
                    <a:gd name="T1" fmla="*/ 15 h 256"/>
                    <a:gd name="T2" fmla="*/ 16 w 559"/>
                    <a:gd name="T3" fmla="*/ 242 h 256"/>
                    <a:gd name="T4" fmla="*/ 544 w 559"/>
                    <a:gd name="T5" fmla="*/ 242 h 256"/>
                    <a:gd name="T6" fmla="*/ 544 w 559"/>
                    <a:gd name="T7" fmla="*/ 15 h 256"/>
                    <a:gd name="T8" fmla="*/ 16 w 559"/>
                    <a:gd name="T9" fmla="*/ 15 h 256"/>
                    <a:gd name="T10" fmla="*/ 8 w 559"/>
                    <a:gd name="T11" fmla="*/ 0 h 256"/>
                    <a:gd name="T12" fmla="*/ 551 w 559"/>
                    <a:gd name="T13" fmla="*/ 0 h 256"/>
                    <a:gd name="T14" fmla="*/ 554 w 559"/>
                    <a:gd name="T15" fmla="*/ 2 h 256"/>
                    <a:gd name="T16" fmla="*/ 556 w 559"/>
                    <a:gd name="T17" fmla="*/ 3 h 256"/>
                    <a:gd name="T18" fmla="*/ 558 w 559"/>
                    <a:gd name="T19" fmla="*/ 6 h 256"/>
                    <a:gd name="T20" fmla="*/ 559 w 559"/>
                    <a:gd name="T21" fmla="*/ 8 h 256"/>
                    <a:gd name="T22" fmla="*/ 559 w 559"/>
                    <a:gd name="T23" fmla="*/ 249 h 256"/>
                    <a:gd name="T24" fmla="*/ 558 w 559"/>
                    <a:gd name="T25" fmla="*/ 252 h 256"/>
                    <a:gd name="T26" fmla="*/ 556 w 559"/>
                    <a:gd name="T27" fmla="*/ 254 h 256"/>
                    <a:gd name="T28" fmla="*/ 554 w 559"/>
                    <a:gd name="T29" fmla="*/ 256 h 256"/>
                    <a:gd name="T30" fmla="*/ 551 w 559"/>
                    <a:gd name="T31" fmla="*/ 256 h 256"/>
                    <a:gd name="T32" fmla="*/ 8 w 559"/>
                    <a:gd name="T33" fmla="*/ 256 h 256"/>
                    <a:gd name="T34" fmla="*/ 6 w 559"/>
                    <a:gd name="T35" fmla="*/ 256 h 256"/>
                    <a:gd name="T36" fmla="*/ 3 w 559"/>
                    <a:gd name="T37" fmla="*/ 254 h 256"/>
                    <a:gd name="T38" fmla="*/ 2 w 559"/>
                    <a:gd name="T39" fmla="*/ 252 h 256"/>
                    <a:gd name="T40" fmla="*/ 0 w 559"/>
                    <a:gd name="T41" fmla="*/ 249 h 256"/>
                    <a:gd name="T42" fmla="*/ 0 w 559"/>
                    <a:gd name="T43" fmla="*/ 8 h 256"/>
                    <a:gd name="T44" fmla="*/ 2 w 559"/>
                    <a:gd name="T45" fmla="*/ 6 h 256"/>
                    <a:gd name="T46" fmla="*/ 3 w 559"/>
                    <a:gd name="T47" fmla="*/ 3 h 256"/>
                    <a:gd name="T48" fmla="*/ 6 w 559"/>
                    <a:gd name="T49" fmla="*/ 2 h 256"/>
                    <a:gd name="T50" fmla="*/ 8 w 559"/>
                    <a:gd name="T5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9" h="256">
                      <a:moveTo>
                        <a:pt x="16" y="15"/>
                      </a:moveTo>
                      <a:lnTo>
                        <a:pt x="16" y="242"/>
                      </a:lnTo>
                      <a:lnTo>
                        <a:pt x="544" y="242"/>
                      </a:lnTo>
                      <a:lnTo>
                        <a:pt x="544" y="15"/>
                      </a:lnTo>
                      <a:lnTo>
                        <a:pt x="16" y="15"/>
                      </a:lnTo>
                      <a:close/>
                      <a:moveTo>
                        <a:pt x="8" y="0"/>
                      </a:moveTo>
                      <a:lnTo>
                        <a:pt x="551" y="0"/>
                      </a:lnTo>
                      <a:lnTo>
                        <a:pt x="554" y="2"/>
                      </a:lnTo>
                      <a:lnTo>
                        <a:pt x="556" y="3"/>
                      </a:lnTo>
                      <a:lnTo>
                        <a:pt x="558" y="6"/>
                      </a:lnTo>
                      <a:lnTo>
                        <a:pt x="559" y="8"/>
                      </a:lnTo>
                      <a:lnTo>
                        <a:pt x="559" y="249"/>
                      </a:lnTo>
                      <a:lnTo>
                        <a:pt x="558" y="252"/>
                      </a:lnTo>
                      <a:lnTo>
                        <a:pt x="556" y="254"/>
                      </a:lnTo>
                      <a:lnTo>
                        <a:pt x="554" y="256"/>
                      </a:lnTo>
                      <a:lnTo>
                        <a:pt x="551" y="256"/>
                      </a:lnTo>
                      <a:lnTo>
                        <a:pt x="8" y="256"/>
                      </a:lnTo>
                      <a:lnTo>
                        <a:pt x="6" y="256"/>
                      </a:lnTo>
                      <a:lnTo>
                        <a:pt x="3" y="254"/>
                      </a:lnTo>
                      <a:lnTo>
                        <a:pt x="2" y="252"/>
                      </a:lnTo>
                      <a:lnTo>
                        <a:pt x="0" y="249"/>
                      </a:lnTo>
                      <a:lnTo>
                        <a:pt x="0" y="8"/>
                      </a:lnTo>
                      <a:lnTo>
                        <a:pt x="2" y="6"/>
                      </a:lnTo>
                      <a:lnTo>
                        <a:pt x="3" y="3"/>
                      </a:lnTo>
                      <a:lnTo>
                        <a:pt x="6" y="2"/>
                      </a:lnTo>
                      <a:lnTo>
                        <a:pt x="8"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1" name="Rectangle 160">
                  <a:extLst>
                    <a:ext uri="{FF2B5EF4-FFF2-40B4-BE49-F238E27FC236}">
                      <a16:creationId xmlns:a16="http://schemas.microsoft.com/office/drawing/2014/main" id="{0780D182-80F1-4854-B11D-2893D5E2A547}"/>
                    </a:ext>
                  </a:extLst>
                </p:cNvPr>
                <p:cNvSpPr>
                  <a:spLocks noChangeArrowheads="1"/>
                </p:cNvSpPr>
                <p:nvPr/>
              </p:nvSpPr>
              <p:spPr bwMode="gray">
                <a:xfrm>
                  <a:off x="1799347" y="2318110"/>
                  <a:ext cx="70830"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2" name="Rectangle 161">
                  <a:extLst>
                    <a:ext uri="{FF2B5EF4-FFF2-40B4-BE49-F238E27FC236}">
                      <a16:creationId xmlns:a16="http://schemas.microsoft.com/office/drawing/2014/main" id="{45956E01-C5DC-41CB-A775-F8AA245AE7D2}"/>
                    </a:ext>
                  </a:extLst>
                </p:cNvPr>
                <p:cNvSpPr>
                  <a:spLocks noChangeArrowheads="1"/>
                </p:cNvSpPr>
                <p:nvPr/>
              </p:nvSpPr>
              <p:spPr bwMode="gray">
                <a:xfrm>
                  <a:off x="1921529" y="2318110"/>
                  <a:ext cx="69059"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3" name="Rectangle 162">
                  <a:extLst>
                    <a:ext uri="{FF2B5EF4-FFF2-40B4-BE49-F238E27FC236}">
                      <a16:creationId xmlns:a16="http://schemas.microsoft.com/office/drawing/2014/main" id="{92DAD80F-1265-4832-99B9-0042728116B7}"/>
                    </a:ext>
                  </a:extLst>
                </p:cNvPr>
                <p:cNvSpPr>
                  <a:spLocks noChangeArrowheads="1"/>
                </p:cNvSpPr>
                <p:nvPr/>
              </p:nvSpPr>
              <p:spPr bwMode="gray">
                <a:xfrm>
                  <a:off x="2045481" y="2318110"/>
                  <a:ext cx="67288"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4" name="Rectangle 163">
                  <a:extLst>
                    <a:ext uri="{FF2B5EF4-FFF2-40B4-BE49-F238E27FC236}">
                      <a16:creationId xmlns:a16="http://schemas.microsoft.com/office/drawing/2014/main" id="{7771B1F2-8642-4820-A9D7-907575A733A6}"/>
                    </a:ext>
                  </a:extLst>
                </p:cNvPr>
                <p:cNvSpPr>
                  <a:spLocks noChangeArrowheads="1"/>
                </p:cNvSpPr>
                <p:nvPr/>
              </p:nvSpPr>
              <p:spPr bwMode="gray">
                <a:xfrm>
                  <a:off x="2165891" y="2318110"/>
                  <a:ext cx="70830"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5" name="Rectangle 164">
                  <a:extLst>
                    <a:ext uri="{FF2B5EF4-FFF2-40B4-BE49-F238E27FC236}">
                      <a16:creationId xmlns:a16="http://schemas.microsoft.com/office/drawing/2014/main" id="{361AD9DC-E4E8-4587-AE86-A1C00985BFC9}"/>
                    </a:ext>
                  </a:extLst>
                </p:cNvPr>
                <p:cNvSpPr>
                  <a:spLocks noChangeArrowheads="1"/>
                </p:cNvSpPr>
                <p:nvPr/>
              </p:nvSpPr>
              <p:spPr bwMode="gray">
                <a:xfrm>
                  <a:off x="2288072" y="2318110"/>
                  <a:ext cx="69059"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6" name="Rectangle 165">
                  <a:extLst>
                    <a:ext uri="{FF2B5EF4-FFF2-40B4-BE49-F238E27FC236}">
                      <a16:creationId xmlns:a16="http://schemas.microsoft.com/office/drawing/2014/main" id="{463E1194-9964-43C8-9268-5711FCD30EB0}"/>
                    </a:ext>
                  </a:extLst>
                </p:cNvPr>
                <p:cNvSpPr>
                  <a:spLocks noChangeArrowheads="1"/>
                </p:cNvSpPr>
                <p:nvPr/>
              </p:nvSpPr>
              <p:spPr bwMode="gray">
                <a:xfrm>
                  <a:off x="2410253" y="2318110"/>
                  <a:ext cx="69059" cy="61977"/>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7" name="Rectangle 166">
                  <a:extLst>
                    <a:ext uri="{FF2B5EF4-FFF2-40B4-BE49-F238E27FC236}">
                      <a16:creationId xmlns:a16="http://schemas.microsoft.com/office/drawing/2014/main" id="{4A39D44F-C4D0-4369-BC9C-89C55DEE12A3}"/>
                    </a:ext>
                  </a:extLst>
                </p:cNvPr>
                <p:cNvSpPr>
                  <a:spLocks noChangeArrowheads="1"/>
                </p:cNvSpPr>
                <p:nvPr/>
              </p:nvSpPr>
              <p:spPr bwMode="gray">
                <a:xfrm>
                  <a:off x="1799347" y="2427895"/>
                  <a:ext cx="70830"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8" name="Rectangle 167">
                  <a:extLst>
                    <a:ext uri="{FF2B5EF4-FFF2-40B4-BE49-F238E27FC236}">
                      <a16:creationId xmlns:a16="http://schemas.microsoft.com/office/drawing/2014/main" id="{F9D7D650-5B9C-453D-9DBE-7916B1E71AA2}"/>
                    </a:ext>
                  </a:extLst>
                </p:cNvPr>
                <p:cNvSpPr>
                  <a:spLocks noChangeArrowheads="1"/>
                </p:cNvSpPr>
                <p:nvPr/>
              </p:nvSpPr>
              <p:spPr bwMode="gray">
                <a:xfrm>
                  <a:off x="1921529" y="2427895"/>
                  <a:ext cx="69059"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29" name="Rectangle 168">
                  <a:extLst>
                    <a:ext uri="{FF2B5EF4-FFF2-40B4-BE49-F238E27FC236}">
                      <a16:creationId xmlns:a16="http://schemas.microsoft.com/office/drawing/2014/main" id="{97196926-B7EE-4230-B3CF-D7E28590FC10}"/>
                    </a:ext>
                  </a:extLst>
                </p:cNvPr>
                <p:cNvSpPr>
                  <a:spLocks noChangeArrowheads="1"/>
                </p:cNvSpPr>
                <p:nvPr/>
              </p:nvSpPr>
              <p:spPr bwMode="gray">
                <a:xfrm>
                  <a:off x="2045481" y="2427895"/>
                  <a:ext cx="67288"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0" name="Rectangle 169">
                  <a:extLst>
                    <a:ext uri="{FF2B5EF4-FFF2-40B4-BE49-F238E27FC236}">
                      <a16:creationId xmlns:a16="http://schemas.microsoft.com/office/drawing/2014/main" id="{E6865100-AAD6-4AA2-B661-D8E7642A220B}"/>
                    </a:ext>
                  </a:extLst>
                </p:cNvPr>
                <p:cNvSpPr>
                  <a:spLocks noChangeArrowheads="1"/>
                </p:cNvSpPr>
                <p:nvPr/>
              </p:nvSpPr>
              <p:spPr bwMode="gray">
                <a:xfrm>
                  <a:off x="2165891" y="2427895"/>
                  <a:ext cx="70830"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1" name="Rectangle 170">
                  <a:extLst>
                    <a:ext uri="{FF2B5EF4-FFF2-40B4-BE49-F238E27FC236}">
                      <a16:creationId xmlns:a16="http://schemas.microsoft.com/office/drawing/2014/main" id="{7A5FCEDB-E043-4849-BE79-0AF03A51D3D0}"/>
                    </a:ext>
                  </a:extLst>
                </p:cNvPr>
                <p:cNvSpPr>
                  <a:spLocks noChangeArrowheads="1"/>
                </p:cNvSpPr>
                <p:nvPr/>
              </p:nvSpPr>
              <p:spPr bwMode="gray">
                <a:xfrm>
                  <a:off x="2288072" y="2427895"/>
                  <a:ext cx="69059"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2" name="Rectangle 171">
                  <a:extLst>
                    <a:ext uri="{FF2B5EF4-FFF2-40B4-BE49-F238E27FC236}">
                      <a16:creationId xmlns:a16="http://schemas.microsoft.com/office/drawing/2014/main" id="{53C8642A-0C24-424E-80E6-CC0F928B12C4}"/>
                    </a:ext>
                  </a:extLst>
                </p:cNvPr>
                <p:cNvSpPr>
                  <a:spLocks noChangeArrowheads="1"/>
                </p:cNvSpPr>
                <p:nvPr/>
              </p:nvSpPr>
              <p:spPr bwMode="gray">
                <a:xfrm>
                  <a:off x="2410253" y="2427895"/>
                  <a:ext cx="69059" cy="6020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3" name="Rectangle 172">
                  <a:extLst>
                    <a:ext uri="{FF2B5EF4-FFF2-40B4-BE49-F238E27FC236}">
                      <a16:creationId xmlns:a16="http://schemas.microsoft.com/office/drawing/2014/main" id="{71F2B8AC-648B-4094-A1CC-075E050B7003}"/>
                    </a:ext>
                  </a:extLst>
                </p:cNvPr>
                <p:cNvSpPr>
                  <a:spLocks noChangeArrowheads="1"/>
                </p:cNvSpPr>
                <p:nvPr/>
              </p:nvSpPr>
              <p:spPr bwMode="gray">
                <a:xfrm>
                  <a:off x="2532434" y="2318110"/>
                  <a:ext cx="69059" cy="169991"/>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4" name="Rectangle 173">
                  <a:extLst>
                    <a:ext uri="{FF2B5EF4-FFF2-40B4-BE49-F238E27FC236}">
                      <a16:creationId xmlns:a16="http://schemas.microsoft.com/office/drawing/2014/main" id="{D2494023-10F8-4236-B6B8-DE247009F2BC}"/>
                    </a:ext>
                  </a:extLst>
                </p:cNvPr>
                <p:cNvSpPr>
                  <a:spLocks noChangeArrowheads="1"/>
                </p:cNvSpPr>
                <p:nvPr/>
              </p:nvSpPr>
              <p:spPr bwMode="gray">
                <a:xfrm>
                  <a:off x="1799347" y="2539452"/>
                  <a:ext cx="70830" cy="5843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5" name="Rectangle 174">
                  <a:extLst>
                    <a:ext uri="{FF2B5EF4-FFF2-40B4-BE49-F238E27FC236}">
                      <a16:creationId xmlns:a16="http://schemas.microsoft.com/office/drawing/2014/main" id="{CE23ECC0-50C6-4CF7-AFDC-DC44A1538C3A}"/>
                    </a:ext>
                  </a:extLst>
                </p:cNvPr>
                <p:cNvSpPr>
                  <a:spLocks noChangeArrowheads="1"/>
                </p:cNvSpPr>
                <p:nvPr/>
              </p:nvSpPr>
              <p:spPr bwMode="gray">
                <a:xfrm>
                  <a:off x="1921529" y="2539452"/>
                  <a:ext cx="69059" cy="5843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6" name="Rectangle 175">
                  <a:extLst>
                    <a:ext uri="{FF2B5EF4-FFF2-40B4-BE49-F238E27FC236}">
                      <a16:creationId xmlns:a16="http://schemas.microsoft.com/office/drawing/2014/main" id="{F6508340-3EE7-4104-9A46-F490F0F12A82}"/>
                    </a:ext>
                  </a:extLst>
                </p:cNvPr>
                <p:cNvSpPr>
                  <a:spLocks noChangeArrowheads="1"/>
                </p:cNvSpPr>
                <p:nvPr/>
              </p:nvSpPr>
              <p:spPr bwMode="gray">
                <a:xfrm>
                  <a:off x="2045481" y="2539452"/>
                  <a:ext cx="311650" cy="5843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7" name="Rectangle 176">
                  <a:extLst>
                    <a:ext uri="{FF2B5EF4-FFF2-40B4-BE49-F238E27FC236}">
                      <a16:creationId xmlns:a16="http://schemas.microsoft.com/office/drawing/2014/main" id="{4588246B-E426-4079-9D5B-3256FC6D45E2}"/>
                    </a:ext>
                  </a:extLst>
                </p:cNvPr>
                <p:cNvSpPr>
                  <a:spLocks noChangeArrowheads="1"/>
                </p:cNvSpPr>
                <p:nvPr/>
              </p:nvSpPr>
              <p:spPr bwMode="gray">
                <a:xfrm>
                  <a:off x="2410253" y="2539452"/>
                  <a:ext cx="69059" cy="5843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8" name="Rectangle 177">
                  <a:extLst>
                    <a:ext uri="{FF2B5EF4-FFF2-40B4-BE49-F238E27FC236}">
                      <a16:creationId xmlns:a16="http://schemas.microsoft.com/office/drawing/2014/main" id="{402AF8CE-BB6E-45BF-9362-FCA462198588}"/>
                    </a:ext>
                  </a:extLst>
                </p:cNvPr>
                <p:cNvSpPr>
                  <a:spLocks noChangeArrowheads="1"/>
                </p:cNvSpPr>
                <p:nvPr/>
              </p:nvSpPr>
              <p:spPr bwMode="gray">
                <a:xfrm>
                  <a:off x="2532434" y="2539452"/>
                  <a:ext cx="69059" cy="58435"/>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39" name="Freeform 178">
                  <a:extLst>
                    <a:ext uri="{FF2B5EF4-FFF2-40B4-BE49-F238E27FC236}">
                      <a16:creationId xmlns:a16="http://schemas.microsoft.com/office/drawing/2014/main" id="{91627D49-5404-4FDD-B581-16B2F2043BAF}"/>
                    </a:ext>
                  </a:extLst>
                </p:cNvPr>
                <p:cNvSpPr>
                  <a:spLocks/>
                </p:cNvSpPr>
                <p:nvPr/>
              </p:nvSpPr>
              <p:spPr bwMode="gray">
                <a:xfrm>
                  <a:off x="2064958" y="1940941"/>
                  <a:ext cx="235509" cy="304567"/>
                </a:xfrm>
                <a:custGeom>
                  <a:avLst/>
                  <a:gdLst>
                    <a:gd name="T0" fmla="*/ 118 w 133"/>
                    <a:gd name="T1" fmla="*/ 0 h 172"/>
                    <a:gd name="T2" fmla="*/ 133 w 133"/>
                    <a:gd name="T3" fmla="*/ 0 h 172"/>
                    <a:gd name="T4" fmla="*/ 133 w 133"/>
                    <a:gd name="T5" fmla="*/ 25 h 172"/>
                    <a:gd name="T6" fmla="*/ 130 w 133"/>
                    <a:gd name="T7" fmla="*/ 37 h 172"/>
                    <a:gd name="T8" fmla="*/ 124 w 133"/>
                    <a:gd name="T9" fmla="*/ 48 h 172"/>
                    <a:gd name="T10" fmla="*/ 113 w 133"/>
                    <a:gd name="T11" fmla="*/ 54 h 172"/>
                    <a:gd name="T12" fmla="*/ 100 w 133"/>
                    <a:gd name="T13" fmla="*/ 57 h 172"/>
                    <a:gd name="T14" fmla="*/ 32 w 133"/>
                    <a:gd name="T15" fmla="*/ 57 h 172"/>
                    <a:gd name="T16" fmla="*/ 27 w 133"/>
                    <a:gd name="T17" fmla="*/ 58 h 172"/>
                    <a:gd name="T18" fmla="*/ 22 w 133"/>
                    <a:gd name="T19" fmla="*/ 61 h 172"/>
                    <a:gd name="T20" fmla="*/ 18 w 133"/>
                    <a:gd name="T21" fmla="*/ 64 h 172"/>
                    <a:gd name="T22" fmla="*/ 16 w 133"/>
                    <a:gd name="T23" fmla="*/ 69 h 172"/>
                    <a:gd name="T24" fmla="*/ 14 w 133"/>
                    <a:gd name="T25" fmla="*/ 75 h 172"/>
                    <a:gd name="T26" fmla="*/ 14 w 133"/>
                    <a:gd name="T27" fmla="*/ 84 h 172"/>
                    <a:gd name="T28" fmla="*/ 16 w 133"/>
                    <a:gd name="T29" fmla="*/ 89 h 172"/>
                    <a:gd name="T30" fmla="*/ 18 w 133"/>
                    <a:gd name="T31" fmla="*/ 94 h 172"/>
                    <a:gd name="T32" fmla="*/ 22 w 133"/>
                    <a:gd name="T33" fmla="*/ 98 h 172"/>
                    <a:gd name="T34" fmla="*/ 27 w 133"/>
                    <a:gd name="T35" fmla="*/ 100 h 172"/>
                    <a:gd name="T36" fmla="*/ 32 w 133"/>
                    <a:gd name="T37" fmla="*/ 102 h 172"/>
                    <a:gd name="T38" fmla="*/ 52 w 133"/>
                    <a:gd name="T39" fmla="*/ 102 h 172"/>
                    <a:gd name="T40" fmla="*/ 64 w 133"/>
                    <a:gd name="T41" fmla="*/ 104 h 172"/>
                    <a:gd name="T42" fmla="*/ 75 w 133"/>
                    <a:gd name="T43" fmla="*/ 111 h 172"/>
                    <a:gd name="T44" fmla="*/ 81 w 133"/>
                    <a:gd name="T45" fmla="*/ 121 h 172"/>
                    <a:gd name="T46" fmla="*/ 84 w 133"/>
                    <a:gd name="T47" fmla="*/ 134 h 172"/>
                    <a:gd name="T48" fmla="*/ 84 w 133"/>
                    <a:gd name="T49" fmla="*/ 172 h 172"/>
                    <a:gd name="T50" fmla="*/ 70 w 133"/>
                    <a:gd name="T51" fmla="*/ 172 h 172"/>
                    <a:gd name="T52" fmla="*/ 70 w 133"/>
                    <a:gd name="T53" fmla="*/ 134 h 172"/>
                    <a:gd name="T54" fmla="*/ 68 w 133"/>
                    <a:gd name="T55" fmla="*/ 129 h 172"/>
                    <a:gd name="T56" fmla="*/ 66 w 133"/>
                    <a:gd name="T57" fmla="*/ 123 h 172"/>
                    <a:gd name="T58" fmla="*/ 62 w 133"/>
                    <a:gd name="T59" fmla="*/ 120 h 172"/>
                    <a:gd name="T60" fmla="*/ 57 w 133"/>
                    <a:gd name="T61" fmla="*/ 117 h 172"/>
                    <a:gd name="T62" fmla="*/ 52 w 133"/>
                    <a:gd name="T63" fmla="*/ 116 h 172"/>
                    <a:gd name="T64" fmla="*/ 32 w 133"/>
                    <a:gd name="T65" fmla="*/ 116 h 172"/>
                    <a:gd name="T66" fmla="*/ 21 w 133"/>
                    <a:gd name="T67" fmla="*/ 113 h 172"/>
                    <a:gd name="T68" fmla="*/ 11 w 133"/>
                    <a:gd name="T69" fmla="*/ 107 h 172"/>
                    <a:gd name="T70" fmla="*/ 3 w 133"/>
                    <a:gd name="T71" fmla="*/ 96 h 172"/>
                    <a:gd name="T72" fmla="*/ 0 w 133"/>
                    <a:gd name="T73" fmla="*/ 84 h 172"/>
                    <a:gd name="T74" fmla="*/ 0 w 133"/>
                    <a:gd name="T75" fmla="*/ 75 h 172"/>
                    <a:gd name="T76" fmla="*/ 3 w 133"/>
                    <a:gd name="T77" fmla="*/ 63 h 172"/>
                    <a:gd name="T78" fmla="*/ 11 w 133"/>
                    <a:gd name="T79" fmla="*/ 53 h 172"/>
                    <a:gd name="T80" fmla="*/ 21 w 133"/>
                    <a:gd name="T81" fmla="*/ 45 h 172"/>
                    <a:gd name="T82" fmla="*/ 32 w 133"/>
                    <a:gd name="T83" fmla="*/ 43 h 172"/>
                    <a:gd name="T84" fmla="*/ 100 w 133"/>
                    <a:gd name="T85" fmla="*/ 43 h 172"/>
                    <a:gd name="T86" fmla="*/ 107 w 133"/>
                    <a:gd name="T87" fmla="*/ 41 h 172"/>
                    <a:gd name="T88" fmla="*/ 112 w 133"/>
                    <a:gd name="T89" fmla="*/ 40 h 172"/>
                    <a:gd name="T90" fmla="*/ 116 w 133"/>
                    <a:gd name="T91" fmla="*/ 36 h 172"/>
                    <a:gd name="T92" fmla="*/ 118 w 133"/>
                    <a:gd name="T93" fmla="*/ 31 h 172"/>
                    <a:gd name="T94" fmla="*/ 118 w 133"/>
                    <a:gd name="T95" fmla="*/ 25 h 172"/>
                    <a:gd name="T96" fmla="*/ 118 w 133"/>
                    <a:gd name="T97"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 h="172">
                      <a:moveTo>
                        <a:pt x="118" y="0"/>
                      </a:moveTo>
                      <a:lnTo>
                        <a:pt x="133" y="0"/>
                      </a:lnTo>
                      <a:lnTo>
                        <a:pt x="133" y="25"/>
                      </a:lnTo>
                      <a:lnTo>
                        <a:pt x="130" y="37"/>
                      </a:lnTo>
                      <a:lnTo>
                        <a:pt x="124" y="48"/>
                      </a:lnTo>
                      <a:lnTo>
                        <a:pt x="113" y="54"/>
                      </a:lnTo>
                      <a:lnTo>
                        <a:pt x="100" y="57"/>
                      </a:lnTo>
                      <a:lnTo>
                        <a:pt x="32" y="57"/>
                      </a:lnTo>
                      <a:lnTo>
                        <a:pt x="27" y="58"/>
                      </a:lnTo>
                      <a:lnTo>
                        <a:pt x="22" y="61"/>
                      </a:lnTo>
                      <a:lnTo>
                        <a:pt x="18" y="64"/>
                      </a:lnTo>
                      <a:lnTo>
                        <a:pt x="16" y="69"/>
                      </a:lnTo>
                      <a:lnTo>
                        <a:pt x="14" y="75"/>
                      </a:lnTo>
                      <a:lnTo>
                        <a:pt x="14" y="84"/>
                      </a:lnTo>
                      <a:lnTo>
                        <a:pt x="16" y="89"/>
                      </a:lnTo>
                      <a:lnTo>
                        <a:pt x="18" y="94"/>
                      </a:lnTo>
                      <a:lnTo>
                        <a:pt x="22" y="98"/>
                      </a:lnTo>
                      <a:lnTo>
                        <a:pt x="27" y="100"/>
                      </a:lnTo>
                      <a:lnTo>
                        <a:pt x="32" y="102"/>
                      </a:lnTo>
                      <a:lnTo>
                        <a:pt x="52" y="102"/>
                      </a:lnTo>
                      <a:lnTo>
                        <a:pt x="64" y="104"/>
                      </a:lnTo>
                      <a:lnTo>
                        <a:pt x="75" y="111"/>
                      </a:lnTo>
                      <a:lnTo>
                        <a:pt x="81" y="121"/>
                      </a:lnTo>
                      <a:lnTo>
                        <a:pt x="84" y="134"/>
                      </a:lnTo>
                      <a:lnTo>
                        <a:pt x="84" y="172"/>
                      </a:lnTo>
                      <a:lnTo>
                        <a:pt x="70" y="172"/>
                      </a:lnTo>
                      <a:lnTo>
                        <a:pt x="70" y="134"/>
                      </a:lnTo>
                      <a:lnTo>
                        <a:pt x="68" y="129"/>
                      </a:lnTo>
                      <a:lnTo>
                        <a:pt x="66" y="123"/>
                      </a:lnTo>
                      <a:lnTo>
                        <a:pt x="62" y="120"/>
                      </a:lnTo>
                      <a:lnTo>
                        <a:pt x="57" y="117"/>
                      </a:lnTo>
                      <a:lnTo>
                        <a:pt x="52" y="116"/>
                      </a:lnTo>
                      <a:lnTo>
                        <a:pt x="32" y="116"/>
                      </a:lnTo>
                      <a:lnTo>
                        <a:pt x="21" y="113"/>
                      </a:lnTo>
                      <a:lnTo>
                        <a:pt x="11" y="107"/>
                      </a:lnTo>
                      <a:lnTo>
                        <a:pt x="3" y="96"/>
                      </a:lnTo>
                      <a:lnTo>
                        <a:pt x="0" y="84"/>
                      </a:lnTo>
                      <a:lnTo>
                        <a:pt x="0" y="75"/>
                      </a:lnTo>
                      <a:lnTo>
                        <a:pt x="3" y="63"/>
                      </a:lnTo>
                      <a:lnTo>
                        <a:pt x="11" y="53"/>
                      </a:lnTo>
                      <a:lnTo>
                        <a:pt x="21" y="45"/>
                      </a:lnTo>
                      <a:lnTo>
                        <a:pt x="32" y="43"/>
                      </a:lnTo>
                      <a:lnTo>
                        <a:pt x="100" y="43"/>
                      </a:lnTo>
                      <a:lnTo>
                        <a:pt x="107" y="41"/>
                      </a:lnTo>
                      <a:lnTo>
                        <a:pt x="112" y="40"/>
                      </a:lnTo>
                      <a:lnTo>
                        <a:pt x="116" y="36"/>
                      </a:lnTo>
                      <a:lnTo>
                        <a:pt x="118" y="31"/>
                      </a:lnTo>
                      <a:lnTo>
                        <a:pt x="118" y="25"/>
                      </a:lnTo>
                      <a:lnTo>
                        <a:pt x="118"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0" name="Freeform 179">
                  <a:extLst>
                    <a:ext uri="{FF2B5EF4-FFF2-40B4-BE49-F238E27FC236}">
                      <a16:creationId xmlns:a16="http://schemas.microsoft.com/office/drawing/2014/main" id="{A680D685-381F-4E52-BFFC-D9C00C2CF1C4}"/>
                    </a:ext>
                  </a:extLst>
                </p:cNvPr>
                <p:cNvSpPr>
                  <a:spLocks/>
                </p:cNvSpPr>
                <p:nvPr/>
              </p:nvSpPr>
              <p:spPr bwMode="gray">
                <a:xfrm>
                  <a:off x="1804661" y="2429665"/>
                  <a:ext cx="341753" cy="518828"/>
                </a:xfrm>
                <a:custGeom>
                  <a:avLst/>
                  <a:gdLst>
                    <a:gd name="T0" fmla="*/ 92 w 193"/>
                    <a:gd name="T1" fmla="*/ 1 h 293"/>
                    <a:gd name="T2" fmla="*/ 101 w 193"/>
                    <a:gd name="T3" fmla="*/ 8 h 293"/>
                    <a:gd name="T4" fmla="*/ 105 w 193"/>
                    <a:gd name="T5" fmla="*/ 18 h 293"/>
                    <a:gd name="T6" fmla="*/ 105 w 193"/>
                    <a:gd name="T7" fmla="*/ 142 h 293"/>
                    <a:gd name="T8" fmla="*/ 105 w 193"/>
                    <a:gd name="T9" fmla="*/ 36 h 293"/>
                    <a:gd name="T10" fmla="*/ 111 w 193"/>
                    <a:gd name="T11" fmla="*/ 27 h 293"/>
                    <a:gd name="T12" fmla="*/ 122 w 193"/>
                    <a:gd name="T13" fmla="*/ 23 h 293"/>
                    <a:gd name="T14" fmla="*/ 133 w 193"/>
                    <a:gd name="T15" fmla="*/ 27 h 293"/>
                    <a:gd name="T16" fmla="*/ 138 w 193"/>
                    <a:gd name="T17" fmla="*/ 36 h 293"/>
                    <a:gd name="T18" fmla="*/ 140 w 193"/>
                    <a:gd name="T19" fmla="*/ 196 h 293"/>
                    <a:gd name="T20" fmla="*/ 158 w 193"/>
                    <a:gd name="T21" fmla="*/ 123 h 293"/>
                    <a:gd name="T22" fmla="*/ 161 w 193"/>
                    <a:gd name="T23" fmla="*/ 113 h 293"/>
                    <a:gd name="T24" fmla="*/ 169 w 193"/>
                    <a:gd name="T25" fmla="*/ 107 h 293"/>
                    <a:gd name="T26" fmla="*/ 181 w 193"/>
                    <a:gd name="T27" fmla="*/ 107 h 293"/>
                    <a:gd name="T28" fmla="*/ 190 w 193"/>
                    <a:gd name="T29" fmla="*/ 113 h 293"/>
                    <a:gd name="T30" fmla="*/ 193 w 193"/>
                    <a:gd name="T31" fmla="*/ 123 h 293"/>
                    <a:gd name="T32" fmla="*/ 192 w 193"/>
                    <a:gd name="T33" fmla="*/ 198 h 293"/>
                    <a:gd name="T34" fmla="*/ 187 w 193"/>
                    <a:gd name="T35" fmla="*/ 205 h 293"/>
                    <a:gd name="T36" fmla="*/ 134 w 193"/>
                    <a:gd name="T37" fmla="*/ 272 h 293"/>
                    <a:gd name="T38" fmla="*/ 7 w 193"/>
                    <a:gd name="T39" fmla="*/ 293 h 293"/>
                    <a:gd name="T40" fmla="*/ 2 w 193"/>
                    <a:gd name="T41" fmla="*/ 248 h 293"/>
                    <a:gd name="T42" fmla="*/ 0 w 193"/>
                    <a:gd name="T43" fmla="*/ 236 h 293"/>
                    <a:gd name="T44" fmla="*/ 0 w 193"/>
                    <a:gd name="T45" fmla="*/ 98 h 293"/>
                    <a:gd name="T46" fmla="*/ 6 w 193"/>
                    <a:gd name="T47" fmla="*/ 89 h 293"/>
                    <a:gd name="T48" fmla="*/ 16 w 193"/>
                    <a:gd name="T49" fmla="*/ 86 h 293"/>
                    <a:gd name="T50" fmla="*/ 27 w 193"/>
                    <a:gd name="T51" fmla="*/ 89 h 293"/>
                    <a:gd name="T52" fmla="*/ 33 w 193"/>
                    <a:gd name="T53" fmla="*/ 98 h 293"/>
                    <a:gd name="T54" fmla="*/ 34 w 193"/>
                    <a:gd name="T55" fmla="*/ 142 h 293"/>
                    <a:gd name="T56" fmla="*/ 34 w 193"/>
                    <a:gd name="T57" fmla="*/ 90 h 293"/>
                    <a:gd name="T58" fmla="*/ 38 w 193"/>
                    <a:gd name="T59" fmla="*/ 80 h 293"/>
                    <a:gd name="T60" fmla="*/ 46 w 193"/>
                    <a:gd name="T61" fmla="*/ 73 h 293"/>
                    <a:gd name="T62" fmla="*/ 57 w 193"/>
                    <a:gd name="T63" fmla="*/ 73 h 293"/>
                    <a:gd name="T64" fmla="*/ 66 w 193"/>
                    <a:gd name="T65" fmla="*/ 80 h 293"/>
                    <a:gd name="T66" fmla="*/ 69 w 193"/>
                    <a:gd name="T67" fmla="*/ 90 h 293"/>
                    <a:gd name="T68" fmla="*/ 69 w 193"/>
                    <a:gd name="T69" fmla="*/ 142 h 293"/>
                    <a:gd name="T70" fmla="*/ 70 w 193"/>
                    <a:gd name="T71" fmla="*/ 13 h 293"/>
                    <a:gd name="T72" fmla="*/ 77 w 193"/>
                    <a:gd name="T73" fmla="*/ 4 h 293"/>
                    <a:gd name="T74" fmla="*/ 87 w 193"/>
                    <a:gd name="T7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293">
                      <a:moveTo>
                        <a:pt x="87" y="0"/>
                      </a:moveTo>
                      <a:lnTo>
                        <a:pt x="92" y="1"/>
                      </a:lnTo>
                      <a:lnTo>
                        <a:pt x="97" y="4"/>
                      </a:lnTo>
                      <a:lnTo>
                        <a:pt x="101" y="8"/>
                      </a:lnTo>
                      <a:lnTo>
                        <a:pt x="104" y="13"/>
                      </a:lnTo>
                      <a:lnTo>
                        <a:pt x="105" y="18"/>
                      </a:lnTo>
                      <a:lnTo>
                        <a:pt x="105" y="142"/>
                      </a:lnTo>
                      <a:lnTo>
                        <a:pt x="105" y="142"/>
                      </a:lnTo>
                      <a:lnTo>
                        <a:pt x="105" y="41"/>
                      </a:lnTo>
                      <a:lnTo>
                        <a:pt x="105" y="36"/>
                      </a:lnTo>
                      <a:lnTo>
                        <a:pt x="107" y="31"/>
                      </a:lnTo>
                      <a:lnTo>
                        <a:pt x="111" y="27"/>
                      </a:lnTo>
                      <a:lnTo>
                        <a:pt x="116" y="24"/>
                      </a:lnTo>
                      <a:lnTo>
                        <a:pt x="122" y="23"/>
                      </a:lnTo>
                      <a:lnTo>
                        <a:pt x="128" y="24"/>
                      </a:lnTo>
                      <a:lnTo>
                        <a:pt x="133" y="27"/>
                      </a:lnTo>
                      <a:lnTo>
                        <a:pt x="136" y="31"/>
                      </a:lnTo>
                      <a:lnTo>
                        <a:pt x="138" y="36"/>
                      </a:lnTo>
                      <a:lnTo>
                        <a:pt x="140" y="41"/>
                      </a:lnTo>
                      <a:lnTo>
                        <a:pt x="140" y="196"/>
                      </a:lnTo>
                      <a:lnTo>
                        <a:pt x="158" y="171"/>
                      </a:lnTo>
                      <a:lnTo>
                        <a:pt x="158" y="123"/>
                      </a:lnTo>
                      <a:lnTo>
                        <a:pt x="159" y="118"/>
                      </a:lnTo>
                      <a:lnTo>
                        <a:pt x="161" y="113"/>
                      </a:lnTo>
                      <a:lnTo>
                        <a:pt x="165" y="109"/>
                      </a:lnTo>
                      <a:lnTo>
                        <a:pt x="169" y="107"/>
                      </a:lnTo>
                      <a:lnTo>
                        <a:pt x="176" y="107"/>
                      </a:lnTo>
                      <a:lnTo>
                        <a:pt x="181" y="107"/>
                      </a:lnTo>
                      <a:lnTo>
                        <a:pt x="186" y="109"/>
                      </a:lnTo>
                      <a:lnTo>
                        <a:pt x="190" y="113"/>
                      </a:lnTo>
                      <a:lnTo>
                        <a:pt x="192" y="118"/>
                      </a:lnTo>
                      <a:lnTo>
                        <a:pt x="193" y="123"/>
                      </a:lnTo>
                      <a:lnTo>
                        <a:pt x="193" y="193"/>
                      </a:lnTo>
                      <a:lnTo>
                        <a:pt x="192" y="198"/>
                      </a:lnTo>
                      <a:lnTo>
                        <a:pt x="190" y="203"/>
                      </a:lnTo>
                      <a:lnTo>
                        <a:pt x="187" y="205"/>
                      </a:lnTo>
                      <a:lnTo>
                        <a:pt x="187" y="205"/>
                      </a:lnTo>
                      <a:lnTo>
                        <a:pt x="134" y="272"/>
                      </a:lnTo>
                      <a:lnTo>
                        <a:pt x="134" y="293"/>
                      </a:lnTo>
                      <a:lnTo>
                        <a:pt x="7" y="293"/>
                      </a:lnTo>
                      <a:lnTo>
                        <a:pt x="7" y="252"/>
                      </a:lnTo>
                      <a:lnTo>
                        <a:pt x="2" y="248"/>
                      </a:lnTo>
                      <a:lnTo>
                        <a:pt x="0" y="243"/>
                      </a:lnTo>
                      <a:lnTo>
                        <a:pt x="0" y="236"/>
                      </a:lnTo>
                      <a:lnTo>
                        <a:pt x="0" y="103"/>
                      </a:lnTo>
                      <a:lnTo>
                        <a:pt x="0" y="98"/>
                      </a:lnTo>
                      <a:lnTo>
                        <a:pt x="2" y="92"/>
                      </a:lnTo>
                      <a:lnTo>
                        <a:pt x="6" y="89"/>
                      </a:lnTo>
                      <a:lnTo>
                        <a:pt x="11" y="86"/>
                      </a:lnTo>
                      <a:lnTo>
                        <a:pt x="16" y="86"/>
                      </a:lnTo>
                      <a:lnTo>
                        <a:pt x="23" y="86"/>
                      </a:lnTo>
                      <a:lnTo>
                        <a:pt x="27" y="89"/>
                      </a:lnTo>
                      <a:lnTo>
                        <a:pt x="30" y="92"/>
                      </a:lnTo>
                      <a:lnTo>
                        <a:pt x="33" y="98"/>
                      </a:lnTo>
                      <a:lnTo>
                        <a:pt x="34" y="103"/>
                      </a:lnTo>
                      <a:lnTo>
                        <a:pt x="34" y="142"/>
                      </a:lnTo>
                      <a:lnTo>
                        <a:pt x="34" y="142"/>
                      </a:lnTo>
                      <a:lnTo>
                        <a:pt x="34" y="90"/>
                      </a:lnTo>
                      <a:lnTo>
                        <a:pt x="36" y="85"/>
                      </a:lnTo>
                      <a:lnTo>
                        <a:pt x="38" y="80"/>
                      </a:lnTo>
                      <a:lnTo>
                        <a:pt x="42" y="76"/>
                      </a:lnTo>
                      <a:lnTo>
                        <a:pt x="46" y="73"/>
                      </a:lnTo>
                      <a:lnTo>
                        <a:pt x="52" y="72"/>
                      </a:lnTo>
                      <a:lnTo>
                        <a:pt x="57" y="73"/>
                      </a:lnTo>
                      <a:lnTo>
                        <a:pt x="63" y="76"/>
                      </a:lnTo>
                      <a:lnTo>
                        <a:pt x="66" y="80"/>
                      </a:lnTo>
                      <a:lnTo>
                        <a:pt x="69" y="85"/>
                      </a:lnTo>
                      <a:lnTo>
                        <a:pt x="69" y="90"/>
                      </a:lnTo>
                      <a:lnTo>
                        <a:pt x="69" y="142"/>
                      </a:lnTo>
                      <a:lnTo>
                        <a:pt x="69" y="142"/>
                      </a:lnTo>
                      <a:lnTo>
                        <a:pt x="69" y="18"/>
                      </a:lnTo>
                      <a:lnTo>
                        <a:pt x="70" y="13"/>
                      </a:lnTo>
                      <a:lnTo>
                        <a:pt x="73" y="8"/>
                      </a:lnTo>
                      <a:lnTo>
                        <a:pt x="77" y="4"/>
                      </a:lnTo>
                      <a:lnTo>
                        <a:pt x="82" y="1"/>
                      </a:lnTo>
                      <a:lnTo>
                        <a:pt x="87"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1" name="Freeform 180">
                  <a:extLst>
                    <a:ext uri="{FF2B5EF4-FFF2-40B4-BE49-F238E27FC236}">
                      <a16:creationId xmlns:a16="http://schemas.microsoft.com/office/drawing/2014/main" id="{B5C477E9-7988-406F-89BF-271AE923488E}"/>
                    </a:ext>
                  </a:extLst>
                </p:cNvPr>
                <p:cNvSpPr>
                  <a:spLocks noEditPoints="1"/>
                </p:cNvSpPr>
                <p:nvPr/>
              </p:nvSpPr>
              <p:spPr bwMode="gray">
                <a:xfrm>
                  <a:off x="1790494" y="2419041"/>
                  <a:ext cx="368314" cy="541847"/>
                </a:xfrm>
                <a:custGeom>
                  <a:avLst/>
                  <a:gdLst>
                    <a:gd name="T0" fmla="*/ 87 w 208"/>
                    <a:gd name="T1" fmla="*/ 16 h 306"/>
                    <a:gd name="T2" fmla="*/ 85 w 208"/>
                    <a:gd name="T3" fmla="*/ 148 h 306"/>
                    <a:gd name="T4" fmla="*/ 81 w 208"/>
                    <a:gd name="T5" fmla="*/ 155 h 306"/>
                    <a:gd name="T6" fmla="*/ 72 w 208"/>
                    <a:gd name="T7" fmla="*/ 154 h 306"/>
                    <a:gd name="T8" fmla="*/ 71 w 208"/>
                    <a:gd name="T9" fmla="*/ 96 h 306"/>
                    <a:gd name="T10" fmla="*/ 64 w 208"/>
                    <a:gd name="T11" fmla="*/ 86 h 306"/>
                    <a:gd name="T12" fmla="*/ 53 w 208"/>
                    <a:gd name="T13" fmla="*/ 88 h 306"/>
                    <a:gd name="T14" fmla="*/ 50 w 208"/>
                    <a:gd name="T15" fmla="*/ 148 h 306"/>
                    <a:gd name="T16" fmla="*/ 45 w 208"/>
                    <a:gd name="T17" fmla="*/ 155 h 306"/>
                    <a:gd name="T18" fmla="*/ 37 w 208"/>
                    <a:gd name="T19" fmla="*/ 154 h 306"/>
                    <a:gd name="T20" fmla="*/ 35 w 208"/>
                    <a:gd name="T21" fmla="*/ 109 h 306"/>
                    <a:gd name="T22" fmla="*/ 28 w 208"/>
                    <a:gd name="T23" fmla="*/ 100 h 306"/>
                    <a:gd name="T24" fmla="*/ 18 w 208"/>
                    <a:gd name="T25" fmla="*/ 102 h 306"/>
                    <a:gd name="T26" fmla="*/ 14 w 208"/>
                    <a:gd name="T27" fmla="*/ 242 h 306"/>
                    <a:gd name="T28" fmla="*/ 19 w 208"/>
                    <a:gd name="T29" fmla="*/ 251 h 306"/>
                    <a:gd name="T30" fmla="*/ 22 w 208"/>
                    <a:gd name="T31" fmla="*/ 292 h 306"/>
                    <a:gd name="T32" fmla="*/ 135 w 208"/>
                    <a:gd name="T33" fmla="*/ 275 h 306"/>
                    <a:gd name="T34" fmla="*/ 190 w 208"/>
                    <a:gd name="T35" fmla="*/ 206 h 306"/>
                    <a:gd name="T36" fmla="*/ 194 w 208"/>
                    <a:gd name="T37" fmla="*/ 129 h 306"/>
                    <a:gd name="T38" fmla="*/ 187 w 208"/>
                    <a:gd name="T39" fmla="*/ 120 h 306"/>
                    <a:gd name="T40" fmla="*/ 176 w 208"/>
                    <a:gd name="T41" fmla="*/ 123 h 306"/>
                    <a:gd name="T42" fmla="*/ 173 w 208"/>
                    <a:gd name="T43" fmla="*/ 177 h 306"/>
                    <a:gd name="T44" fmla="*/ 154 w 208"/>
                    <a:gd name="T45" fmla="*/ 206 h 306"/>
                    <a:gd name="T46" fmla="*/ 145 w 208"/>
                    <a:gd name="T47" fmla="*/ 210 h 306"/>
                    <a:gd name="T48" fmla="*/ 141 w 208"/>
                    <a:gd name="T49" fmla="*/ 202 h 306"/>
                    <a:gd name="T50" fmla="*/ 137 w 208"/>
                    <a:gd name="T51" fmla="*/ 39 h 306"/>
                    <a:gd name="T52" fmla="*/ 126 w 208"/>
                    <a:gd name="T53" fmla="*/ 37 h 306"/>
                    <a:gd name="T54" fmla="*/ 119 w 208"/>
                    <a:gd name="T55" fmla="*/ 47 h 306"/>
                    <a:gd name="T56" fmla="*/ 118 w 208"/>
                    <a:gd name="T57" fmla="*/ 154 h 306"/>
                    <a:gd name="T58" fmla="*/ 110 w 208"/>
                    <a:gd name="T59" fmla="*/ 155 h 306"/>
                    <a:gd name="T60" fmla="*/ 105 w 208"/>
                    <a:gd name="T61" fmla="*/ 148 h 306"/>
                    <a:gd name="T62" fmla="*/ 103 w 208"/>
                    <a:gd name="T63" fmla="*/ 16 h 306"/>
                    <a:gd name="T64" fmla="*/ 95 w 208"/>
                    <a:gd name="T65" fmla="*/ 0 h 306"/>
                    <a:gd name="T66" fmla="*/ 119 w 208"/>
                    <a:gd name="T67" fmla="*/ 24 h 306"/>
                    <a:gd name="T68" fmla="*/ 130 w 208"/>
                    <a:gd name="T69" fmla="*/ 23 h 306"/>
                    <a:gd name="T70" fmla="*/ 155 w 208"/>
                    <a:gd name="T71" fmla="*/ 47 h 306"/>
                    <a:gd name="T72" fmla="*/ 159 w 208"/>
                    <a:gd name="T73" fmla="*/ 129 h 306"/>
                    <a:gd name="T74" fmla="*/ 184 w 208"/>
                    <a:gd name="T75" fmla="*/ 105 h 306"/>
                    <a:gd name="T76" fmla="*/ 208 w 208"/>
                    <a:gd name="T77" fmla="*/ 129 h 306"/>
                    <a:gd name="T78" fmla="*/ 204 w 208"/>
                    <a:gd name="T79" fmla="*/ 211 h 306"/>
                    <a:gd name="T80" fmla="*/ 149 w 208"/>
                    <a:gd name="T81" fmla="*/ 299 h 306"/>
                    <a:gd name="T82" fmla="*/ 145 w 208"/>
                    <a:gd name="T83" fmla="*/ 306 h 306"/>
                    <a:gd name="T84" fmla="*/ 11 w 208"/>
                    <a:gd name="T85" fmla="*/ 306 h 306"/>
                    <a:gd name="T86" fmla="*/ 8 w 208"/>
                    <a:gd name="T87" fmla="*/ 299 h 306"/>
                    <a:gd name="T88" fmla="*/ 2 w 208"/>
                    <a:gd name="T89" fmla="*/ 252 h 306"/>
                    <a:gd name="T90" fmla="*/ 0 w 208"/>
                    <a:gd name="T91" fmla="*/ 109 h 306"/>
                    <a:gd name="T92" fmla="*/ 24 w 208"/>
                    <a:gd name="T93" fmla="*/ 84 h 306"/>
                    <a:gd name="T94" fmla="*/ 42 w 208"/>
                    <a:gd name="T95" fmla="*/ 79 h 306"/>
                    <a:gd name="T96" fmla="*/ 65 w 208"/>
                    <a:gd name="T97" fmla="*/ 71 h 306"/>
                    <a:gd name="T98" fmla="*/ 73 w 208"/>
                    <a:gd name="T99" fmla="*/ 1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306">
                      <a:moveTo>
                        <a:pt x="95" y="14"/>
                      </a:moveTo>
                      <a:lnTo>
                        <a:pt x="91" y="15"/>
                      </a:lnTo>
                      <a:lnTo>
                        <a:pt x="87" y="16"/>
                      </a:lnTo>
                      <a:lnTo>
                        <a:pt x="86" y="20"/>
                      </a:lnTo>
                      <a:lnTo>
                        <a:pt x="85" y="24"/>
                      </a:lnTo>
                      <a:lnTo>
                        <a:pt x="85" y="148"/>
                      </a:lnTo>
                      <a:lnTo>
                        <a:pt x="85" y="151"/>
                      </a:lnTo>
                      <a:lnTo>
                        <a:pt x="82" y="154"/>
                      </a:lnTo>
                      <a:lnTo>
                        <a:pt x="81" y="155"/>
                      </a:lnTo>
                      <a:lnTo>
                        <a:pt x="77" y="155"/>
                      </a:lnTo>
                      <a:lnTo>
                        <a:pt x="74" y="155"/>
                      </a:lnTo>
                      <a:lnTo>
                        <a:pt x="72" y="154"/>
                      </a:lnTo>
                      <a:lnTo>
                        <a:pt x="71" y="151"/>
                      </a:lnTo>
                      <a:lnTo>
                        <a:pt x="71" y="148"/>
                      </a:lnTo>
                      <a:lnTo>
                        <a:pt x="71" y="96"/>
                      </a:lnTo>
                      <a:lnTo>
                        <a:pt x="69" y="92"/>
                      </a:lnTo>
                      <a:lnTo>
                        <a:pt x="67" y="88"/>
                      </a:lnTo>
                      <a:lnTo>
                        <a:pt x="64" y="86"/>
                      </a:lnTo>
                      <a:lnTo>
                        <a:pt x="60" y="86"/>
                      </a:lnTo>
                      <a:lnTo>
                        <a:pt x="55" y="86"/>
                      </a:lnTo>
                      <a:lnTo>
                        <a:pt x="53" y="88"/>
                      </a:lnTo>
                      <a:lnTo>
                        <a:pt x="50" y="92"/>
                      </a:lnTo>
                      <a:lnTo>
                        <a:pt x="50" y="96"/>
                      </a:lnTo>
                      <a:lnTo>
                        <a:pt x="50" y="148"/>
                      </a:lnTo>
                      <a:lnTo>
                        <a:pt x="49" y="151"/>
                      </a:lnTo>
                      <a:lnTo>
                        <a:pt x="47" y="154"/>
                      </a:lnTo>
                      <a:lnTo>
                        <a:pt x="45" y="155"/>
                      </a:lnTo>
                      <a:lnTo>
                        <a:pt x="42" y="155"/>
                      </a:lnTo>
                      <a:lnTo>
                        <a:pt x="40" y="155"/>
                      </a:lnTo>
                      <a:lnTo>
                        <a:pt x="37" y="154"/>
                      </a:lnTo>
                      <a:lnTo>
                        <a:pt x="36" y="151"/>
                      </a:lnTo>
                      <a:lnTo>
                        <a:pt x="35" y="148"/>
                      </a:lnTo>
                      <a:lnTo>
                        <a:pt x="35" y="109"/>
                      </a:lnTo>
                      <a:lnTo>
                        <a:pt x="35" y="105"/>
                      </a:lnTo>
                      <a:lnTo>
                        <a:pt x="32" y="102"/>
                      </a:lnTo>
                      <a:lnTo>
                        <a:pt x="28" y="100"/>
                      </a:lnTo>
                      <a:lnTo>
                        <a:pt x="24" y="98"/>
                      </a:lnTo>
                      <a:lnTo>
                        <a:pt x="20" y="100"/>
                      </a:lnTo>
                      <a:lnTo>
                        <a:pt x="18" y="102"/>
                      </a:lnTo>
                      <a:lnTo>
                        <a:pt x="15" y="105"/>
                      </a:lnTo>
                      <a:lnTo>
                        <a:pt x="14" y="109"/>
                      </a:lnTo>
                      <a:lnTo>
                        <a:pt x="14" y="242"/>
                      </a:lnTo>
                      <a:lnTo>
                        <a:pt x="15" y="246"/>
                      </a:lnTo>
                      <a:lnTo>
                        <a:pt x="17" y="249"/>
                      </a:lnTo>
                      <a:lnTo>
                        <a:pt x="19" y="251"/>
                      </a:lnTo>
                      <a:lnTo>
                        <a:pt x="22" y="254"/>
                      </a:lnTo>
                      <a:lnTo>
                        <a:pt x="22" y="258"/>
                      </a:lnTo>
                      <a:lnTo>
                        <a:pt x="22" y="292"/>
                      </a:lnTo>
                      <a:lnTo>
                        <a:pt x="135" y="292"/>
                      </a:lnTo>
                      <a:lnTo>
                        <a:pt x="135" y="278"/>
                      </a:lnTo>
                      <a:lnTo>
                        <a:pt x="135" y="275"/>
                      </a:lnTo>
                      <a:lnTo>
                        <a:pt x="136" y="273"/>
                      </a:lnTo>
                      <a:lnTo>
                        <a:pt x="189" y="207"/>
                      </a:lnTo>
                      <a:lnTo>
                        <a:pt x="190" y="206"/>
                      </a:lnTo>
                      <a:lnTo>
                        <a:pt x="193" y="204"/>
                      </a:lnTo>
                      <a:lnTo>
                        <a:pt x="194" y="199"/>
                      </a:lnTo>
                      <a:lnTo>
                        <a:pt x="194" y="129"/>
                      </a:lnTo>
                      <a:lnTo>
                        <a:pt x="193" y="125"/>
                      </a:lnTo>
                      <a:lnTo>
                        <a:pt x="191" y="123"/>
                      </a:lnTo>
                      <a:lnTo>
                        <a:pt x="187" y="120"/>
                      </a:lnTo>
                      <a:lnTo>
                        <a:pt x="184" y="119"/>
                      </a:lnTo>
                      <a:lnTo>
                        <a:pt x="180" y="120"/>
                      </a:lnTo>
                      <a:lnTo>
                        <a:pt x="176" y="123"/>
                      </a:lnTo>
                      <a:lnTo>
                        <a:pt x="173" y="125"/>
                      </a:lnTo>
                      <a:lnTo>
                        <a:pt x="173" y="129"/>
                      </a:lnTo>
                      <a:lnTo>
                        <a:pt x="173" y="177"/>
                      </a:lnTo>
                      <a:lnTo>
                        <a:pt x="172" y="179"/>
                      </a:lnTo>
                      <a:lnTo>
                        <a:pt x="172" y="181"/>
                      </a:lnTo>
                      <a:lnTo>
                        <a:pt x="154" y="206"/>
                      </a:lnTo>
                      <a:lnTo>
                        <a:pt x="151" y="209"/>
                      </a:lnTo>
                      <a:lnTo>
                        <a:pt x="149" y="210"/>
                      </a:lnTo>
                      <a:lnTo>
                        <a:pt x="145" y="210"/>
                      </a:lnTo>
                      <a:lnTo>
                        <a:pt x="142" y="207"/>
                      </a:lnTo>
                      <a:lnTo>
                        <a:pt x="141" y="206"/>
                      </a:lnTo>
                      <a:lnTo>
                        <a:pt x="141" y="202"/>
                      </a:lnTo>
                      <a:lnTo>
                        <a:pt x="141" y="47"/>
                      </a:lnTo>
                      <a:lnTo>
                        <a:pt x="140" y="43"/>
                      </a:lnTo>
                      <a:lnTo>
                        <a:pt x="137" y="39"/>
                      </a:lnTo>
                      <a:lnTo>
                        <a:pt x="135" y="37"/>
                      </a:lnTo>
                      <a:lnTo>
                        <a:pt x="130" y="37"/>
                      </a:lnTo>
                      <a:lnTo>
                        <a:pt x="126" y="37"/>
                      </a:lnTo>
                      <a:lnTo>
                        <a:pt x="123" y="39"/>
                      </a:lnTo>
                      <a:lnTo>
                        <a:pt x="121" y="43"/>
                      </a:lnTo>
                      <a:lnTo>
                        <a:pt x="119" y="47"/>
                      </a:lnTo>
                      <a:lnTo>
                        <a:pt x="119" y="148"/>
                      </a:lnTo>
                      <a:lnTo>
                        <a:pt x="119" y="151"/>
                      </a:lnTo>
                      <a:lnTo>
                        <a:pt x="118" y="154"/>
                      </a:lnTo>
                      <a:lnTo>
                        <a:pt x="115" y="155"/>
                      </a:lnTo>
                      <a:lnTo>
                        <a:pt x="113" y="155"/>
                      </a:lnTo>
                      <a:lnTo>
                        <a:pt x="110" y="155"/>
                      </a:lnTo>
                      <a:lnTo>
                        <a:pt x="108" y="154"/>
                      </a:lnTo>
                      <a:lnTo>
                        <a:pt x="106" y="151"/>
                      </a:lnTo>
                      <a:lnTo>
                        <a:pt x="105" y="148"/>
                      </a:lnTo>
                      <a:lnTo>
                        <a:pt x="105" y="24"/>
                      </a:lnTo>
                      <a:lnTo>
                        <a:pt x="104" y="20"/>
                      </a:lnTo>
                      <a:lnTo>
                        <a:pt x="103" y="16"/>
                      </a:lnTo>
                      <a:lnTo>
                        <a:pt x="99" y="15"/>
                      </a:lnTo>
                      <a:lnTo>
                        <a:pt x="95" y="14"/>
                      </a:lnTo>
                      <a:close/>
                      <a:moveTo>
                        <a:pt x="95" y="0"/>
                      </a:moveTo>
                      <a:lnTo>
                        <a:pt x="108" y="2"/>
                      </a:lnTo>
                      <a:lnTo>
                        <a:pt x="117" y="11"/>
                      </a:lnTo>
                      <a:lnTo>
                        <a:pt x="119" y="24"/>
                      </a:lnTo>
                      <a:lnTo>
                        <a:pt x="119" y="24"/>
                      </a:lnTo>
                      <a:lnTo>
                        <a:pt x="124" y="23"/>
                      </a:lnTo>
                      <a:lnTo>
                        <a:pt x="130" y="23"/>
                      </a:lnTo>
                      <a:lnTo>
                        <a:pt x="142" y="25"/>
                      </a:lnTo>
                      <a:lnTo>
                        <a:pt x="151" y="34"/>
                      </a:lnTo>
                      <a:lnTo>
                        <a:pt x="155" y="47"/>
                      </a:lnTo>
                      <a:lnTo>
                        <a:pt x="155" y="179"/>
                      </a:lnTo>
                      <a:lnTo>
                        <a:pt x="159" y="174"/>
                      </a:lnTo>
                      <a:lnTo>
                        <a:pt x="159" y="129"/>
                      </a:lnTo>
                      <a:lnTo>
                        <a:pt x="162" y="118"/>
                      </a:lnTo>
                      <a:lnTo>
                        <a:pt x="171" y="109"/>
                      </a:lnTo>
                      <a:lnTo>
                        <a:pt x="184" y="105"/>
                      </a:lnTo>
                      <a:lnTo>
                        <a:pt x="196" y="109"/>
                      </a:lnTo>
                      <a:lnTo>
                        <a:pt x="204" y="118"/>
                      </a:lnTo>
                      <a:lnTo>
                        <a:pt x="208" y="129"/>
                      </a:lnTo>
                      <a:lnTo>
                        <a:pt x="208" y="199"/>
                      </a:lnTo>
                      <a:lnTo>
                        <a:pt x="207" y="205"/>
                      </a:lnTo>
                      <a:lnTo>
                        <a:pt x="204" y="211"/>
                      </a:lnTo>
                      <a:lnTo>
                        <a:pt x="200" y="216"/>
                      </a:lnTo>
                      <a:lnTo>
                        <a:pt x="149" y="281"/>
                      </a:lnTo>
                      <a:lnTo>
                        <a:pt x="149" y="299"/>
                      </a:lnTo>
                      <a:lnTo>
                        <a:pt x="149" y="302"/>
                      </a:lnTo>
                      <a:lnTo>
                        <a:pt x="148" y="304"/>
                      </a:lnTo>
                      <a:lnTo>
                        <a:pt x="145" y="306"/>
                      </a:lnTo>
                      <a:lnTo>
                        <a:pt x="142" y="306"/>
                      </a:lnTo>
                      <a:lnTo>
                        <a:pt x="15" y="306"/>
                      </a:lnTo>
                      <a:lnTo>
                        <a:pt x="11" y="306"/>
                      </a:lnTo>
                      <a:lnTo>
                        <a:pt x="10" y="304"/>
                      </a:lnTo>
                      <a:lnTo>
                        <a:pt x="8" y="302"/>
                      </a:lnTo>
                      <a:lnTo>
                        <a:pt x="8" y="299"/>
                      </a:lnTo>
                      <a:lnTo>
                        <a:pt x="8" y="260"/>
                      </a:lnTo>
                      <a:lnTo>
                        <a:pt x="4" y="256"/>
                      </a:lnTo>
                      <a:lnTo>
                        <a:pt x="2" y="252"/>
                      </a:lnTo>
                      <a:lnTo>
                        <a:pt x="0" y="247"/>
                      </a:lnTo>
                      <a:lnTo>
                        <a:pt x="0" y="242"/>
                      </a:lnTo>
                      <a:lnTo>
                        <a:pt x="0" y="109"/>
                      </a:lnTo>
                      <a:lnTo>
                        <a:pt x="4" y="97"/>
                      </a:lnTo>
                      <a:lnTo>
                        <a:pt x="13" y="88"/>
                      </a:lnTo>
                      <a:lnTo>
                        <a:pt x="24" y="84"/>
                      </a:lnTo>
                      <a:lnTo>
                        <a:pt x="31" y="86"/>
                      </a:lnTo>
                      <a:lnTo>
                        <a:pt x="36" y="87"/>
                      </a:lnTo>
                      <a:lnTo>
                        <a:pt x="42" y="79"/>
                      </a:lnTo>
                      <a:lnTo>
                        <a:pt x="50" y="73"/>
                      </a:lnTo>
                      <a:lnTo>
                        <a:pt x="60" y="71"/>
                      </a:lnTo>
                      <a:lnTo>
                        <a:pt x="65" y="71"/>
                      </a:lnTo>
                      <a:lnTo>
                        <a:pt x="71" y="73"/>
                      </a:lnTo>
                      <a:lnTo>
                        <a:pt x="71" y="24"/>
                      </a:lnTo>
                      <a:lnTo>
                        <a:pt x="73" y="11"/>
                      </a:lnTo>
                      <a:lnTo>
                        <a:pt x="82" y="2"/>
                      </a:lnTo>
                      <a:lnTo>
                        <a:pt x="95"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2" name="Rectangle 181">
                  <a:extLst>
                    <a:ext uri="{FF2B5EF4-FFF2-40B4-BE49-F238E27FC236}">
                      <a16:creationId xmlns:a16="http://schemas.microsoft.com/office/drawing/2014/main" id="{2A6BEF87-ED3B-498B-A16A-284CFEA46A54}"/>
                    </a:ext>
                  </a:extLst>
                </p:cNvPr>
                <p:cNvSpPr>
                  <a:spLocks noChangeArrowheads="1"/>
                </p:cNvSpPr>
                <p:nvPr/>
              </p:nvSpPr>
              <p:spPr bwMode="gray">
                <a:xfrm>
                  <a:off x="1788723" y="2948493"/>
                  <a:ext cx="279777" cy="97391"/>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3" name="Freeform 182">
                  <a:extLst>
                    <a:ext uri="{FF2B5EF4-FFF2-40B4-BE49-F238E27FC236}">
                      <a16:creationId xmlns:a16="http://schemas.microsoft.com/office/drawing/2014/main" id="{A323B8DB-86EA-4EBB-8746-3DD8660388FA}"/>
                    </a:ext>
                  </a:extLst>
                </p:cNvPr>
                <p:cNvSpPr>
                  <a:spLocks noEditPoints="1"/>
                </p:cNvSpPr>
                <p:nvPr/>
              </p:nvSpPr>
              <p:spPr bwMode="gray">
                <a:xfrm>
                  <a:off x="1774557" y="2936097"/>
                  <a:ext cx="306339" cy="122182"/>
                </a:xfrm>
                <a:custGeom>
                  <a:avLst/>
                  <a:gdLst>
                    <a:gd name="T0" fmla="*/ 15 w 173"/>
                    <a:gd name="T1" fmla="*/ 14 h 69"/>
                    <a:gd name="T2" fmla="*/ 15 w 173"/>
                    <a:gd name="T3" fmla="*/ 55 h 69"/>
                    <a:gd name="T4" fmla="*/ 158 w 173"/>
                    <a:gd name="T5" fmla="*/ 55 h 69"/>
                    <a:gd name="T6" fmla="*/ 158 w 173"/>
                    <a:gd name="T7" fmla="*/ 14 h 69"/>
                    <a:gd name="T8" fmla="*/ 15 w 173"/>
                    <a:gd name="T9" fmla="*/ 14 h 69"/>
                    <a:gd name="T10" fmla="*/ 0 w 173"/>
                    <a:gd name="T11" fmla="*/ 0 h 69"/>
                    <a:gd name="T12" fmla="*/ 173 w 173"/>
                    <a:gd name="T13" fmla="*/ 0 h 69"/>
                    <a:gd name="T14" fmla="*/ 173 w 173"/>
                    <a:gd name="T15" fmla="*/ 69 h 69"/>
                    <a:gd name="T16" fmla="*/ 0 w 173"/>
                    <a:gd name="T17" fmla="*/ 69 h 69"/>
                    <a:gd name="T18" fmla="*/ 0 w 173"/>
                    <a:gd name="T1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69">
                      <a:moveTo>
                        <a:pt x="15" y="14"/>
                      </a:moveTo>
                      <a:lnTo>
                        <a:pt x="15" y="55"/>
                      </a:lnTo>
                      <a:lnTo>
                        <a:pt x="158" y="55"/>
                      </a:lnTo>
                      <a:lnTo>
                        <a:pt x="158" y="14"/>
                      </a:lnTo>
                      <a:lnTo>
                        <a:pt x="15" y="14"/>
                      </a:lnTo>
                      <a:close/>
                      <a:moveTo>
                        <a:pt x="0" y="0"/>
                      </a:moveTo>
                      <a:lnTo>
                        <a:pt x="173" y="0"/>
                      </a:lnTo>
                      <a:lnTo>
                        <a:pt x="173" y="69"/>
                      </a:lnTo>
                      <a:lnTo>
                        <a:pt x="0" y="69"/>
                      </a:lnTo>
                      <a:lnTo>
                        <a:pt x="0"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4" name="Freeform 183">
                  <a:extLst>
                    <a:ext uri="{FF2B5EF4-FFF2-40B4-BE49-F238E27FC236}">
                      <a16:creationId xmlns:a16="http://schemas.microsoft.com/office/drawing/2014/main" id="{78310C03-BAB7-47F3-ACA1-8E96835EA100}"/>
                    </a:ext>
                  </a:extLst>
                </p:cNvPr>
                <p:cNvSpPr>
                  <a:spLocks/>
                </p:cNvSpPr>
                <p:nvPr/>
              </p:nvSpPr>
              <p:spPr bwMode="gray">
                <a:xfrm>
                  <a:off x="2257970" y="2518202"/>
                  <a:ext cx="343524" cy="478100"/>
                </a:xfrm>
                <a:custGeom>
                  <a:avLst/>
                  <a:gdLst>
                    <a:gd name="T0" fmla="*/ 77 w 194"/>
                    <a:gd name="T1" fmla="*/ 0 h 270"/>
                    <a:gd name="T2" fmla="*/ 85 w 194"/>
                    <a:gd name="T3" fmla="*/ 7 h 270"/>
                    <a:gd name="T4" fmla="*/ 89 w 194"/>
                    <a:gd name="T5" fmla="*/ 17 h 270"/>
                    <a:gd name="T6" fmla="*/ 89 w 194"/>
                    <a:gd name="T7" fmla="*/ 118 h 270"/>
                    <a:gd name="T8" fmla="*/ 90 w 194"/>
                    <a:gd name="T9" fmla="*/ 60 h 270"/>
                    <a:gd name="T10" fmla="*/ 97 w 194"/>
                    <a:gd name="T11" fmla="*/ 51 h 270"/>
                    <a:gd name="T12" fmla="*/ 107 w 194"/>
                    <a:gd name="T13" fmla="*/ 49 h 270"/>
                    <a:gd name="T14" fmla="*/ 117 w 194"/>
                    <a:gd name="T15" fmla="*/ 51 h 270"/>
                    <a:gd name="T16" fmla="*/ 124 w 194"/>
                    <a:gd name="T17" fmla="*/ 60 h 270"/>
                    <a:gd name="T18" fmla="*/ 124 w 194"/>
                    <a:gd name="T19" fmla="*/ 118 h 270"/>
                    <a:gd name="T20" fmla="*/ 124 w 194"/>
                    <a:gd name="T21" fmla="*/ 67 h 270"/>
                    <a:gd name="T22" fmla="*/ 128 w 194"/>
                    <a:gd name="T23" fmla="*/ 55 h 270"/>
                    <a:gd name="T24" fmla="*/ 137 w 194"/>
                    <a:gd name="T25" fmla="*/ 50 h 270"/>
                    <a:gd name="T26" fmla="*/ 147 w 194"/>
                    <a:gd name="T27" fmla="*/ 50 h 270"/>
                    <a:gd name="T28" fmla="*/ 156 w 194"/>
                    <a:gd name="T29" fmla="*/ 55 h 270"/>
                    <a:gd name="T30" fmla="*/ 160 w 194"/>
                    <a:gd name="T31" fmla="*/ 67 h 270"/>
                    <a:gd name="T32" fmla="*/ 160 w 194"/>
                    <a:gd name="T33" fmla="*/ 118 h 270"/>
                    <a:gd name="T34" fmla="*/ 160 w 194"/>
                    <a:gd name="T35" fmla="*/ 75 h 270"/>
                    <a:gd name="T36" fmla="*/ 166 w 194"/>
                    <a:gd name="T37" fmla="*/ 66 h 270"/>
                    <a:gd name="T38" fmla="*/ 176 w 194"/>
                    <a:gd name="T39" fmla="*/ 62 h 270"/>
                    <a:gd name="T40" fmla="*/ 188 w 194"/>
                    <a:gd name="T41" fmla="*/ 66 h 270"/>
                    <a:gd name="T42" fmla="*/ 193 w 194"/>
                    <a:gd name="T43" fmla="*/ 75 h 270"/>
                    <a:gd name="T44" fmla="*/ 194 w 194"/>
                    <a:gd name="T45" fmla="*/ 213 h 270"/>
                    <a:gd name="T46" fmla="*/ 190 w 194"/>
                    <a:gd name="T47" fmla="*/ 223 h 270"/>
                    <a:gd name="T48" fmla="*/ 187 w 194"/>
                    <a:gd name="T49" fmla="*/ 270 h 270"/>
                    <a:gd name="T50" fmla="*/ 59 w 194"/>
                    <a:gd name="T51" fmla="*/ 248 h 270"/>
                    <a:gd name="T52" fmla="*/ 7 w 194"/>
                    <a:gd name="T53" fmla="*/ 182 h 270"/>
                    <a:gd name="T54" fmla="*/ 2 w 194"/>
                    <a:gd name="T55" fmla="*/ 175 h 270"/>
                    <a:gd name="T56" fmla="*/ 0 w 194"/>
                    <a:gd name="T57" fmla="*/ 100 h 270"/>
                    <a:gd name="T58" fmla="*/ 4 w 194"/>
                    <a:gd name="T59" fmla="*/ 90 h 270"/>
                    <a:gd name="T60" fmla="*/ 13 w 194"/>
                    <a:gd name="T61" fmla="*/ 83 h 270"/>
                    <a:gd name="T62" fmla="*/ 24 w 194"/>
                    <a:gd name="T63" fmla="*/ 83 h 270"/>
                    <a:gd name="T64" fmla="*/ 33 w 194"/>
                    <a:gd name="T65" fmla="*/ 90 h 270"/>
                    <a:gd name="T66" fmla="*/ 36 w 194"/>
                    <a:gd name="T67" fmla="*/ 100 h 270"/>
                    <a:gd name="T68" fmla="*/ 54 w 194"/>
                    <a:gd name="T69" fmla="*/ 173 h 270"/>
                    <a:gd name="T70" fmla="*/ 54 w 194"/>
                    <a:gd name="T71" fmla="*/ 12 h 270"/>
                    <a:gd name="T72" fmla="*/ 61 w 194"/>
                    <a:gd name="T73" fmla="*/ 3 h 270"/>
                    <a:gd name="T74" fmla="*/ 71 w 194"/>
                    <a:gd name="T7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270">
                      <a:moveTo>
                        <a:pt x="71" y="0"/>
                      </a:moveTo>
                      <a:lnTo>
                        <a:pt x="77" y="0"/>
                      </a:lnTo>
                      <a:lnTo>
                        <a:pt x="81" y="3"/>
                      </a:lnTo>
                      <a:lnTo>
                        <a:pt x="85" y="7"/>
                      </a:lnTo>
                      <a:lnTo>
                        <a:pt x="88" y="12"/>
                      </a:lnTo>
                      <a:lnTo>
                        <a:pt x="89" y="17"/>
                      </a:lnTo>
                      <a:lnTo>
                        <a:pt x="89" y="118"/>
                      </a:lnTo>
                      <a:lnTo>
                        <a:pt x="89" y="118"/>
                      </a:lnTo>
                      <a:lnTo>
                        <a:pt x="89" y="67"/>
                      </a:lnTo>
                      <a:lnTo>
                        <a:pt x="90" y="60"/>
                      </a:lnTo>
                      <a:lnTo>
                        <a:pt x="93" y="55"/>
                      </a:lnTo>
                      <a:lnTo>
                        <a:pt x="97" y="51"/>
                      </a:lnTo>
                      <a:lnTo>
                        <a:pt x="101" y="50"/>
                      </a:lnTo>
                      <a:lnTo>
                        <a:pt x="107" y="49"/>
                      </a:lnTo>
                      <a:lnTo>
                        <a:pt x="112" y="50"/>
                      </a:lnTo>
                      <a:lnTo>
                        <a:pt x="117" y="51"/>
                      </a:lnTo>
                      <a:lnTo>
                        <a:pt x="121" y="55"/>
                      </a:lnTo>
                      <a:lnTo>
                        <a:pt x="124" y="60"/>
                      </a:lnTo>
                      <a:lnTo>
                        <a:pt x="124" y="67"/>
                      </a:lnTo>
                      <a:lnTo>
                        <a:pt x="124" y="118"/>
                      </a:lnTo>
                      <a:lnTo>
                        <a:pt x="124" y="118"/>
                      </a:lnTo>
                      <a:lnTo>
                        <a:pt x="124" y="67"/>
                      </a:lnTo>
                      <a:lnTo>
                        <a:pt x="125" y="60"/>
                      </a:lnTo>
                      <a:lnTo>
                        <a:pt x="128" y="55"/>
                      </a:lnTo>
                      <a:lnTo>
                        <a:pt x="131" y="51"/>
                      </a:lnTo>
                      <a:lnTo>
                        <a:pt x="137" y="50"/>
                      </a:lnTo>
                      <a:lnTo>
                        <a:pt x="142" y="49"/>
                      </a:lnTo>
                      <a:lnTo>
                        <a:pt x="147" y="50"/>
                      </a:lnTo>
                      <a:lnTo>
                        <a:pt x="152" y="51"/>
                      </a:lnTo>
                      <a:lnTo>
                        <a:pt x="156" y="55"/>
                      </a:lnTo>
                      <a:lnTo>
                        <a:pt x="158" y="60"/>
                      </a:lnTo>
                      <a:lnTo>
                        <a:pt x="160" y="67"/>
                      </a:lnTo>
                      <a:lnTo>
                        <a:pt x="160" y="118"/>
                      </a:lnTo>
                      <a:lnTo>
                        <a:pt x="160" y="118"/>
                      </a:lnTo>
                      <a:lnTo>
                        <a:pt x="160" y="80"/>
                      </a:lnTo>
                      <a:lnTo>
                        <a:pt x="160" y="75"/>
                      </a:lnTo>
                      <a:lnTo>
                        <a:pt x="162" y="69"/>
                      </a:lnTo>
                      <a:lnTo>
                        <a:pt x="166" y="66"/>
                      </a:lnTo>
                      <a:lnTo>
                        <a:pt x="171" y="63"/>
                      </a:lnTo>
                      <a:lnTo>
                        <a:pt x="176" y="62"/>
                      </a:lnTo>
                      <a:lnTo>
                        <a:pt x="183" y="63"/>
                      </a:lnTo>
                      <a:lnTo>
                        <a:pt x="188" y="66"/>
                      </a:lnTo>
                      <a:lnTo>
                        <a:pt x="190" y="69"/>
                      </a:lnTo>
                      <a:lnTo>
                        <a:pt x="193" y="75"/>
                      </a:lnTo>
                      <a:lnTo>
                        <a:pt x="194" y="80"/>
                      </a:lnTo>
                      <a:lnTo>
                        <a:pt x="194" y="213"/>
                      </a:lnTo>
                      <a:lnTo>
                        <a:pt x="193" y="219"/>
                      </a:lnTo>
                      <a:lnTo>
                        <a:pt x="190" y="223"/>
                      </a:lnTo>
                      <a:lnTo>
                        <a:pt x="187" y="227"/>
                      </a:lnTo>
                      <a:lnTo>
                        <a:pt x="187" y="270"/>
                      </a:lnTo>
                      <a:lnTo>
                        <a:pt x="59" y="270"/>
                      </a:lnTo>
                      <a:lnTo>
                        <a:pt x="59" y="248"/>
                      </a:lnTo>
                      <a:lnTo>
                        <a:pt x="7" y="182"/>
                      </a:lnTo>
                      <a:lnTo>
                        <a:pt x="7" y="182"/>
                      </a:lnTo>
                      <a:lnTo>
                        <a:pt x="3" y="178"/>
                      </a:lnTo>
                      <a:lnTo>
                        <a:pt x="2" y="175"/>
                      </a:lnTo>
                      <a:lnTo>
                        <a:pt x="0" y="169"/>
                      </a:lnTo>
                      <a:lnTo>
                        <a:pt x="0" y="100"/>
                      </a:lnTo>
                      <a:lnTo>
                        <a:pt x="2" y="95"/>
                      </a:lnTo>
                      <a:lnTo>
                        <a:pt x="4" y="90"/>
                      </a:lnTo>
                      <a:lnTo>
                        <a:pt x="8" y="86"/>
                      </a:lnTo>
                      <a:lnTo>
                        <a:pt x="13" y="83"/>
                      </a:lnTo>
                      <a:lnTo>
                        <a:pt x="18" y="82"/>
                      </a:lnTo>
                      <a:lnTo>
                        <a:pt x="24" y="83"/>
                      </a:lnTo>
                      <a:lnTo>
                        <a:pt x="29" y="86"/>
                      </a:lnTo>
                      <a:lnTo>
                        <a:pt x="33" y="90"/>
                      </a:lnTo>
                      <a:lnTo>
                        <a:pt x="35" y="95"/>
                      </a:lnTo>
                      <a:lnTo>
                        <a:pt x="36" y="100"/>
                      </a:lnTo>
                      <a:lnTo>
                        <a:pt x="36" y="148"/>
                      </a:lnTo>
                      <a:lnTo>
                        <a:pt x="54" y="173"/>
                      </a:lnTo>
                      <a:lnTo>
                        <a:pt x="54" y="17"/>
                      </a:lnTo>
                      <a:lnTo>
                        <a:pt x="54" y="12"/>
                      </a:lnTo>
                      <a:lnTo>
                        <a:pt x="57" y="7"/>
                      </a:lnTo>
                      <a:lnTo>
                        <a:pt x="61" y="3"/>
                      </a:lnTo>
                      <a:lnTo>
                        <a:pt x="66" y="0"/>
                      </a:lnTo>
                      <a:lnTo>
                        <a:pt x="71"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5" name="Freeform 184">
                  <a:extLst>
                    <a:ext uri="{FF2B5EF4-FFF2-40B4-BE49-F238E27FC236}">
                      <a16:creationId xmlns:a16="http://schemas.microsoft.com/office/drawing/2014/main" id="{6A927325-AA76-484D-8583-1FE9B136CB58}"/>
                    </a:ext>
                  </a:extLst>
                </p:cNvPr>
                <p:cNvSpPr>
                  <a:spLocks noEditPoints="1"/>
                </p:cNvSpPr>
                <p:nvPr/>
              </p:nvSpPr>
              <p:spPr bwMode="gray">
                <a:xfrm>
                  <a:off x="2247345" y="2504036"/>
                  <a:ext cx="368314" cy="504662"/>
                </a:xfrm>
                <a:custGeom>
                  <a:avLst/>
                  <a:gdLst>
                    <a:gd name="T0" fmla="*/ 71 w 208"/>
                    <a:gd name="T1" fmla="*/ 18 h 285"/>
                    <a:gd name="T2" fmla="*/ 67 w 208"/>
                    <a:gd name="T3" fmla="*/ 181 h 285"/>
                    <a:gd name="T4" fmla="*/ 62 w 208"/>
                    <a:gd name="T5" fmla="*/ 188 h 285"/>
                    <a:gd name="T6" fmla="*/ 54 w 208"/>
                    <a:gd name="T7" fmla="*/ 185 h 285"/>
                    <a:gd name="T8" fmla="*/ 35 w 208"/>
                    <a:gd name="T9" fmla="*/ 156 h 285"/>
                    <a:gd name="T10" fmla="*/ 32 w 208"/>
                    <a:gd name="T11" fmla="*/ 100 h 285"/>
                    <a:gd name="T12" fmla="*/ 21 w 208"/>
                    <a:gd name="T13" fmla="*/ 99 h 285"/>
                    <a:gd name="T14" fmla="*/ 14 w 208"/>
                    <a:gd name="T15" fmla="*/ 108 h 285"/>
                    <a:gd name="T16" fmla="*/ 17 w 208"/>
                    <a:gd name="T17" fmla="*/ 185 h 285"/>
                    <a:gd name="T18" fmla="*/ 72 w 208"/>
                    <a:gd name="T19" fmla="*/ 253 h 285"/>
                    <a:gd name="T20" fmla="*/ 185 w 208"/>
                    <a:gd name="T21" fmla="*/ 270 h 285"/>
                    <a:gd name="T22" fmla="*/ 189 w 208"/>
                    <a:gd name="T23" fmla="*/ 230 h 285"/>
                    <a:gd name="T24" fmla="*/ 194 w 208"/>
                    <a:gd name="T25" fmla="*/ 221 h 285"/>
                    <a:gd name="T26" fmla="*/ 190 w 208"/>
                    <a:gd name="T27" fmla="*/ 80 h 285"/>
                    <a:gd name="T28" fmla="*/ 178 w 208"/>
                    <a:gd name="T29" fmla="*/ 77 h 285"/>
                    <a:gd name="T30" fmla="*/ 172 w 208"/>
                    <a:gd name="T31" fmla="*/ 88 h 285"/>
                    <a:gd name="T32" fmla="*/ 171 w 208"/>
                    <a:gd name="T33" fmla="*/ 131 h 285"/>
                    <a:gd name="T34" fmla="*/ 163 w 208"/>
                    <a:gd name="T35" fmla="*/ 133 h 285"/>
                    <a:gd name="T36" fmla="*/ 158 w 208"/>
                    <a:gd name="T37" fmla="*/ 126 h 285"/>
                    <a:gd name="T38" fmla="*/ 155 w 208"/>
                    <a:gd name="T39" fmla="*/ 67 h 285"/>
                    <a:gd name="T40" fmla="*/ 144 w 208"/>
                    <a:gd name="T41" fmla="*/ 65 h 285"/>
                    <a:gd name="T42" fmla="*/ 137 w 208"/>
                    <a:gd name="T43" fmla="*/ 75 h 285"/>
                    <a:gd name="T44" fmla="*/ 135 w 208"/>
                    <a:gd name="T45" fmla="*/ 131 h 285"/>
                    <a:gd name="T46" fmla="*/ 127 w 208"/>
                    <a:gd name="T47" fmla="*/ 133 h 285"/>
                    <a:gd name="T48" fmla="*/ 123 w 208"/>
                    <a:gd name="T49" fmla="*/ 126 h 285"/>
                    <a:gd name="T50" fmla="*/ 119 w 208"/>
                    <a:gd name="T51" fmla="*/ 67 h 285"/>
                    <a:gd name="T52" fmla="*/ 108 w 208"/>
                    <a:gd name="T53" fmla="*/ 65 h 285"/>
                    <a:gd name="T54" fmla="*/ 103 w 208"/>
                    <a:gd name="T55" fmla="*/ 75 h 285"/>
                    <a:gd name="T56" fmla="*/ 100 w 208"/>
                    <a:gd name="T57" fmla="*/ 131 h 285"/>
                    <a:gd name="T58" fmla="*/ 92 w 208"/>
                    <a:gd name="T59" fmla="*/ 133 h 285"/>
                    <a:gd name="T60" fmla="*/ 87 w 208"/>
                    <a:gd name="T61" fmla="*/ 126 h 285"/>
                    <a:gd name="T62" fmla="*/ 85 w 208"/>
                    <a:gd name="T63" fmla="*/ 18 h 285"/>
                    <a:gd name="T64" fmla="*/ 77 w 208"/>
                    <a:gd name="T65" fmla="*/ 0 h 285"/>
                    <a:gd name="T66" fmla="*/ 103 w 208"/>
                    <a:gd name="T67" fmla="*/ 25 h 285"/>
                    <a:gd name="T68" fmla="*/ 113 w 208"/>
                    <a:gd name="T69" fmla="*/ 49 h 285"/>
                    <a:gd name="T70" fmla="*/ 130 w 208"/>
                    <a:gd name="T71" fmla="*/ 57 h 285"/>
                    <a:gd name="T72" fmla="*/ 148 w 208"/>
                    <a:gd name="T73" fmla="*/ 49 h 285"/>
                    <a:gd name="T74" fmla="*/ 171 w 208"/>
                    <a:gd name="T75" fmla="*/ 66 h 285"/>
                    <a:gd name="T76" fmla="*/ 195 w 208"/>
                    <a:gd name="T77" fmla="*/ 66 h 285"/>
                    <a:gd name="T78" fmla="*/ 208 w 208"/>
                    <a:gd name="T79" fmla="*/ 221 h 285"/>
                    <a:gd name="T80" fmla="*/ 203 w 208"/>
                    <a:gd name="T81" fmla="*/ 235 h 285"/>
                    <a:gd name="T82" fmla="*/ 199 w 208"/>
                    <a:gd name="T83" fmla="*/ 280 h 285"/>
                    <a:gd name="T84" fmla="*/ 193 w 208"/>
                    <a:gd name="T85" fmla="*/ 285 h 285"/>
                    <a:gd name="T86" fmla="*/ 60 w 208"/>
                    <a:gd name="T87" fmla="*/ 283 h 285"/>
                    <a:gd name="T88" fmla="*/ 58 w 208"/>
                    <a:gd name="T89" fmla="*/ 258 h 285"/>
                    <a:gd name="T90" fmla="*/ 0 w 208"/>
                    <a:gd name="T91" fmla="*/ 184 h 285"/>
                    <a:gd name="T92" fmla="*/ 3 w 208"/>
                    <a:gd name="T93" fmla="*/ 95 h 285"/>
                    <a:gd name="T94" fmla="*/ 37 w 208"/>
                    <a:gd name="T95" fmla="*/ 86 h 285"/>
                    <a:gd name="T96" fmla="*/ 49 w 208"/>
                    <a:gd name="T97" fmla="*/ 153 h 285"/>
                    <a:gd name="T98" fmla="*/ 56 w 208"/>
                    <a:gd name="T99" fmla="*/ 1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285">
                      <a:moveTo>
                        <a:pt x="77" y="15"/>
                      </a:moveTo>
                      <a:lnTo>
                        <a:pt x="73" y="16"/>
                      </a:lnTo>
                      <a:lnTo>
                        <a:pt x="71" y="18"/>
                      </a:lnTo>
                      <a:lnTo>
                        <a:pt x="68" y="21"/>
                      </a:lnTo>
                      <a:lnTo>
                        <a:pt x="67" y="25"/>
                      </a:lnTo>
                      <a:lnTo>
                        <a:pt x="67" y="181"/>
                      </a:lnTo>
                      <a:lnTo>
                        <a:pt x="67" y="184"/>
                      </a:lnTo>
                      <a:lnTo>
                        <a:pt x="64" y="186"/>
                      </a:lnTo>
                      <a:lnTo>
                        <a:pt x="62" y="188"/>
                      </a:lnTo>
                      <a:lnTo>
                        <a:pt x="59" y="188"/>
                      </a:lnTo>
                      <a:lnTo>
                        <a:pt x="56" y="188"/>
                      </a:lnTo>
                      <a:lnTo>
                        <a:pt x="54" y="185"/>
                      </a:lnTo>
                      <a:lnTo>
                        <a:pt x="36" y="159"/>
                      </a:lnTo>
                      <a:lnTo>
                        <a:pt x="35" y="157"/>
                      </a:lnTo>
                      <a:lnTo>
                        <a:pt x="35" y="156"/>
                      </a:lnTo>
                      <a:lnTo>
                        <a:pt x="35" y="108"/>
                      </a:lnTo>
                      <a:lnTo>
                        <a:pt x="33" y="104"/>
                      </a:lnTo>
                      <a:lnTo>
                        <a:pt x="32" y="100"/>
                      </a:lnTo>
                      <a:lnTo>
                        <a:pt x="28" y="99"/>
                      </a:lnTo>
                      <a:lnTo>
                        <a:pt x="24" y="98"/>
                      </a:lnTo>
                      <a:lnTo>
                        <a:pt x="21" y="99"/>
                      </a:lnTo>
                      <a:lnTo>
                        <a:pt x="17" y="100"/>
                      </a:lnTo>
                      <a:lnTo>
                        <a:pt x="14" y="104"/>
                      </a:lnTo>
                      <a:lnTo>
                        <a:pt x="14" y="108"/>
                      </a:lnTo>
                      <a:lnTo>
                        <a:pt x="14" y="177"/>
                      </a:lnTo>
                      <a:lnTo>
                        <a:pt x="14" y="181"/>
                      </a:lnTo>
                      <a:lnTo>
                        <a:pt x="17" y="185"/>
                      </a:lnTo>
                      <a:lnTo>
                        <a:pt x="18" y="186"/>
                      </a:lnTo>
                      <a:lnTo>
                        <a:pt x="71" y="252"/>
                      </a:lnTo>
                      <a:lnTo>
                        <a:pt x="72" y="253"/>
                      </a:lnTo>
                      <a:lnTo>
                        <a:pt x="73" y="256"/>
                      </a:lnTo>
                      <a:lnTo>
                        <a:pt x="73" y="270"/>
                      </a:lnTo>
                      <a:lnTo>
                        <a:pt x="185" y="270"/>
                      </a:lnTo>
                      <a:lnTo>
                        <a:pt x="185" y="235"/>
                      </a:lnTo>
                      <a:lnTo>
                        <a:pt x="186" y="233"/>
                      </a:lnTo>
                      <a:lnTo>
                        <a:pt x="189" y="230"/>
                      </a:lnTo>
                      <a:lnTo>
                        <a:pt x="191" y="227"/>
                      </a:lnTo>
                      <a:lnTo>
                        <a:pt x="193" y="225"/>
                      </a:lnTo>
                      <a:lnTo>
                        <a:pt x="194" y="221"/>
                      </a:lnTo>
                      <a:lnTo>
                        <a:pt x="194" y="88"/>
                      </a:lnTo>
                      <a:lnTo>
                        <a:pt x="193" y="84"/>
                      </a:lnTo>
                      <a:lnTo>
                        <a:pt x="190" y="80"/>
                      </a:lnTo>
                      <a:lnTo>
                        <a:pt x="187" y="77"/>
                      </a:lnTo>
                      <a:lnTo>
                        <a:pt x="182" y="77"/>
                      </a:lnTo>
                      <a:lnTo>
                        <a:pt x="178" y="77"/>
                      </a:lnTo>
                      <a:lnTo>
                        <a:pt x="176" y="80"/>
                      </a:lnTo>
                      <a:lnTo>
                        <a:pt x="173" y="84"/>
                      </a:lnTo>
                      <a:lnTo>
                        <a:pt x="172" y="88"/>
                      </a:lnTo>
                      <a:lnTo>
                        <a:pt x="172" y="126"/>
                      </a:lnTo>
                      <a:lnTo>
                        <a:pt x="172" y="129"/>
                      </a:lnTo>
                      <a:lnTo>
                        <a:pt x="171" y="131"/>
                      </a:lnTo>
                      <a:lnTo>
                        <a:pt x="168" y="133"/>
                      </a:lnTo>
                      <a:lnTo>
                        <a:pt x="166" y="134"/>
                      </a:lnTo>
                      <a:lnTo>
                        <a:pt x="163" y="133"/>
                      </a:lnTo>
                      <a:lnTo>
                        <a:pt x="161" y="131"/>
                      </a:lnTo>
                      <a:lnTo>
                        <a:pt x="159" y="129"/>
                      </a:lnTo>
                      <a:lnTo>
                        <a:pt x="158" y="126"/>
                      </a:lnTo>
                      <a:lnTo>
                        <a:pt x="158" y="75"/>
                      </a:lnTo>
                      <a:lnTo>
                        <a:pt x="157" y="70"/>
                      </a:lnTo>
                      <a:lnTo>
                        <a:pt x="155" y="67"/>
                      </a:lnTo>
                      <a:lnTo>
                        <a:pt x="152" y="65"/>
                      </a:lnTo>
                      <a:lnTo>
                        <a:pt x="148" y="63"/>
                      </a:lnTo>
                      <a:lnTo>
                        <a:pt x="144" y="65"/>
                      </a:lnTo>
                      <a:lnTo>
                        <a:pt x="140" y="67"/>
                      </a:lnTo>
                      <a:lnTo>
                        <a:pt x="139" y="70"/>
                      </a:lnTo>
                      <a:lnTo>
                        <a:pt x="137" y="75"/>
                      </a:lnTo>
                      <a:lnTo>
                        <a:pt x="137" y="126"/>
                      </a:lnTo>
                      <a:lnTo>
                        <a:pt x="137" y="129"/>
                      </a:lnTo>
                      <a:lnTo>
                        <a:pt x="135" y="131"/>
                      </a:lnTo>
                      <a:lnTo>
                        <a:pt x="134" y="133"/>
                      </a:lnTo>
                      <a:lnTo>
                        <a:pt x="130" y="134"/>
                      </a:lnTo>
                      <a:lnTo>
                        <a:pt x="127" y="133"/>
                      </a:lnTo>
                      <a:lnTo>
                        <a:pt x="125" y="131"/>
                      </a:lnTo>
                      <a:lnTo>
                        <a:pt x="123" y="129"/>
                      </a:lnTo>
                      <a:lnTo>
                        <a:pt x="123" y="126"/>
                      </a:lnTo>
                      <a:lnTo>
                        <a:pt x="123" y="75"/>
                      </a:lnTo>
                      <a:lnTo>
                        <a:pt x="122" y="70"/>
                      </a:lnTo>
                      <a:lnTo>
                        <a:pt x="119" y="67"/>
                      </a:lnTo>
                      <a:lnTo>
                        <a:pt x="117" y="65"/>
                      </a:lnTo>
                      <a:lnTo>
                        <a:pt x="113" y="63"/>
                      </a:lnTo>
                      <a:lnTo>
                        <a:pt x="108" y="65"/>
                      </a:lnTo>
                      <a:lnTo>
                        <a:pt x="105" y="67"/>
                      </a:lnTo>
                      <a:lnTo>
                        <a:pt x="103" y="70"/>
                      </a:lnTo>
                      <a:lnTo>
                        <a:pt x="103" y="75"/>
                      </a:lnTo>
                      <a:lnTo>
                        <a:pt x="103" y="126"/>
                      </a:lnTo>
                      <a:lnTo>
                        <a:pt x="101" y="129"/>
                      </a:lnTo>
                      <a:lnTo>
                        <a:pt x="100" y="131"/>
                      </a:lnTo>
                      <a:lnTo>
                        <a:pt x="98" y="133"/>
                      </a:lnTo>
                      <a:lnTo>
                        <a:pt x="95" y="134"/>
                      </a:lnTo>
                      <a:lnTo>
                        <a:pt x="92" y="133"/>
                      </a:lnTo>
                      <a:lnTo>
                        <a:pt x="90" y="131"/>
                      </a:lnTo>
                      <a:lnTo>
                        <a:pt x="89" y="129"/>
                      </a:lnTo>
                      <a:lnTo>
                        <a:pt x="87" y="126"/>
                      </a:lnTo>
                      <a:lnTo>
                        <a:pt x="87" y="25"/>
                      </a:lnTo>
                      <a:lnTo>
                        <a:pt x="87" y="21"/>
                      </a:lnTo>
                      <a:lnTo>
                        <a:pt x="85" y="18"/>
                      </a:lnTo>
                      <a:lnTo>
                        <a:pt x="81" y="16"/>
                      </a:lnTo>
                      <a:lnTo>
                        <a:pt x="77" y="15"/>
                      </a:lnTo>
                      <a:close/>
                      <a:moveTo>
                        <a:pt x="77" y="0"/>
                      </a:moveTo>
                      <a:lnTo>
                        <a:pt x="90" y="4"/>
                      </a:lnTo>
                      <a:lnTo>
                        <a:pt x="99" y="13"/>
                      </a:lnTo>
                      <a:lnTo>
                        <a:pt x="103" y="25"/>
                      </a:lnTo>
                      <a:lnTo>
                        <a:pt x="103" y="52"/>
                      </a:lnTo>
                      <a:lnTo>
                        <a:pt x="107" y="50"/>
                      </a:lnTo>
                      <a:lnTo>
                        <a:pt x="113" y="49"/>
                      </a:lnTo>
                      <a:lnTo>
                        <a:pt x="119" y="50"/>
                      </a:lnTo>
                      <a:lnTo>
                        <a:pt x="125" y="53"/>
                      </a:lnTo>
                      <a:lnTo>
                        <a:pt x="130" y="57"/>
                      </a:lnTo>
                      <a:lnTo>
                        <a:pt x="135" y="53"/>
                      </a:lnTo>
                      <a:lnTo>
                        <a:pt x="141" y="50"/>
                      </a:lnTo>
                      <a:lnTo>
                        <a:pt x="148" y="49"/>
                      </a:lnTo>
                      <a:lnTo>
                        <a:pt x="158" y="52"/>
                      </a:lnTo>
                      <a:lnTo>
                        <a:pt x="166" y="57"/>
                      </a:lnTo>
                      <a:lnTo>
                        <a:pt x="171" y="66"/>
                      </a:lnTo>
                      <a:lnTo>
                        <a:pt x="177" y="63"/>
                      </a:lnTo>
                      <a:lnTo>
                        <a:pt x="182" y="63"/>
                      </a:lnTo>
                      <a:lnTo>
                        <a:pt x="195" y="66"/>
                      </a:lnTo>
                      <a:lnTo>
                        <a:pt x="204" y="75"/>
                      </a:lnTo>
                      <a:lnTo>
                        <a:pt x="208" y="88"/>
                      </a:lnTo>
                      <a:lnTo>
                        <a:pt x="208" y="221"/>
                      </a:lnTo>
                      <a:lnTo>
                        <a:pt x="207" y="226"/>
                      </a:lnTo>
                      <a:lnTo>
                        <a:pt x="205" y="231"/>
                      </a:lnTo>
                      <a:lnTo>
                        <a:pt x="203" y="235"/>
                      </a:lnTo>
                      <a:lnTo>
                        <a:pt x="200" y="239"/>
                      </a:lnTo>
                      <a:lnTo>
                        <a:pt x="200" y="278"/>
                      </a:lnTo>
                      <a:lnTo>
                        <a:pt x="199" y="280"/>
                      </a:lnTo>
                      <a:lnTo>
                        <a:pt x="198" y="283"/>
                      </a:lnTo>
                      <a:lnTo>
                        <a:pt x="195" y="284"/>
                      </a:lnTo>
                      <a:lnTo>
                        <a:pt x="193" y="285"/>
                      </a:lnTo>
                      <a:lnTo>
                        <a:pt x="65" y="285"/>
                      </a:lnTo>
                      <a:lnTo>
                        <a:pt x="63" y="284"/>
                      </a:lnTo>
                      <a:lnTo>
                        <a:pt x="60" y="283"/>
                      </a:lnTo>
                      <a:lnTo>
                        <a:pt x="59" y="280"/>
                      </a:lnTo>
                      <a:lnTo>
                        <a:pt x="58" y="278"/>
                      </a:lnTo>
                      <a:lnTo>
                        <a:pt x="58" y="258"/>
                      </a:lnTo>
                      <a:lnTo>
                        <a:pt x="6" y="195"/>
                      </a:lnTo>
                      <a:lnTo>
                        <a:pt x="3" y="190"/>
                      </a:lnTo>
                      <a:lnTo>
                        <a:pt x="0" y="184"/>
                      </a:lnTo>
                      <a:lnTo>
                        <a:pt x="0" y="177"/>
                      </a:lnTo>
                      <a:lnTo>
                        <a:pt x="0" y="108"/>
                      </a:lnTo>
                      <a:lnTo>
                        <a:pt x="3" y="95"/>
                      </a:lnTo>
                      <a:lnTo>
                        <a:pt x="12" y="86"/>
                      </a:lnTo>
                      <a:lnTo>
                        <a:pt x="24" y="84"/>
                      </a:lnTo>
                      <a:lnTo>
                        <a:pt x="37" y="86"/>
                      </a:lnTo>
                      <a:lnTo>
                        <a:pt x="45" y="95"/>
                      </a:lnTo>
                      <a:lnTo>
                        <a:pt x="49" y="108"/>
                      </a:lnTo>
                      <a:lnTo>
                        <a:pt x="49" y="153"/>
                      </a:lnTo>
                      <a:lnTo>
                        <a:pt x="53" y="158"/>
                      </a:lnTo>
                      <a:lnTo>
                        <a:pt x="53" y="25"/>
                      </a:lnTo>
                      <a:lnTo>
                        <a:pt x="56" y="13"/>
                      </a:lnTo>
                      <a:lnTo>
                        <a:pt x="64" y="4"/>
                      </a:lnTo>
                      <a:lnTo>
                        <a:pt x="77"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6" name="Rectangle 185">
                  <a:extLst>
                    <a:ext uri="{FF2B5EF4-FFF2-40B4-BE49-F238E27FC236}">
                      <a16:creationId xmlns:a16="http://schemas.microsoft.com/office/drawing/2014/main" id="{E583BEDC-7855-4DB0-ADFD-8A5E46940C68}"/>
                    </a:ext>
                  </a:extLst>
                </p:cNvPr>
                <p:cNvSpPr>
                  <a:spLocks noChangeArrowheads="1"/>
                </p:cNvSpPr>
                <p:nvPr/>
              </p:nvSpPr>
              <p:spPr bwMode="gray">
                <a:xfrm>
                  <a:off x="2334111" y="2996303"/>
                  <a:ext cx="279777" cy="49580"/>
                </a:xfrm>
                <a:prstGeom prst="rect">
                  <a:avLst/>
                </a:prstGeom>
                <a:grpFill/>
                <a:ln w="0">
                  <a:solidFill>
                    <a:srgbClr val="FFFFFF"/>
                  </a:solidFill>
                  <a:prstDash val="solid"/>
                  <a:miter lim="800000"/>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47" name="Freeform 186">
                  <a:extLst>
                    <a:ext uri="{FF2B5EF4-FFF2-40B4-BE49-F238E27FC236}">
                      <a16:creationId xmlns:a16="http://schemas.microsoft.com/office/drawing/2014/main" id="{B30B4E67-0103-4AFF-AECC-A4AF2D7C085F}"/>
                    </a:ext>
                  </a:extLst>
                </p:cNvPr>
                <p:cNvSpPr>
                  <a:spLocks noEditPoints="1"/>
                </p:cNvSpPr>
                <p:nvPr/>
              </p:nvSpPr>
              <p:spPr bwMode="gray">
                <a:xfrm>
                  <a:off x="2319945" y="2982136"/>
                  <a:ext cx="306339" cy="76142"/>
                </a:xfrm>
                <a:custGeom>
                  <a:avLst/>
                  <a:gdLst>
                    <a:gd name="T0" fmla="*/ 15 w 173"/>
                    <a:gd name="T1" fmla="*/ 15 h 43"/>
                    <a:gd name="T2" fmla="*/ 15 w 173"/>
                    <a:gd name="T3" fmla="*/ 29 h 43"/>
                    <a:gd name="T4" fmla="*/ 158 w 173"/>
                    <a:gd name="T5" fmla="*/ 29 h 43"/>
                    <a:gd name="T6" fmla="*/ 158 w 173"/>
                    <a:gd name="T7" fmla="*/ 15 h 43"/>
                    <a:gd name="T8" fmla="*/ 15 w 173"/>
                    <a:gd name="T9" fmla="*/ 15 h 43"/>
                    <a:gd name="T10" fmla="*/ 0 w 173"/>
                    <a:gd name="T11" fmla="*/ 0 h 43"/>
                    <a:gd name="T12" fmla="*/ 173 w 173"/>
                    <a:gd name="T13" fmla="*/ 0 h 43"/>
                    <a:gd name="T14" fmla="*/ 173 w 173"/>
                    <a:gd name="T15" fmla="*/ 43 h 43"/>
                    <a:gd name="T16" fmla="*/ 0 w 173"/>
                    <a:gd name="T17" fmla="*/ 43 h 43"/>
                    <a:gd name="T18" fmla="*/ 0 w 173"/>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43">
                      <a:moveTo>
                        <a:pt x="15" y="15"/>
                      </a:moveTo>
                      <a:lnTo>
                        <a:pt x="15" y="29"/>
                      </a:lnTo>
                      <a:lnTo>
                        <a:pt x="158" y="29"/>
                      </a:lnTo>
                      <a:lnTo>
                        <a:pt x="158" y="15"/>
                      </a:lnTo>
                      <a:lnTo>
                        <a:pt x="15" y="15"/>
                      </a:lnTo>
                      <a:close/>
                      <a:moveTo>
                        <a:pt x="0" y="0"/>
                      </a:moveTo>
                      <a:lnTo>
                        <a:pt x="173" y="0"/>
                      </a:lnTo>
                      <a:lnTo>
                        <a:pt x="173" y="43"/>
                      </a:lnTo>
                      <a:lnTo>
                        <a:pt x="0" y="43"/>
                      </a:lnTo>
                      <a:lnTo>
                        <a:pt x="0" y="0"/>
                      </a:lnTo>
                      <a:close/>
                    </a:path>
                  </a:pathLst>
                </a:custGeom>
                <a:grpFill/>
                <a:ln w="0">
                  <a:solidFill>
                    <a:srgbClr val="FFFFFF"/>
                  </a:solid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grpSp>
        <p:nvGrpSpPr>
          <p:cNvPr id="148" name="Group 168">
            <a:extLst>
              <a:ext uri="{FF2B5EF4-FFF2-40B4-BE49-F238E27FC236}">
                <a16:creationId xmlns:a16="http://schemas.microsoft.com/office/drawing/2014/main" id="{3AEA1263-FD6E-40AD-B90A-F95FEFB66630}"/>
              </a:ext>
            </a:extLst>
          </p:cNvPr>
          <p:cNvGrpSpPr/>
          <p:nvPr/>
        </p:nvGrpSpPr>
        <p:grpSpPr>
          <a:xfrm>
            <a:off x="7027777" y="1216386"/>
            <a:ext cx="1453082" cy="1629781"/>
            <a:chOff x="3213969" y="3070530"/>
            <a:chExt cx="1395845" cy="1565584"/>
          </a:xfrm>
        </p:grpSpPr>
        <p:sp>
          <p:nvSpPr>
            <p:cNvPr id="149" name="TextBox 21">
              <a:extLst>
                <a:ext uri="{FF2B5EF4-FFF2-40B4-BE49-F238E27FC236}">
                  <a16:creationId xmlns:a16="http://schemas.microsoft.com/office/drawing/2014/main" id="{B47FA157-1652-4DE7-A861-F643C371D06F}"/>
                </a:ext>
              </a:extLst>
            </p:cNvPr>
            <p:cNvSpPr txBox="1">
              <a:spLocks/>
            </p:cNvSpPr>
            <p:nvPr>
              <p:custDataLst>
                <p:tags r:id="rId18"/>
              </p:custDataLst>
            </p:nvPr>
          </p:nvSpPr>
          <p:spPr>
            <a:xfrm>
              <a:off x="3213969" y="3070530"/>
              <a:ext cx="1395845" cy="1565584"/>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Equipes responsables et autonomes</a:t>
              </a:r>
            </a:p>
          </p:txBody>
        </p:sp>
        <p:sp>
          <p:nvSpPr>
            <p:cNvPr id="150" name="Oval 11">
              <a:extLst>
                <a:ext uri="{FF2B5EF4-FFF2-40B4-BE49-F238E27FC236}">
                  <a16:creationId xmlns:a16="http://schemas.microsoft.com/office/drawing/2014/main" id="{57200BBD-47C8-450B-92B1-7F7ACF064A67}"/>
                </a:ext>
              </a:extLst>
            </p:cNvPr>
            <p:cNvSpPr txBox="1">
              <a:spLocks/>
            </p:cNvSpPr>
            <p:nvPr>
              <p:custDataLst>
                <p:tags r:id="rId19"/>
              </p:custDataLst>
            </p:nvPr>
          </p:nvSpPr>
          <p:spPr>
            <a:xfrm>
              <a:off x="3246543" y="3116913"/>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2</a:t>
              </a:r>
            </a:p>
          </p:txBody>
        </p:sp>
        <p:grpSp>
          <p:nvGrpSpPr>
            <p:cNvPr id="151" name="Group 152">
              <a:extLst>
                <a:ext uri="{FF2B5EF4-FFF2-40B4-BE49-F238E27FC236}">
                  <a16:creationId xmlns:a16="http://schemas.microsoft.com/office/drawing/2014/main" id="{8B39E4A7-1A96-40D2-AAB0-10EE90718498}"/>
                </a:ext>
              </a:extLst>
            </p:cNvPr>
            <p:cNvGrpSpPr/>
            <p:nvPr/>
          </p:nvGrpSpPr>
          <p:grpSpPr>
            <a:xfrm>
              <a:off x="4005132" y="4014745"/>
              <a:ext cx="536103" cy="530559"/>
              <a:chOff x="3636881" y="5469112"/>
              <a:chExt cx="536111" cy="530567"/>
            </a:xfrm>
          </p:grpSpPr>
          <p:sp>
            <p:nvSpPr>
              <p:cNvPr id="152" name="Oval 11">
                <a:extLst>
                  <a:ext uri="{FF2B5EF4-FFF2-40B4-BE49-F238E27FC236}">
                    <a16:creationId xmlns:a16="http://schemas.microsoft.com/office/drawing/2014/main" id="{5A9DBFC4-7AA4-433F-93AE-412A8E5D2EDB}"/>
                  </a:ext>
                </a:extLst>
              </p:cNvPr>
              <p:cNvSpPr txBox="1"/>
              <p:nvPr>
                <p:custDataLst>
                  <p:tags r:id="rId20"/>
                </p:custDataLst>
              </p:nvPr>
            </p:nvSpPr>
            <p:spPr>
              <a:xfrm>
                <a:off x="3636881" y="5469112"/>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sp>
            <p:nvSpPr>
              <p:cNvPr id="153" name="Freeform 52">
                <a:extLst>
                  <a:ext uri="{FF2B5EF4-FFF2-40B4-BE49-F238E27FC236}">
                    <a16:creationId xmlns:a16="http://schemas.microsoft.com/office/drawing/2014/main" id="{AAF91E9E-D30E-44AC-971A-7A24B626995D}"/>
                  </a:ext>
                </a:extLst>
              </p:cNvPr>
              <p:cNvSpPr>
                <a:spLocks noEditPoints="1"/>
              </p:cNvSpPr>
              <p:nvPr/>
            </p:nvSpPr>
            <p:spPr bwMode="auto">
              <a:xfrm>
                <a:off x="3712426" y="5563990"/>
                <a:ext cx="399249" cy="321934"/>
              </a:xfrm>
              <a:custGeom>
                <a:avLst/>
                <a:gdLst>
                  <a:gd name="T0" fmla="*/ 406 w 457"/>
                  <a:gd name="T1" fmla="*/ 94 h 335"/>
                  <a:gd name="T2" fmla="*/ 395 w 457"/>
                  <a:gd name="T3" fmla="*/ 88 h 335"/>
                  <a:gd name="T4" fmla="*/ 407 w 457"/>
                  <a:gd name="T5" fmla="*/ 26 h 335"/>
                  <a:gd name="T6" fmla="*/ 348 w 457"/>
                  <a:gd name="T7" fmla="*/ 34 h 335"/>
                  <a:gd name="T8" fmla="*/ 323 w 457"/>
                  <a:gd name="T9" fmla="*/ 11 h 335"/>
                  <a:gd name="T10" fmla="*/ 309 w 457"/>
                  <a:gd name="T11" fmla="*/ 0 h 335"/>
                  <a:gd name="T12" fmla="*/ 284 w 457"/>
                  <a:gd name="T13" fmla="*/ 12 h 335"/>
                  <a:gd name="T14" fmla="*/ 229 w 457"/>
                  <a:gd name="T15" fmla="*/ 15 h 335"/>
                  <a:gd name="T16" fmla="*/ 172 w 457"/>
                  <a:gd name="T17" fmla="*/ 12 h 335"/>
                  <a:gd name="T18" fmla="*/ 146 w 457"/>
                  <a:gd name="T19" fmla="*/ 0 h 335"/>
                  <a:gd name="T20" fmla="*/ 132 w 457"/>
                  <a:gd name="T21" fmla="*/ 11 h 335"/>
                  <a:gd name="T22" fmla="*/ 108 w 457"/>
                  <a:gd name="T23" fmla="*/ 34 h 335"/>
                  <a:gd name="T24" fmla="*/ 49 w 457"/>
                  <a:gd name="T25" fmla="*/ 26 h 335"/>
                  <a:gd name="T26" fmla="*/ 60 w 457"/>
                  <a:gd name="T27" fmla="*/ 88 h 335"/>
                  <a:gd name="T28" fmla="*/ 50 w 457"/>
                  <a:gd name="T29" fmla="*/ 94 h 335"/>
                  <a:gd name="T30" fmla="*/ 10 w 457"/>
                  <a:gd name="T31" fmla="*/ 104 h 335"/>
                  <a:gd name="T32" fmla="*/ 8 w 457"/>
                  <a:gd name="T33" fmla="*/ 215 h 335"/>
                  <a:gd name="T34" fmla="*/ 32 w 457"/>
                  <a:gd name="T35" fmla="*/ 333 h 335"/>
                  <a:gd name="T36" fmla="*/ 119 w 457"/>
                  <a:gd name="T37" fmla="*/ 333 h 335"/>
                  <a:gd name="T38" fmla="*/ 182 w 457"/>
                  <a:gd name="T39" fmla="*/ 131 h 335"/>
                  <a:gd name="T40" fmla="*/ 190 w 457"/>
                  <a:gd name="T41" fmla="*/ 335 h 335"/>
                  <a:gd name="T42" fmla="*/ 273 w 457"/>
                  <a:gd name="T43" fmla="*/ 328 h 335"/>
                  <a:gd name="T44" fmla="*/ 335 w 457"/>
                  <a:gd name="T45" fmla="*/ 330 h 335"/>
                  <a:gd name="T46" fmla="*/ 421 w 457"/>
                  <a:gd name="T47" fmla="*/ 334 h 335"/>
                  <a:gd name="T48" fmla="*/ 438 w 457"/>
                  <a:gd name="T49" fmla="*/ 222 h 335"/>
                  <a:gd name="T50" fmla="*/ 453 w 457"/>
                  <a:gd name="T51" fmla="*/ 116 h 335"/>
                  <a:gd name="T52" fmla="*/ 400 w 457"/>
                  <a:gd name="T53" fmla="*/ 42 h 335"/>
                  <a:gd name="T54" fmla="*/ 368 w 457"/>
                  <a:gd name="T55" fmla="*/ 74 h 335"/>
                  <a:gd name="T56" fmla="*/ 380 w 457"/>
                  <a:gd name="T57" fmla="*/ 30 h 335"/>
                  <a:gd name="T58" fmla="*/ 87 w 457"/>
                  <a:gd name="T59" fmla="*/ 34 h 335"/>
                  <a:gd name="T60" fmla="*/ 76 w 457"/>
                  <a:gd name="T61" fmla="*/ 76 h 335"/>
                  <a:gd name="T62" fmla="*/ 240 w 457"/>
                  <a:gd name="T63" fmla="*/ 34 h 335"/>
                  <a:gd name="T64" fmla="*/ 229 w 457"/>
                  <a:gd name="T65" fmla="*/ 76 h 335"/>
                  <a:gd name="T66" fmla="*/ 217 w 457"/>
                  <a:gd name="T67" fmla="*/ 34 h 335"/>
                  <a:gd name="T68" fmla="*/ 229 w 457"/>
                  <a:gd name="T69" fmla="*/ 113 h 335"/>
                  <a:gd name="T70" fmla="*/ 107 w 457"/>
                  <a:gd name="T71" fmla="*/ 129 h 335"/>
                  <a:gd name="T72" fmla="*/ 81 w 457"/>
                  <a:gd name="T73" fmla="*/ 216 h 335"/>
                  <a:gd name="T74" fmla="*/ 69 w 457"/>
                  <a:gd name="T75" fmla="*/ 217 h 335"/>
                  <a:gd name="T76" fmla="*/ 45 w 457"/>
                  <a:gd name="T77" fmla="*/ 142 h 335"/>
                  <a:gd name="T78" fmla="*/ 32 w 457"/>
                  <a:gd name="T79" fmla="*/ 139 h 335"/>
                  <a:gd name="T80" fmla="*/ 17 w 457"/>
                  <a:gd name="T81" fmla="*/ 199 h 335"/>
                  <a:gd name="T82" fmla="*/ 19 w 457"/>
                  <a:gd name="T83" fmla="*/ 116 h 335"/>
                  <a:gd name="T84" fmla="*/ 73 w 457"/>
                  <a:gd name="T85" fmla="*/ 137 h 335"/>
                  <a:gd name="T86" fmla="*/ 144 w 457"/>
                  <a:gd name="T87" fmla="*/ 56 h 335"/>
                  <a:gd name="T88" fmla="*/ 236 w 457"/>
                  <a:gd name="T89" fmla="*/ 320 h 335"/>
                  <a:gd name="T90" fmla="*/ 229 w 457"/>
                  <a:gd name="T91" fmla="*/ 213 h 335"/>
                  <a:gd name="T92" fmla="*/ 221 w 457"/>
                  <a:gd name="T93" fmla="*/ 320 h 335"/>
                  <a:gd name="T94" fmla="*/ 144 w 457"/>
                  <a:gd name="T95" fmla="*/ 24 h 335"/>
                  <a:gd name="T96" fmla="*/ 154 w 457"/>
                  <a:gd name="T97" fmla="*/ 16 h 335"/>
                  <a:gd name="T98" fmla="*/ 226 w 457"/>
                  <a:gd name="T99" fmla="*/ 137 h 335"/>
                  <a:gd name="T100" fmla="*/ 299 w 457"/>
                  <a:gd name="T101" fmla="*/ 17 h 335"/>
                  <a:gd name="T102" fmla="*/ 312 w 457"/>
                  <a:gd name="T103" fmla="*/ 21 h 335"/>
                  <a:gd name="T104" fmla="*/ 439 w 457"/>
                  <a:gd name="T105" fmla="*/ 199 h 335"/>
                  <a:gd name="T106" fmla="*/ 424 w 457"/>
                  <a:gd name="T107" fmla="*/ 139 h 335"/>
                  <a:gd name="T108" fmla="*/ 412 w 457"/>
                  <a:gd name="T109" fmla="*/ 142 h 335"/>
                  <a:gd name="T110" fmla="*/ 388 w 457"/>
                  <a:gd name="T111" fmla="*/ 217 h 335"/>
                  <a:gd name="T112" fmla="*/ 375 w 457"/>
                  <a:gd name="T113" fmla="*/ 216 h 335"/>
                  <a:gd name="T114" fmla="*/ 350 w 457"/>
                  <a:gd name="T115" fmla="*/ 129 h 335"/>
                  <a:gd name="T116" fmla="*/ 376 w 457"/>
                  <a:gd name="T117" fmla="*/ 135 h 335"/>
                  <a:gd name="T118" fmla="*/ 429 w 457"/>
                  <a:gd name="T119" fmla="*/ 111 h 335"/>
                  <a:gd name="T120" fmla="*/ 442 w 457"/>
                  <a:gd name="T121" fmla="*/ 12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7" h="335">
                    <a:moveTo>
                      <a:pt x="433" y="97"/>
                    </a:moveTo>
                    <a:lnTo>
                      <a:pt x="413" y="92"/>
                    </a:lnTo>
                    <a:lnTo>
                      <a:pt x="411" y="92"/>
                    </a:lnTo>
                    <a:lnTo>
                      <a:pt x="408" y="92"/>
                    </a:lnTo>
                    <a:lnTo>
                      <a:pt x="406" y="94"/>
                    </a:lnTo>
                    <a:lnTo>
                      <a:pt x="382" y="117"/>
                    </a:lnTo>
                    <a:lnTo>
                      <a:pt x="367" y="89"/>
                    </a:lnTo>
                    <a:lnTo>
                      <a:pt x="374" y="90"/>
                    </a:lnTo>
                    <a:lnTo>
                      <a:pt x="380" y="92"/>
                    </a:lnTo>
                    <a:lnTo>
                      <a:pt x="395" y="88"/>
                    </a:lnTo>
                    <a:lnTo>
                      <a:pt x="407" y="80"/>
                    </a:lnTo>
                    <a:lnTo>
                      <a:pt x="416" y="69"/>
                    </a:lnTo>
                    <a:lnTo>
                      <a:pt x="418" y="53"/>
                    </a:lnTo>
                    <a:lnTo>
                      <a:pt x="416" y="39"/>
                    </a:lnTo>
                    <a:lnTo>
                      <a:pt x="407" y="26"/>
                    </a:lnTo>
                    <a:lnTo>
                      <a:pt x="395" y="18"/>
                    </a:lnTo>
                    <a:lnTo>
                      <a:pt x="380" y="15"/>
                    </a:lnTo>
                    <a:lnTo>
                      <a:pt x="367" y="17"/>
                    </a:lnTo>
                    <a:lnTo>
                      <a:pt x="356" y="24"/>
                    </a:lnTo>
                    <a:lnTo>
                      <a:pt x="348" y="34"/>
                    </a:lnTo>
                    <a:lnTo>
                      <a:pt x="343" y="45"/>
                    </a:lnTo>
                    <a:lnTo>
                      <a:pt x="325" y="12"/>
                    </a:lnTo>
                    <a:lnTo>
                      <a:pt x="325" y="12"/>
                    </a:lnTo>
                    <a:lnTo>
                      <a:pt x="325" y="12"/>
                    </a:lnTo>
                    <a:lnTo>
                      <a:pt x="323" y="11"/>
                    </a:lnTo>
                    <a:lnTo>
                      <a:pt x="323" y="11"/>
                    </a:lnTo>
                    <a:lnTo>
                      <a:pt x="323" y="11"/>
                    </a:lnTo>
                    <a:lnTo>
                      <a:pt x="320" y="6"/>
                    </a:lnTo>
                    <a:lnTo>
                      <a:pt x="314" y="3"/>
                    </a:lnTo>
                    <a:lnTo>
                      <a:pt x="309" y="0"/>
                    </a:lnTo>
                    <a:lnTo>
                      <a:pt x="304" y="0"/>
                    </a:lnTo>
                    <a:lnTo>
                      <a:pt x="298" y="0"/>
                    </a:lnTo>
                    <a:lnTo>
                      <a:pt x="293" y="3"/>
                    </a:lnTo>
                    <a:lnTo>
                      <a:pt x="288" y="7"/>
                    </a:lnTo>
                    <a:lnTo>
                      <a:pt x="284" y="12"/>
                    </a:lnTo>
                    <a:lnTo>
                      <a:pt x="266" y="45"/>
                    </a:lnTo>
                    <a:lnTo>
                      <a:pt x="261" y="34"/>
                    </a:lnTo>
                    <a:lnTo>
                      <a:pt x="253" y="24"/>
                    </a:lnTo>
                    <a:lnTo>
                      <a:pt x="241" y="17"/>
                    </a:lnTo>
                    <a:lnTo>
                      <a:pt x="229" y="15"/>
                    </a:lnTo>
                    <a:lnTo>
                      <a:pt x="214" y="17"/>
                    </a:lnTo>
                    <a:lnTo>
                      <a:pt x="204" y="24"/>
                    </a:lnTo>
                    <a:lnTo>
                      <a:pt x="195" y="34"/>
                    </a:lnTo>
                    <a:lnTo>
                      <a:pt x="191" y="45"/>
                    </a:lnTo>
                    <a:lnTo>
                      <a:pt x="172" y="12"/>
                    </a:lnTo>
                    <a:lnTo>
                      <a:pt x="168" y="7"/>
                    </a:lnTo>
                    <a:lnTo>
                      <a:pt x="164" y="3"/>
                    </a:lnTo>
                    <a:lnTo>
                      <a:pt x="158" y="0"/>
                    </a:lnTo>
                    <a:lnTo>
                      <a:pt x="152" y="0"/>
                    </a:lnTo>
                    <a:lnTo>
                      <a:pt x="146" y="0"/>
                    </a:lnTo>
                    <a:lnTo>
                      <a:pt x="141" y="3"/>
                    </a:lnTo>
                    <a:lnTo>
                      <a:pt x="136" y="6"/>
                    </a:lnTo>
                    <a:lnTo>
                      <a:pt x="134" y="11"/>
                    </a:lnTo>
                    <a:lnTo>
                      <a:pt x="134" y="11"/>
                    </a:lnTo>
                    <a:lnTo>
                      <a:pt x="132" y="11"/>
                    </a:lnTo>
                    <a:lnTo>
                      <a:pt x="132" y="11"/>
                    </a:lnTo>
                    <a:lnTo>
                      <a:pt x="132" y="12"/>
                    </a:lnTo>
                    <a:lnTo>
                      <a:pt x="132" y="12"/>
                    </a:lnTo>
                    <a:lnTo>
                      <a:pt x="113" y="45"/>
                    </a:lnTo>
                    <a:lnTo>
                      <a:pt x="108" y="34"/>
                    </a:lnTo>
                    <a:lnTo>
                      <a:pt x="100" y="24"/>
                    </a:lnTo>
                    <a:lnTo>
                      <a:pt x="89" y="17"/>
                    </a:lnTo>
                    <a:lnTo>
                      <a:pt x="76" y="15"/>
                    </a:lnTo>
                    <a:lnTo>
                      <a:pt x="60" y="18"/>
                    </a:lnTo>
                    <a:lnTo>
                      <a:pt x="49" y="26"/>
                    </a:lnTo>
                    <a:lnTo>
                      <a:pt x="41" y="39"/>
                    </a:lnTo>
                    <a:lnTo>
                      <a:pt x="37" y="53"/>
                    </a:lnTo>
                    <a:lnTo>
                      <a:pt x="41" y="69"/>
                    </a:lnTo>
                    <a:lnTo>
                      <a:pt x="49" y="80"/>
                    </a:lnTo>
                    <a:lnTo>
                      <a:pt x="60" y="88"/>
                    </a:lnTo>
                    <a:lnTo>
                      <a:pt x="76" y="92"/>
                    </a:lnTo>
                    <a:lnTo>
                      <a:pt x="84" y="90"/>
                    </a:lnTo>
                    <a:lnTo>
                      <a:pt x="90" y="89"/>
                    </a:lnTo>
                    <a:lnTo>
                      <a:pt x="75" y="117"/>
                    </a:lnTo>
                    <a:lnTo>
                      <a:pt x="50" y="94"/>
                    </a:lnTo>
                    <a:lnTo>
                      <a:pt x="49" y="92"/>
                    </a:lnTo>
                    <a:lnTo>
                      <a:pt x="46" y="92"/>
                    </a:lnTo>
                    <a:lnTo>
                      <a:pt x="44" y="92"/>
                    </a:lnTo>
                    <a:lnTo>
                      <a:pt x="23" y="97"/>
                    </a:lnTo>
                    <a:lnTo>
                      <a:pt x="10" y="104"/>
                    </a:lnTo>
                    <a:lnTo>
                      <a:pt x="3" y="116"/>
                    </a:lnTo>
                    <a:lnTo>
                      <a:pt x="0" y="129"/>
                    </a:lnTo>
                    <a:lnTo>
                      <a:pt x="0" y="190"/>
                    </a:lnTo>
                    <a:lnTo>
                      <a:pt x="1" y="203"/>
                    </a:lnTo>
                    <a:lnTo>
                      <a:pt x="8" y="215"/>
                    </a:lnTo>
                    <a:lnTo>
                      <a:pt x="18" y="222"/>
                    </a:lnTo>
                    <a:lnTo>
                      <a:pt x="30" y="228"/>
                    </a:lnTo>
                    <a:lnTo>
                      <a:pt x="30" y="328"/>
                    </a:lnTo>
                    <a:lnTo>
                      <a:pt x="31" y="330"/>
                    </a:lnTo>
                    <a:lnTo>
                      <a:pt x="32" y="333"/>
                    </a:lnTo>
                    <a:lnTo>
                      <a:pt x="35" y="334"/>
                    </a:lnTo>
                    <a:lnTo>
                      <a:pt x="37" y="335"/>
                    </a:lnTo>
                    <a:lnTo>
                      <a:pt x="114" y="335"/>
                    </a:lnTo>
                    <a:lnTo>
                      <a:pt x="117" y="334"/>
                    </a:lnTo>
                    <a:lnTo>
                      <a:pt x="119" y="333"/>
                    </a:lnTo>
                    <a:lnTo>
                      <a:pt x="121" y="330"/>
                    </a:lnTo>
                    <a:lnTo>
                      <a:pt x="122" y="328"/>
                    </a:lnTo>
                    <a:lnTo>
                      <a:pt x="122" y="131"/>
                    </a:lnTo>
                    <a:lnTo>
                      <a:pt x="152" y="72"/>
                    </a:lnTo>
                    <a:lnTo>
                      <a:pt x="182" y="131"/>
                    </a:lnTo>
                    <a:lnTo>
                      <a:pt x="182" y="328"/>
                    </a:lnTo>
                    <a:lnTo>
                      <a:pt x="184" y="330"/>
                    </a:lnTo>
                    <a:lnTo>
                      <a:pt x="185" y="333"/>
                    </a:lnTo>
                    <a:lnTo>
                      <a:pt x="187" y="334"/>
                    </a:lnTo>
                    <a:lnTo>
                      <a:pt x="190" y="335"/>
                    </a:lnTo>
                    <a:lnTo>
                      <a:pt x="266" y="335"/>
                    </a:lnTo>
                    <a:lnTo>
                      <a:pt x="270" y="334"/>
                    </a:lnTo>
                    <a:lnTo>
                      <a:pt x="272" y="333"/>
                    </a:lnTo>
                    <a:lnTo>
                      <a:pt x="273" y="330"/>
                    </a:lnTo>
                    <a:lnTo>
                      <a:pt x="273" y="328"/>
                    </a:lnTo>
                    <a:lnTo>
                      <a:pt x="273" y="131"/>
                    </a:lnTo>
                    <a:lnTo>
                      <a:pt x="304" y="72"/>
                    </a:lnTo>
                    <a:lnTo>
                      <a:pt x="335" y="131"/>
                    </a:lnTo>
                    <a:lnTo>
                      <a:pt x="335" y="328"/>
                    </a:lnTo>
                    <a:lnTo>
                      <a:pt x="335" y="330"/>
                    </a:lnTo>
                    <a:lnTo>
                      <a:pt x="338" y="333"/>
                    </a:lnTo>
                    <a:lnTo>
                      <a:pt x="339" y="334"/>
                    </a:lnTo>
                    <a:lnTo>
                      <a:pt x="343" y="335"/>
                    </a:lnTo>
                    <a:lnTo>
                      <a:pt x="418" y="335"/>
                    </a:lnTo>
                    <a:lnTo>
                      <a:pt x="421" y="334"/>
                    </a:lnTo>
                    <a:lnTo>
                      <a:pt x="424" y="333"/>
                    </a:lnTo>
                    <a:lnTo>
                      <a:pt x="426" y="330"/>
                    </a:lnTo>
                    <a:lnTo>
                      <a:pt x="426" y="328"/>
                    </a:lnTo>
                    <a:lnTo>
                      <a:pt x="426" y="228"/>
                    </a:lnTo>
                    <a:lnTo>
                      <a:pt x="438" y="222"/>
                    </a:lnTo>
                    <a:lnTo>
                      <a:pt x="448" y="215"/>
                    </a:lnTo>
                    <a:lnTo>
                      <a:pt x="454" y="203"/>
                    </a:lnTo>
                    <a:lnTo>
                      <a:pt x="457" y="190"/>
                    </a:lnTo>
                    <a:lnTo>
                      <a:pt x="457" y="129"/>
                    </a:lnTo>
                    <a:lnTo>
                      <a:pt x="453" y="116"/>
                    </a:lnTo>
                    <a:lnTo>
                      <a:pt x="445" y="104"/>
                    </a:lnTo>
                    <a:lnTo>
                      <a:pt x="433" y="97"/>
                    </a:lnTo>
                    <a:close/>
                    <a:moveTo>
                      <a:pt x="380" y="30"/>
                    </a:moveTo>
                    <a:lnTo>
                      <a:pt x="391" y="34"/>
                    </a:lnTo>
                    <a:lnTo>
                      <a:pt x="400" y="42"/>
                    </a:lnTo>
                    <a:lnTo>
                      <a:pt x="403" y="53"/>
                    </a:lnTo>
                    <a:lnTo>
                      <a:pt x="400" y="65"/>
                    </a:lnTo>
                    <a:lnTo>
                      <a:pt x="391" y="74"/>
                    </a:lnTo>
                    <a:lnTo>
                      <a:pt x="380" y="76"/>
                    </a:lnTo>
                    <a:lnTo>
                      <a:pt x="368" y="74"/>
                    </a:lnTo>
                    <a:lnTo>
                      <a:pt x="361" y="65"/>
                    </a:lnTo>
                    <a:lnTo>
                      <a:pt x="358" y="53"/>
                    </a:lnTo>
                    <a:lnTo>
                      <a:pt x="361" y="42"/>
                    </a:lnTo>
                    <a:lnTo>
                      <a:pt x="368" y="34"/>
                    </a:lnTo>
                    <a:lnTo>
                      <a:pt x="380" y="30"/>
                    </a:lnTo>
                    <a:close/>
                    <a:moveTo>
                      <a:pt x="53" y="53"/>
                    </a:moveTo>
                    <a:lnTo>
                      <a:pt x="57" y="42"/>
                    </a:lnTo>
                    <a:lnTo>
                      <a:pt x="64" y="34"/>
                    </a:lnTo>
                    <a:lnTo>
                      <a:pt x="76" y="30"/>
                    </a:lnTo>
                    <a:lnTo>
                      <a:pt x="87" y="34"/>
                    </a:lnTo>
                    <a:lnTo>
                      <a:pt x="95" y="42"/>
                    </a:lnTo>
                    <a:lnTo>
                      <a:pt x="99" y="53"/>
                    </a:lnTo>
                    <a:lnTo>
                      <a:pt x="95" y="65"/>
                    </a:lnTo>
                    <a:lnTo>
                      <a:pt x="87" y="74"/>
                    </a:lnTo>
                    <a:lnTo>
                      <a:pt x="76" y="76"/>
                    </a:lnTo>
                    <a:lnTo>
                      <a:pt x="64" y="74"/>
                    </a:lnTo>
                    <a:lnTo>
                      <a:pt x="57" y="65"/>
                    </a:lnTo>
                    <a:lnTo>
                      <a:pt x="53" y="53"/>
                    </a:lnTo>
                    <a:close/>
                    <a:moveTo>
                      <a:pt x="229" y="30"/>
                    </a:moveTo>
                    <a:lnTo>
                      <a:pt x="240" y="34"/>
                    </a:lnTo>
                    <a:lnTo>
                      <a:pt x="248" y="42"/>
                    </a:lnTo>
                    <a:lnTo>
                      <a:pt x="252" y="53"/>
                    </a:lnTo>
                    <a:lnTo>
                      <a:pt x="248" y="65"/>
                    </a:lnTo>
                    <a:lnTo>
                      <a:pt x="240" y="74"/>
                    </a:lnTo>
                    <a:lnTo>
                      <a:pt x="229" y="76"/>
                    </a:lnTo>
                    <a:lnTo>
                      <a:pt x="217" y="74"/>
                    </a:lnTo>
                    <a:lnTo>
                      <a:pt x="208" y="65"/>
                    </a:lnTo>
                    <a:lnTo>
                      <a:pt x="205" y="53"/>
                    </a:lnTo>
                    <a:lnTo>
                      <a:pt x="208" y="42"/>
                    </a:lnTo>
                    <a:lnTo>
                      <a:pt x="217" y="34"/>
                    </a:lnTo>
                    <a:lnTo>
                      <a:pt x="229" y="30"/>
                    </a:lnTo>
                    <a:close/>
                    <a:moveTo>
                      <a:pt x="229" y="92"/>
                    </a:moveTo>
                    <a:lnTo>
                      <a:pt x="235" y="90"/>
                    </a:lnTo>
                    <a:lnTo>
                      <a:pt x="241" y="89"/>
                    </a:lnTo>
                    <a:lnTo>
                      <a:pt x="229" y="113"/>
                    </a:lnTo>
                    <a:lnTo>
                      <a:pt x="214" y="89"/>
                    </a:lnTo>
                    <a:lnTo>
                      <a:pt x="221" y="90"/>
                    </a:lnTo>
                    <a:lnTo>
                      <a:pt x="229" y="92"/>
                    </a:lnTo>
                    <a:close/>
                    <a:moveTo>
                      <a:pt x="107" y="126"/>
                    </a:moveTo>
                    <a:lnTo>
                      <a:pt x="107" y="129"/>
                    </a:lnTo>
                    <a:lnTo>
                      <a:pt x="107" y="320"/>
                    </a:lnTo>
                    <a:lnTo>
                      <a:pt x="84" y="320"/>
                    </a:lnTo>
                    <a:lnTo>
                      <a:pt x="84" y="221"/>
                    </a:lnTo>
                    <a:lnTo>
                      <a:pt x="82" y="217"/>
                    </a:lnTo>
                    <a:lnTo>
                      <a:pt x="81" y="216"/>
                    </a:lnTo>
                    <a:lnTo>
                      <a:pt x="78" y="213"/>
                    </a:lnTo>
                    <a:lnTo>
                      <a:pt x="76" y="213"/>
                    </a:lnTo>
                    <a:lnTo>
                      <a:pt x="73" y="213"/>
                    </a:lnTo>
                    <a:lnTo>
                      <a:pt x="71" y="216"/>
                    </a:lnTo>
                    <a:lnTo>
                      <a:pt x="69" y="217"/>
                    </a:lnTo>
                    <a:lnTo>
                      <a:pt x="68" y="221"/>
                    </a:lnTo>
                    <a:lnTo>
                      <a:pt x="68" y="320"/>
                    </a:lnTo>
                    <a:lnTo>
                      <a:pt x="45" y="320"/>
                    </a:lnTo>
                    <a:lnTo>
                      <a:pt x="45" y="144"/>
                    </a:lnTo>
                    <a:lnTo>
                      <a:pt x="45" y="142"/>
                    </a:lnTo>
                    <a:lnTo>
                      <a:pt x="44" y="139"/>
                    </a:lnTo>
                    <a:lnTo>
                      <a:pt x="41" y="138"/>
                    </a:lnTo>
                    <a:lnTo>
                      <a:pt x="37" y="137"/>
                    </a:lnTo>
                    <a:lnTo>
                      <a:pt x="35" y="138"/>
                    </a:lnTo>
                    <a:lnTo>
                      <a:pt x="32" y="139"/>
                    </a:lnTo>
                    <a:lnTo>
                      <a:pt x="31" y="142"/>
                    </a:lnTo>
                    <a:lnTo>
                      <a:pt x="30" y="144"/>
                    </a:lnTo>
                    <a:lnTo>
                      <a:pt x="30" y="212"/>
                    </a:lnTo>
                    <a:lnTo>
                      <a:pt x="22" y="207"/>
                    </a:lnTo>
                    <a:lnTo>
                      <a:pt x="17" y="199"/>
                    </a:lnTo>
                    <a:lnTo>
                      <a:pt x="16" y="190"/>
                    </a:lnTo>
                    <a:lnTo>
                      <a:pt x="16" y="129"/>
                    </a:lnTo>
                    <a:lnTo>
                      <a:pt x="16" y="125"/>
                    </a:lnTo>
                    <a:lnTo>
                      <a:pt x="17" y="120"/>
                    </a:lnTo>
                    <a:lnTo>
                      <a:pt x="19" y="116"/>
                    </a:lnTo>
                    <a:lnTo>
                      <a:pt x="23" y="113"/>
                    </a:lnTo>
                    <a:lnTo>
                      <a:pt x="27" y="111"/>
                    </a:lnTo>
                    <a:lnTo>
                      <a:pt x="42" y="107"/>
                    </a:lnTo>
                    <a:lnTo>
                      <a:pt x="71" y="135"/>
                    </a:lnTo>
                    <a:lnTo>
                      <a:pt x="73" y="137"/>
                    </a:lnTo>
                    <a:lnTo>
                      <a:pt x="77" y="137"/>
                    </a:lnTo>
                    <a:lnTo>
                      <a:pt x="80" y="135"/>
                    </a:lnTo>
                    <a:lnTo>
                      <a:pt x="82" y="133"/>
                    </a:lnTo>
                    <a:lnTo>
                      <a:pt x="135" y="39"/>
                    </a:lnTo>
                    <a:lnTo>
                      <a:pt x="144" y="56"/>
                    </a:lnTo>
                    <a:lnTo>
                      <a:pt x="107" y="126"/>
                    </a:lnTo>
                    <a:close/>
                    <a:moveTo>
                      <a:pt x="259" y="126"/>
                    </a:moveTo>
                    <a:lnTo>
                      <a:pt x="258" y="129"/>
                    </a:lnTo>
                    <a:lnTo>
                      <a:pt x="258" y="320"/>
                    </a:lnTo>
                    <a:lnTo>
                      <a:pt x="236" y="320"/>
                    </a:lnTo>
                    <a:lnTo>
                      <a:pt x="236" y="221"/>
                    </a:lnTo>
                    <a:lnTo>
                      <a:pt x="235" y="217"/>
                    </a:lnTo>
                    <a:lnTo>
                      <a:pt x="234" y="216"/>
                    </a:lnTo>
                    <a:lnTo>
                      <a:pt x="231" y="213"/>
                    </a:lnTo>
                    <a:lnTo>
                      <a:pt x="229" y="213"/>
                    </a:lnTo>
                    <a:lnTo>
                      <a:pt x="225" y="213"/>
                    </a:lnTo>
                    <a:lnTo>
                      <a:pt x="223" y="216"/>
                    </a:lnTo>
                    <a:lnTo>
                      <a:pt x="221" y="217"/>
                    </a:lnTo>
                    <a:lnTo>
                      <a:pt x="221" y="221"/>
                    </a:lnTo>
                    <a:lnTo>
                      <a:pt x="221" y="320"/>
                    </a:lnTo>
                    <a:lnTo>
                      <a:pt x="198" y="320"/>
                    </a:lnTo>
                    <a:lnTo>
                      <a:pt x="198" y="129"/>
                    </a:lnTo>
                    <a:lnTo>
                      <a:pt x="196" y="126"/>
                    </a:lnTo>
                    <a:lnTo>
                      <a:pt x="145" y="26"/>
                    </a:lnTo>
                    <a:lnTo>
                      <a:pt x="144" y="24"/>
                    </a:lnTo>
                    <a:lnTo>
                      <a:pt x="145" y="21"/>
                    </a:lnTo>
                    <a:lnTo>
                      <a:pt x="146" y="18"/>
                    </a:lnTo>
                    <a:lnTo>
                      <a:pt x="149" y="16"/>
                    </a:lnTo>
                    <a:lnTo>
                      <a:pt x="152" y="16"/>
                    </a:lnTo>
                    <a:lnTo>
                      <a:pt x="154" y="16"/>
                    </a:lnTo>
                    <a:lnTo>
                      <a:pt x="157" y="17"/>
                    </a:lnTo>
                    <a:lnTo>
                      <a:pt x="159" y="20"/>
                    </a:lnTo>
                    <a:lnTo>
                      <a:pt x="222" y="133"/>
                    </a:lnTo>
                    <a:lnTo>
                      <a:pt x="223" y="135"/>
                    </a:lnTo>
                    <a:lnTo>
                      <a:pt x="226" y="137"/>
                    </a:lnTo>
                    <a:lnTo>
                      <a:pt x="230" y="137"/>
                    </a:lnTo>
                    <a:lnTo>
                      <a:pt x="232" y="135"/>
                    </a:lnTo>
                    <a:lnTo>
                      <a:pt x="235" y="133"/>
                    </a:lnTo>
                    <a:lnTo>
                      <a:pt x="298" y="20"/>
                    </a:lnTo>
                    <a:lnTo>
                      <a:pt x="299" y="17"/>
                    </a:lnTo>
                    <a:lnTo>
                      <a:pt x="302" y="16"/>
                    </a:lnTo>
                    <a:lnTo>
                      <a:pt x="306" y="16"/>
                    </a:lnTo>
                    <a:lnTo>
                      <a:pt x="308" y="16"/>
                    </a:lnTo>
                    <a:lnTo>
                      <a:pt x="311" y="18"/>
                    </a:lnTo>
                    <a:lnTo>
                      <a:pt x="312" y="21"/>
                    </a:lnTo>
                    <a:lnTo>
                      <a:pt x="312" y="24"/>
                    </a:lnTo>
                    <a:lnTo>
                      <a:pt x="311" y="26"/>
                    </a:lnTo>
                    <a:lnTo>
                      <a:pt x="259" y="126"/>
                    </a:lnTo>
                    <a:close/>
                    <a:moveTo>
                      <a:pt x="442" y="190"/>
                    </a:moveTo>
                    <a:lnTo>
                      <a:pt x="439" y="199"/>
                    </a:lnTo>
                    <a:lnTo>
                      <a:pt x="434" y="207"/>
                    </a:lnTo>
                    <a:lnTo>
                      <a:pt x="426" y="212"/>
                    </a:lnTo>
                    <a:lnTo>
                      <a:pt x="426" y="144"/>
                    </a:lnTo>
                    <a:lnTo>
                      <a:pt x="426" y="142"/>
                    </a:lnTo>
                    <a:lnTo>
                      <a:pt x="424" y="139"/>
                    </a:lnTo>
                    <a:lnTo>
                      <a:pt x="421" y="138"/>
                    </a:lnTo>
                    <a:lnTo>
                      <a:pt x="418" y="137"/>
                    </a:lnTo>
                    <a:lnTo>
                      <a:pt x="416" y="138"/>
                    </a:lnTo>
                    <a:lnTo>
                      <a:pt x="413" y="139"/>
                    </a:lnTo>
                    <a:lnTo>
                      <a:pt x="412" y="142"/>
                    </a:lnTo>
                    <a:lnTo>
                      <a:pt x="411" y="144"/>
                    </a:lnTo>
                    <a:lnTo>
                      <a:pt x="411" y="320"/>
                    </a:lnTo>
                    <a:lnTo>
                      <a:pt x="388" y="320"/>
                    </a:lnTo>
                    <a:lnTo>
                      <a:pt x="388" y="221"/>
                    </a:lnTo>
                    <a:lnTo>
                      <a:pt x="388" y="217"/>
                    </a:lnTo>
                    <a:lnTo>
                      <a:pt x="386" y="216"/>
                    </a:lnTo>
                    <a:lnTo>
                      <a:pt x="384" y="213"/>
                    </a:lnTo>
                    <a:lnTo>
                      <a:pt x="380" y="213"/>
                    </a:lnTo>
                    <a:lnTo>
                      <a:pt x="377" y="213"/>
                    </a:lnTo>
                    <a:lnTo>
                      <a:pt x="375" y="216"/>
                    </a:lnTo>
                    <a:lnTo>
                      <a:pt x="374" y="217"/>
                    </a:lnTo>
                    <a:lnTo>
                      <a:pt x="372" y="221"/>
                    </a:lnTo>
                    <a:lnTo>
                      <a:pt x="372" y="320"/>
                    </a:lnTo>
                    <a:lnTo>
                      <a:pt x="350" y="320"/>
                    </a:lnTo>
                    <a:lnTo>
                      <a:pt x="350" y="129"/>
                    </a:lnTo>
                    <a:lnTo>
                      <a:pt x="349" y="126"/>
                    </a:lnTo>
                    <a:lnTo>
                      <a:pt x="313" y="56"/>
                    </a:lnTo>
                    <a:lnTo>
                      <a:pt x="322" y="39"/>
                    </a:lnTo>
                    <a:lnTo>
                      <a:pt x="374" y="133"/>
                    </a:lnTo>
                    <a:lnTo>
                      <a:pt x="376" y="135"/>
                    </a:lnTo>
                    <a:lnTo>
                      <a:pt x="380" y="137"/>
                    </a:lnTo>
                    <a:lnTo>
                      <a:pt x="382" y="137"/>
                    </a:lnTo>
                    <a:lnTo>
                      <a:pt x="386" y="135"/>
                    </a:lnTo>
                    <a:lnTo>
                      <a:pt x="413" y="107"/>
                    </a:lnTo>
                    <a:lnTo>
                      <a:pt x="429" y="111"/>
                    </a:lnTo>
                    <a:lnTo>
                      <a:pt x="433" y="113"/>
                    </a:lnTo>
                    <a:lnTo>
                      <a:pt x="436" y="116"/>
                    </a:lnTo>
                    <a:lnTo>
                      <a:pt x="439" y="120"/>
                    </a:lnTo>
                    <a:lnTo>
                      <a:pt x="440" y="125"/>
                    </a:lnTo>
                    <a:lnTo>
                      <a:pt x="442" y="129"/>
                    </a:lnTo>
                    <a:lnTo>
                      <a:pt x="442" y="190"/>
                    </a:lnTo>
                    <a:close/>
                  </a:path>
                </a:pathLst>
              </a:custGeom>
              <a:solidFill>
                <a:srgbClr val="FFFFFF"/>
              </a:solidFill>
              <a:ln w="0">
                <a:no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nvGrpSpPr>
          <p:cNvPr id="154" name="Group 166">
            <a:extLst>
              <a:ext uri="{FF2B5EF4-FFF2-40B4-BE49-F238E27FC236}">
                <a16:creationId xmlns:a16="http://schemas.microsoft.com/office/drawing/2014/main" id="{90E52665-8FA7-41B1-9840-C2F909418674}"/>
              </a:ext>
            </a:extLst>
          </p:cNvPr>
          <p:cNvGrpSpPr/>
          <p:nvPr/>
        </p:nvGrpSpPr>
        <p:grpSpPr>
          <a:xfrm>
            <a:off x="10046095" y="1208088"/>
            <a:ext cx="1453082" cy="1636475"/>
            <a:chOff x="6111217" y="3074923"/>
            <a:chExt cx="1395845" cy="1561190"/>
          </a:xfrm>
        </p:grpSpPr>
        <p:sp>
          <p:nvSpPr>
            <p:cNvPr id="155" name="TextBox 28">
              <a:extLst>
                <a:ext uri="{FF2B5EF4-FFF2-40B4-BE49-F238E27FC236}">
                  <a16:creationId xmlns:a16="http://schemas.microsoft.com/office/drawing/2014/main" id="{16C7710A-6B70-4205-BFAA-3CBDF8C82E42}"/>
                </a:ext>
              </a:extLst>
            </p:cNvPr>
            <p:cNvSpPr txBox="1">
              <a:spLocks/>
            </p:cNvSpPr>
            <p:nvPr>
              <p:custDataLst>
                <p:tags r:id="rId15"/>
              </p:custDataLst>
            </p:nvPr>
          </p:nvSpPr>
          <p:spPr>
            <a:xfrm>
              <a:off x="6111217" y="3074923"/>
              <a:ext cx="1395845" cy="1561190"/>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Equipes </a:t>
              </a:r>
              <a:r>
                <a:rPr lang="fr-FR" sz="1249" kern="0" dirty="0" err="1">
                  <a:solidFill>
                    <a:srgbClr val="333333">
                      <a:lumMod val="75000"/>
                    </a:srgbClr>
                  </a:solidFill>
                  <a:latin typeface="HelveticaNeueLTStd-Lt" panose="020B0403020202020204" pitchFamily="34" charset="0"/>
                  <a:ea typeface="ＭＳ Ｐゴシック"/>
                </a:rPr>
                <a:t>interfonctionnelles</a:t>
              </a:r>
              <a:r>
                <a:rPr lang="fr-FR" sz="1249" kern="0" dirty="0">
                  <a:solidFill>
                    <a:srgbClr val="333333">
                      <a:lumMod val="75000"/>
                    </a:srgbClr>
                  </a:solidFill>
                  <a:latin typeface="HelveticaNeueLTStd-Lt" panose="020B0403020202020204" pitchFamily="34" charset="0"/>
                  <a:ea typeface="ＭＳ Ｐゴシック"/>
                </a:rPr>
                <a:t> et « petites »</a:t>
              </a:r>
            </a:p>
          </p:txBody>
        </p:sp>
        <p:sp>
          <p:nvSpPr>
            <p:cNvPr id="156" name="Oval 11">
              <a:extLst>
                <a:ext uri="{FF2B5EF4-FFF2-40B4-BE49-F238E27FC236}">
                  <a16:creationId xmlns:a16="http://schemas.microsoft.com/office/drawing/2014/main" id="{3040404A-A1A5-4624-99B8-C9AAD6D1C949}"/>
                </a:ext>
              </a:extLst>
            </p:cNvPr>
            <p:cNvSpPr txBox="1">
              <a:spLocks/>
            </p:cNvSpPr>
            <p:nvPr>
              <p:custDataLst>
                <p:tags r:id="rId16"/>
              </p:custDataLst>
            </p:nvPr>
          </p:nvSpPr>
          <p:spPr>
            <a:xfrm>
              <a:off x="6150947" y="3116913"/>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a:solidFill>
                    <a:srgbClr val="FFFFFF"/>
                  </a:solidFill>
                  <a:latin typeface="HelveticaNeueLTStd-Lt" panose="020B0403020202020204" pitchFamily="34" charset="0"/>
                  <a:ea typeface="ＭＳ Ｐゴシック"/>
                </a:rPr>
                <a:t>4</a:t>
              </a:r>
              <a:endParaRPr lang="fr-FR" sz="1249" b="1" kern="0" dirty="0">
                <a:solidFill>
                  <a:srgbClr val="FFFFFF"/>
                </a:solidFill>
                <a:latin typeface="HelveticaNeueLTStd-Lt" panose="020B0403020202020204" pitchFamily="34" charset="0"/>
                <a:ea typeface="ＭＳ Ｐゴシック"/>
              </a:endParaRPr>
            </a:p>
          </p:txBody>
        </p:sp>
        <p:grpSp>
          <p:nvGrpSpPr>
            <p:cNvPr id="157" name="Group 154">
              <a:extLst>
                <a:ext uri="{FF2B5EF4-FFF2-40B4-BE49-F238E27FC236}">
                  <a16:creationId xmlns:a16="http://schemas.microsoft.com/office/drawing/2014/main" id="{C4BBF26E-5D2D-4794-B1F0-BE09685A67EA}"/>
                </a:ext>
              </a:extLst>
            </p:cNvPr>
            <p:cNvGrpSpPr/>
            <p:nvPr/>
          </p:nvGrpSpPr>
          <p:grpSpPr>
            <a:xfrm>
              <a:off x="6902379" y="4014745"/>
              <a:ext cx="536103" cy="530559"/>
              <a:chOff x="6536342" y="5469112"/>
              <a:chExt cx="536111" cy="530567"/>
            </a:xfrm>
          </p:grpSpPr>
          <p:sp>
            <p:nvSpPr>
              <p:cNvPr id="158" name="Oval 11">
                <a:extLst>
                  <a:ext uri="{FF2B5EF4-FFF2-40B4-BE49-F238E27FC236}">
                    <a16:creationId xmlns:a16="http://schemas.microsoft.com/office/drawing/2014/main" id="{3D644A61-2A27-48CD-87A0-6B5B31EAB5EA}"/>
                  </a:ext>
                </a:extLst>
              </p:cNvPr>
              <p:cNvSpPr txBox="1"/>
              <p:nvPr>
                <p:custDataLst>
                  <p:tags r:id="rId17"/>
                </p:custDataLst>
              </p:nvPr>
            </p:nvSpPr>
            <p:spPr>
              <a:xfrm>
                <a:off x="6536342" y="5469112"/>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sp>
            <p:nvSpPr>
              <p:cNvPr id="159" name="Freeform 59">
                <a:extLst>
                  <a:ext uri="{FF2B5EF4-FFF2-40B4-BE49-F238E27FC236}">
                    <a16:creationId xmlns:a16="http://schemas.microsoft.com/office/drawing/2014/main" id="{ED8B22E0-2A8C-43B9-88FF-E2A055B27D4A}"/>
                  </a:ext>
                </a:extLst>
              </p:cNvPr>
              <p:cNvSpPr>
                <a:spLocks noEditPoints="1"/>
              </p:cNvSpPr>
              <p:nvPr/>
            </p:nvSpPr>
            <p:spPr bwMode="auto">
              <a:xfrm>
                <a:off x="6607211" y="5555696"/>
                <a:ext cx="406441" cy="375650"/>
              </a:xfrm>
              <a:custGeom>
                <a:avLst/>
                <a:gdLst>
                  <a:gd name="T0" fmla="*/ 241 w 396"/>
                  <a:gd name="T1" fmla="*/ 226 h 366"/>
                  <a:gd name="T2" fmla="*/ 301 w 396"/>
                  <a:gd name="T3" fmla="*/ 201 h 366"/>
                  <a:gd name="T4" fmla="*/ 277 w 396"/>
                  <a:gd name="T5" fmla="*/ 141 h 366"/>
                  <a:gd name="T6" fmla="*/ 217 w 396"/>
                  <a:gd name="T7" fmla="*/ 166 h 366"/>
                  <a:gd name="T8" fmla="*/ 281 w 396"/>
                  <a:gd name="T9" fmla="*/ 204 h 366"/>
                  <a:gd name="T10" fmla="*/ 237 w 396"/>
                  <a:gd name="T11" fmla="*/ 204 h 366"/>
                  <a:gd name="T12" fmla="*/ 237 w 396"/>
                  <a:gd name="T13" fmla="*/ 162 h 366"/>
                  <a:gd name="T14" fmla="*/ 281 w 396"/>
                  <a:gd name="T15" fmla="*/ 162 h 366"/>
                  <a:gd name="T16" fmla="*/ 135 w 396"/>
                  <a:gd name="T17" fmla="*/ 141 h 366"/>
                  <a:gd name="T18" fmla="*/ 110 w 396"/>
                  <a:gd name="T19" fmla="*/ 201 h 366"/>
                  <a:gd name="T20" fmla="*/ 171 w 396"/>
                  <a:gd name="T21" fmla="*/ 226 h 366"/>
                  <a:gd name="T22" fmla="*/ 194 w 396"/>
                  <a:gd name="T23" fmla="*/ 166 h 366"/>
                  <a:gd name="T24" fmla="*/ 153 w 396"/>
                  <a:gd name="T25" fmla="*/ 213 h 366"/>
                  <a:gd name="T26" fmla="*/ 122 w 396"/>
                  <a:gd name="T27" fmla="*/ 184 h 366"/>
                  <a:gd name="T28" fmla="*/ 153 w 396"/>
                  <a:gd name="T29" fmla="*/ 153 h 366"/>
                  <a:gd name="T30" fmla="*/ 182 w 396"/>
                  <a:gd name="T31" fmla="*/ 184 h 366"/>
                  <a:gd name="T32" fmla="*/ 153 w 396"/>
                  <a:gd name="T33" fmla="*/ 213 h 366"/>
                  <a:gd name="T34" fmla="*/ 384 w 396"/>
                  <a:gd name="T35" fmla="*/ 125 h 366"/>
                  <a:gd name="T36" fmla="*/ 360 w 396"/>
                  <a:gd name="T37" fmla="*/ 126 h 366"/>
                  <a:gd name="T38" fmla="*/ 236 w 396"/>
                  <a:gd name="T39" fmla="*/ 244 h 366"/>
                  <a:gd name="T40" fmla="*/ 197 w 396"/>
                  <a:gd name="T41" fmla="*/ 252 h 366"/>
                  <a:gd name="T42" fmla="*/ 37 w 396"/>
                  <a:gd name="T43" fmla="*/ 155 h 366"/>
                  <a:gd name="T44" fmla="*/ 135 w 396"/>
                  <a:gd name="T45" fmla="*/ 110 h 366"/>
                  <a:gd name="T46" fmla="*/ 235 w 396"/>
                  <a:gd name="T47" fmla="*/ 105 h 366"/>
                  <a:gd name="T48" fmla="*/ 327 w 396"/>
                  <a:gd name="T49" fmla="*/ 77 h 366"/>
                  <a:gd name="T50" fmla="*/ 366 w 396"/>
                  <a:gd name="T51" fmla="*/ 36 h 366"/>
                  <a:gd name="T52" fmla="*/ 354 w 396"/>
                  <a:gd name="T53" fmla="*/ 32 h 366"/>
                  <a:gd name="T54" fmla="*/ 260 w 396"/>
                  <a:gd name="T55" fmla="*/ 45 h 366"/>
                  <a:gd name="T56" fmla="*/ 163 w 396"/>
                  <a:gd name="T57" fmla="*/ 13 h 366"/>
                  <a:gd name="T58" fmla="*/ 55 w 396"/>
                  <a:gd name="T59" fmla="*/ 4 h 366"/>
                  <a:gd name="T60" fmla="*/ 0 w 396"/>
                  <a:gd name="T61" fmla="*/ 30 h 366"/>
                  <a:gd name="T62" fmla="*/ 18 w 396"/>
                  <a:gd name="T63" fmla="*/ 255 h 366"/>
                  <a:gd name="T64" fmla="*/ 32 w 396"/>
                  <a:gd name="T65" fmla="*/ 289 h 366"/>
                  <a:gd name="T66" fmla="*/ 42 w 396"/>
                  <a:gd name="T67" fmla="*/ 317 h 366"/>
                  <a:gd name="T68" fmla="*/ 122 w 396"/>
                  <a:gd name="T69" fmla="*/ 362 h 366"/>
                  <a:gd name="T70" fmla="*/ 132 w 396"/>
                  <a:gd name="T71" fmla="*/ 366 h 366"/>
                  <a:gd name="T72" fmla="*/ 137 w 396"/>
                  <a:gd name="T73" fmla="*/ 298 h 366"/>
                  <a:gd name="T74" fmla="*/ 38 w 396"/>
                  <a:gd name="T75" fmla="*/ 275 h 366"/>
                  <a:gd name="T76" fmla="*/ 31 w 396"/>
                  <a:gd name="T77" fmla="*/ 267 h 366"/>
                  <a:gd name="T78" fmla="*/ 38 w 396"/>
                  <a:gd name="T79" fmla="*/ 259 h 366"/>
                  <a:gd name="T80" fmla="*/ 197 w 396"/>
                  <a:gd name="T81" fmla="*/ 282 h 366"/>
                  <a:gd name="T82" fmla="*/ 203 w 396"/>
                  <a:gd name="T83" fmla="*/ 366 h 366"/>
                  <a:gd name="T84" fmla="*/ 213 w 396"/>
                  <a:gd name="T85" fmla="*/ 362 h 366"/>
                  <a:gd name="T86" fmla="*/ 224 w 396"/>
                  <a:gd name="T87" fmla="*/ 263 h 366"/>
                  <a:gd name="T88" fmla="*/ 301 w 396"/>
                  <a:gd name="T89" fmla="*/ 258 h 366"/>
                  <a:gd name="T90" fmla="*/ 371 w 396"/>
                  <a:gd name="T91" fmla="*/ 137 h 366"/>
                  <a:gd name="T92" fmla="*/ 380 w 396"/>
                  <a:gd name="T93" fmla="*/ 142 h 366"/>
                  <a:gd name="T94" fmla="*/ 319 w 396"/>
                  <a:gd name="T95" fmla="*/ 267 h 366"/>
                  <a:gd name="T96" fmla="*/ 324 w 396"/>
                  <a:gd name="T97" fmla="*/ 366 h 366"/>
                  <a:gd name="T98" fmla="*/ 335 w 396"/>
                  <a:gd name="T99" fmla="*/ 362 h 366"/>
                  <a:gd name="T100" fmla="*/ 395 w 396"/>
                  <a:gd name="T101" fmla="*/ 150 h 366"/>
                  <a:gd name="T102" fmla="*/ 114 w 396"/>
                  <a:gd name="T103" fmla="*/ 290 h 366"/>
                  <a:gd name="T104" fmla="*/ 122 w 396"/>
                  <a:gd name="T105" fmla="*/ 298 h 366"/>
                  <a:gd name="T106" fmla="*/ 47 w 396"/>
                  <a:gd name="T107" fmla="*/ 303 h 366"/>
                  <a:gd name="T108" fmla="*/ 47 w 396"/>
                  <a:gd name="T109" fmla="*/ 293 h 366"/>
                  <a:gd name="T110" fmla="*/ 15 w 396"/>
                  <a:gd name="T111" fmla="*/ 35 h 366"/>
                  <a:gd name="T112" fmla="*/ 128 w 396"/>
                  <a:gd name="T113" fmla="*/ 19 h 366"/>
                  <a:gd name="T114" fmla="*/ 237 w 396"/>
                  <a:gd name="T115" fmla="*/ 57 h 366"/>
                  <a:gd name="T116" fmla="*/ 307 w 396"/>
                  <a:gd name="T117" fmla="*/ 71 h 366"/>
                  <a:gd name="T118" fmla="*/ 190 w 396"/>
                  <a:gd name="T119" fmla="*/ 91 h 366"/>
                  <a:gd name="T120" fmla="*/ 81 w 396"/>
                  <a:gd name="T121" fmla="*/ 10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6" h="366">
                    <a:moveTo>
                      <a:pt x="213" y="184"/>
                    </a:moveTo>
                    <a:lnTo>
                      <a:pt x="217" y="201"/>
                    </a:lnTo>
                    <a:lnTo>
                      <a:pt x="227" y="216"/>
                    </a:lnTo>
                    <a:lnTo>
                      <a:pt x="241" y="226"/>
                    </a:lnTo>
                    <a:lnTo>
                      <a:pt x="259" y="228"/>
                    </a:lnTo>
                    <a:lnTo>
                      <a:pt x="277" y="226"/>
                    </a:lnTo>
                    <a:lnTo>
                      <a:pt x="291" y="216"/>
                    </a:lnTo>
                    <a:lnTo>
                      <a:pt x="301" y="201"/>
                    </a:lnTo>
                    <a:lnTo>
                      <a:pt x="304" y="184"/>
                    </a:lnTo>
                    <a:lnTo>
                      <a:pt x="301" y="166"/>
                    </a:lnTo>
                    <a:lnTo>
                      <a:pt x="291" y="151"/>
                    </a:lnTo>
                    <a:lnTo>
                      <a:pt x="277" y="141"/>
                    </a:lnTo>
                    <a:lnTo>
                      <a:pt x="259" y="137"/>
                    </a:lnTo>
                    <a:lnTo>
                      <a:pt x="241" y="141"/>
                    </a:lnTo>
                    <a:lnTo>
                      <a:pt x="227" y="151"/>
                    </a:lnTo>
                    <a:lnTo>
                      <a:pt x="217" y="166"/>
                    </a:lnTo>
                    <a:lnTo>
                      <a:pt x="213" y="184"/>
                    </a:lnTo>
                    <a:close/>
                    <a:moveTo>
                      <a:pt x="289" y="184"/>
                    </a:moveTo>
                    <a:lnTo>
                      <a:pt x="287" y="195"/>
                    </a:lnTo>
                    <a:lnTo>
                      <a:pt x="281" y="204"/>
                    </a:lnTo>
                    <a:lnTo>
                      <a:pt x="271" y="212"/>
                    </a:lnTo>
                    <a:lnTo>
                      <a:pt x="259" y="213"/>
                    </a:lnTo>
                    <a:lnTo>
                      <a:pt x="248" y="212"/>
                    </a:lnTo>
                    <a:lnTo>
                      <a:pt x="237" y="204"/>
                    </a:lnTo>
                    <a:lnTo>
                      <a:pt x="231" y="195"/>
                    </a:lnTo>
                    <a:lnTo>
                      <a:pt x="228" y="184"/>
                    </a:lnTo>
                    <a:lnTo>
                      <a:pt x="231" y="171"/>
                    </a:lnTo>
                    <a:lnTo>
                      <a:pt x="237" y="162"/>
                    </a:lnTo>
                    <a:lnTo>
                      <a:pt x="248" y="155"/>
                    </a:lnTo>
                    <a:lnTo>
                      <a:pt x="259" y="153"/>
                    </a:lnTo>
                    <a:lnTo>
                      <a:pt x="271" y="155"/>
                    </a:lnTo>
                    <a:lnTo>
                      <a:pt x="281" y="162"/>
                    </a:lnTo>
                    <a:lnTo>
                      <a:pt x="287" y="171"/>
                    </a:lnTo>
                    <a:lnTo>
                      <a:pt x="289" y="184"/>
                    </a:lnTo>
                    <a:close/>
                    <a:moveTo>
                      <a:pt x="153" y="137"/>
                    </a:moveTo>
                    <a:lnTo>
                      <a:pt x="135" y="141"/>
                    </a:lnTo>
                    <a:lnTo>
                      <a:pt x="119" y="151"/>
                    </a:lnTo>
                    <a:lnTo>
                      <a:pt x="110" y="166"/>
                    </a:lnTo>
                    <a:lnTo>
                      <a:pt x="106" y="184"/>
                    </a:lnTo>
                    <a:lnTo>
                      <a:pt x="110" y="201"/>
                    </a:lnTo>
                    <a:lnTo>
                      <a:pt x="119" y="216"/>
                    </a:lnTo>
                    <a:lnTo>
                      <a:pt x="135" y="226"/>
                    </a:lnTo>
                    <a:lnTo>
                      <a:pt x="153" y="228"/>
                    </a:lnTo>
                    <a:lnTo>
                      <a:pt x="171" y="226"/>
                    </a:lnTo>
                    <a:lnTo>
                      <a:pt x="185" y="216"/>
                    </a:lnTo>
                    <a:lnTo>
                      <a:pt x="194" y="201"/>
                    </a:lnTo>
                    <a:lnTo>
                      <a:pt x="197" y="184"/>
                    </a:lnTo>
                    <a:lnTo>
                      <a:pt x="194" y="166"/>
                    </a:lnTo>
                    <a:lnTo>
                      <a:pt x="185" y="151"/>
                    </a:lnTo>
                    <a:lnTo>
                      <a:pt x="171" y="141"/>
                    </a:lnTo>
                    <a:lnTo>
                      <a:pt x="153" y="137"/>
                    </a:lnTo>
                    <a:close/>
                    <a:moveTo>
                      <a:pt x="153" y="213"/>
                    </a:moveTo>
                    <a:lnTo>
                      <a:pt x="140" y="212"/>
                    </a:lnTo>
                    <a:lnTo>
                      <a:pt x="131" y="204"/>
                    </a:lnTo>
                    <a:lnTo>
                      <a:pt x="124" y="195"/>
                    </a:lnTo>
                    <a:lnTo>
                      <a:pt x="122" y="184"/>
                    </a:lnTo>
                    <a:lnTo>
                      <a:pt x="124" y="171"/>
                    </a:lnTo>
                    <a:lnTo>
                      <a:pt x="131" y="162"/>
                    </a:lnTo>
                    <a:lnTo>
                      <a:pt x="140" y="155"/>
                    </a:lnTo>
                    <a:lnTo>
                      <a:pt x="153" y="153"/>
                    </a:lnTo>
                    <a:lnTo>
                      <a:pt x="164" y="155"/>
                    </a:lnTo>
                    <a:lnTo>
                      <a:pt x="173" y="162"/>
                    </a:lnTo>
                    <a:lnTo>
                      <a:pt x="181" y="171"/>
                    </a:lnTo>
                    <a:lnTo>
                      <a:pt x="182" y="184"/>
                    </a:lnTo>
                    <a:lnTo>
                      <a:pt x="181" y="195"/>
                    </a:lnTo>
                    <a:lnTo>
                      <a:pt x="173" y="204"/>
                    </a:lnTo>
                    <a:lnTo>
                      <a:pt x="164" y="212"/>
                    </a:lnTo>
                    <a:lnTo>
                      <a:pt x="153" y="213"/>
                    </a:lnTo>
                    <a:close/>
                    <a:moveTo>
                      <a:pt x="395" y="139"/>
                    </a:moveTo>
                    <a:lnTo>
                      <a:pt x="392" y="133"/>
                    </a:lnTo>
                    <a:lnTo>
                      <a:pt x="389" y="128"/>
                    </a:lnTo>
                    <a:lnTo>
                      <a:pt x="384" y="125"/>
                    </a:lnTo>
                    <a:lnTo>
                      <a:pt x="378" y="123"/>
                    </a:lnTo>
                    <a:lnTo>
                      <a:pt x="372" y="122"/>
                    </a:lnTo>
                    <a:lnTo>
                      <a:pt x="367" y="123"/>
                    </a:lnTo>
                    <a:lnTo>
                      <a:pt x="360" y="126"/>
                    </a:lnTo>
                    <a:lnTo>
                      <a:pt x="357" y="130"/>
                    </a:lnTo>
                    <a:lnTo>
                      <a:pt x="353" y="135"/>
                    </a:lnTo>
                    <a:lnTo>
                      <a:pt x="292" y="244"/>
                    </a:lnTo>
                    <a:lnTo>
                      <a:pt x="236" y="244"/>
                    </a:lnTo>
                    <a:lnTo>
                      <a:pt x="224" y="246"/>
                    </a:lnTo>
                    <a:lnTo>
                      <a:pt x="214" y="252"/>
                    </a:lnTo>
                    <a:lnTo>
                      <a:pt x="205" y="259"/>
                    </a:lnTo>
                    <a:lnTo>
                      <a:pt x="197" y="252"/>
                    </a:lnTo>
                    <a:lnTo>
                      <a:pt x="187" y="246"/>
                    </a:lnTo>
                    <a:lnTo>
                      <a:pt x="174" y="244"/>
                    </a:lnTo>
                    <a:lnTo>
                      <a:pt x="52" y="244"/>
                    </a:lnTo>
                    <a:lnTo>
                      <a:pt x="37" y="155"/>
                    </a:lnTo>
                    <a:lnTo>
                      <a:pt x="58" y="137"/>
                    </a:lnTo>
                    <a:lnTo>
                      <a:pt x="81" y="123"/>
                    </a:lnTo>
                    <a:lnTo>
                      <a:pt x="106" y="116"/>
                    </a:lnTo>
                    <a:lnTo>
                      <a:pt x="135" y="110"/>
                    </a:lnTo>
                    <a:lnTo>
                      <a:pt x="163" y="108"/>
                    </a:lnTo>
                    <a:lnTo>
                      <a:pt x="190" y="107"/>
                    </a:lnTo>
                    <a:lnTo>
                      <a:pt x="212" y="107"/>
                    </a:lnTo>
                    <a:lnTo>
                      <a:pt x="235" y="105"/>
                    </a:lnTo>
                    <a:lnTo>
                      <a:pt x="258" y="101"/>
                    </a:lnTo>
                    <a:lnTo>
                      <a:pt x="282" y="96"/>
                    </a:lnTo>
                    <a:lnTo>
                      <a:pt x="305" y="89"/>
                    </a:lnTo>
                    <a:lnTo>
                      <a:pt x="327" y="77"/>
                    </a:lnTo>
                    <a:lnTo>
                      <a:pt x="346" y="62"/>
                    </a:lnTo>
                    <a:lnTo>
                      <a:pt x="364" y="42"/>
                    </a:lnTo>
                    <a:lnTo>
                      <a:pt x="366" y="40"/>
                    </a:lnTo>
                    <a:lnTo>
                      <a:pt x="366" y="36"/>
                    </a:lnTo>
                    <a:lnTo>
                      <a:pt x="363" y="33"/>
                    </a:lnTo>
                    <a:lnTo>
                      <a:pt x="360" y="31"/>
                    </a:lnTo>
                    <a:lnTo>
                      <a:pt x="357" y="31"/>
                    </a:lnTo>
                    <a:lnTo>
                      <a:pt x="354" y="32"/>
                    </a:lnTo>
                    <a:lnTo>
                      <a:pt x="333" y="41"/>
                    </a:lnTo>
                    <a:lnTo>
                      <a:pt x="310" y="46"/>
                    </a:lnTo>
                    <a:lnTo>
                      <a:pt x="286" y="48"/>
                    </a:lnTo>
                    <a:lnTo>
                      <a:pt x="260" y="45"/>
                    </a:lnTo>
                    <a:lnTo>
                      <a:pt x="235" y="40"/>
                    </a:lnTo>
                    <a:lnTo>
                      <a:pt x="209" y="32"/>
                    </a:lnTo>
                    <a:lnTo>
                      <a:pt x="186" y="22"/>
                    </a:lnTo>
                    <a:lnTo>
                      <a:pt x="163" y="13"/>
                    </a:lnTo>
                    <a:lnTo>
                      <a:pt x="137" y="5"/>
                    </a:lnTo>
                    <a:lnTo>
                      <a:pt x="110" y="1"/>
                    </a:lnTo>
                    <a:lnTo>
                      <a:pt x="82" y="0"/>
                    </a:lnTo>
                    <a:lnTo>
                      <a:pt x="55" y="4"/>
                    </a:lnTo>
                    <a:lnTo>
                      <a:pt x="28" y="12"/>
                    </a:lnTo>
                    <a:lnTo>
                      <a:pt x="4" y="24"/>
                    </a:lnTo>
                    <a:lnTo>
                      <a:pt x="1" y="27"/>
                    </a:lnTo>
                    <a:lnTo>
                      <a:pt x="0" y="30"/>
                    </a:lnTo>
                    <a:lnTo>
                      <a:pt x="0" y="32"/>
                    </a:lnTo>
                    <a:lnTo>
                      <a:pt x="37" y="244"/>
                    </a:lnTo>
                    <a:lnTo>
                      <a:pt x="26" y="248"/>
                    </a:lnTo>
                    <a:lnTo>
                      <a:pt x="18" y="255"/>
                    </a:lnTo>
                    <a:lnTo>
                      <a:pt x="15" y="267"/>
                    </a:lnTo>
                    <a:lnTo>
                      <a:pt x="18" y="277"/>
                    </a:lnTo>
                    <a:lnTo>
                      <a:pt x="23" y="285"/>
                    </a:lnTo>
                    <a:lnTo>
                      <a:pt x="32" y="289"/>
                    </a:lnTo>
                    <a:lnTo>
                      <a:pt x="31" y="293"/>
                    </a:lnTo>
                    <a:lnTo>
                      <a:pt x="31" y="298"/>
                    </a:lnTo>
                    <a:lnTo>
                      <a:pt x="33" y="309"/>
                    </a:lnTo>
                    <a:lnTo>
                      <a:pt x="42" y="317"/>
                    </a:lnTo>
                    <a:lnTo>
                      <a:pt x="54" y="321"/>
                    </a:lnTo>
                    <a:lnTo>
                      <a:pt x="122" y="321"/>
                    </a:lnTo>
                    <a:lnTo>
                      <a:pt x="122" y="358"/>
                    </a:lnTo>
                    <a:lnTo>
                      <a:pt x="122" y="362"/>
                    </a:lnTo>
                    <a:lnTo>
                      <a:pt x="124" y="363"/>
                    </a:lnTo>
                    <a:lnTo>
                      <a:pt x="127" y="366"/>
                    </a:lnTo>
                    <a:lnTo>
                      <a:pt x="129" y="366"/>
                    </a:lnTo>
                    <a:lnTo>
                      <a:pt x="132" y="366"/>
                    </a:lnTo>
                    <a:lnTo>
                      <a:pt x="135" y="363"/>
                    </a:lnTo>
                    <a:lnTo>
                      <a:pt x="136" y="362"/>
                    </a:lnTo>
                    <a:lnTo>
                      <a:pt x="137" y="358"/>
                    </a:lnTo>
                    <a:lnTo>
                      <a:pt x="137" y="298"/>
                    </a:lnTo>
                    <a:lnTo>
                      <a:pt x="133" y="286"/>
                    </a:lnTo>
                    <a:lnTo>
                      <a:pt x="126" y="277"/>
                    </a:lnTo>
                    <a:lnTo>
                      <a:pt x="114" y="275"/>
                    </a:lnTo>
                    <a:lnTo>
                      <a:pt x="38" y="275"/>
                    </a:lnTo>
                    <a:lnTo>
                      <a:pt x="35" y="273"/>
                    </a:lnTo>
                    <a:lnTo>
                      <a:pt x="32" y="272"/>
                    </a:lnTo>
                    <a:lnTo>
                      <a:pt x="31" y="269"/>
                    </a:lnTo>
                    <a:lnTo>
                      <a:pt x="31" y="267"/>
                    </a:lnTo>
                    <a:lnTo>
                      <a:pt x="31" y="264"/>
                    </a:lnTo>
                    <a:lnTo>
                      <a:pt x="32" y="262"/>
                    </a:lnTo>
                    <a:lnTo>
                      <a:pt x="35" y="261"/>
                    </a:lnTo>
                    <a:lnTo>
                      <a:pt x="38" y="259"/>
                    </a:lnTo>
                    <a:lnTo>
                      <a:pt x="174" y="259"/>
                    </a:lnTo>
                    <a:lnTo>
                      <a:pt x="186" y="263"/>
                    </a:lnTo>
                    <a:lnTo>
                      <a:pt x="195" y="271"/>
                    </a:lnTo>
                    <a:lnTo>
                      <a:pt x="197" y="282"/>
                    </a:lnTo>
                    <a:lnTo>
                      <a:pt x="197" y="358"/>
                    </a:lnTo>
                    <a:lnTo>
                      <a:pt x="199" y="362"/>
                    </a:lnTo>
                    <a:lnTo>
                      <a:pt x="200" y="363"/>
                    </a:lnTo>
                    <a:lnTo>
                      <a:pt x="203" y="366"/>
                    </a:lnTo>
                    <a:lnTo>
                      <a:pt x="205" y="366"/>
                    </a:lnTo>
                    <a:lnTo>
                      <a:pt x="209" y="366"/>
                    </a:lnTo>
                    <a:lnTo>
                      <a:pt x="210" y="363"/>
                    </a:lnTo>
                    <a:lnTo>
                      <a:pt x="213" y="362"/>
                    </a:lnTo>
                    <a:lnTo>
                      <a:pt x="213" y="358"/>
                    </a:lnTo>
                    <a:lnTo>
                      <a:pt x="213" y="282"/>
                    </a:lnTo>
                    <a:lnTo>
                      <a:pt x="217" y="271"/>
                    </a:lnTo>
                    <a:lnTo>
                      <a:pt x="224" y="263"/>
                    </a:lnTo>
                    <a:lnTo>
                      <a:pt x="236" y="259"/>
                    </a:lnTo>
                    <a:lnTo>
                      <a:pt x="296" y="259"/>
                    </a:lnTo>
                    <a:lnTo>
                      <a:pt x="300" y="259"/>
                    </a:lnTo>
                    <a:lnTo>
                      <a:pt x="301" y="258"/>
                    </a:lnTo>
                    <a:lnTo>
                      <a:pt x="304" y="255"/>
                    </a:lnTo>
                    <a:lnTo>
                      <a:pt x="367" y="141"/>
                    </a:lnTo>
                    <a:lnTo>
                      <a:pt x="368" y="139"/>
                    </a:lnTo>
                    <a:lnTo>
                      <a:pt x="371" y="137"/>
                    </a:lnTo>
                    <a:lnTo>
                      <a:pt x="373" y="137"/>
                    </a:lnTo>
                    <a:lnTo>
                      <a:pt x="377" y="139"/>
                    </a:lnTo>
                    <a:lnTo>
                      <a:pt x="378" y="140"/>
                    </a:lnTo>
                    <a:lnTo>
                      <a:pt x="380" y="142"/>
                    </a:lnTo>
                    <a:lnTo>
                      <a:pt x="381" y="146"/>
                    </a:lnTo>
                    <a:lnTo>
                      <a:pt x="380" y="149"/>
                    </a:lnTo>
                    <a:lnTo>
                      <a:pt x="321" y="263"/>
                    </a:lnTo>
                    <a:lnTo>
                      <a:pt x="319" y="267"/>
                    </a:lnTo>
                    <a:lnTo>
                      <a:pt x="319" y="358"/>
                    </a:lnTo>
                    <a:lnTo>
                      <a:pt x="321" y="362"/>
                    </a:lnTo>
                    <a:lnTo>
                      <a:pt x="322" y="363"/>
                    </a:lnTo>
                    <a:lnTo>
                      <a:pt x="324" y="366"/>
                    </a:lnTo>
                    <a:lnTo>
                      <a:pt x="327" y="366"/>
                    </a:lnTo>
                    <a:lnTo>
                      <a:pt x="330" y="366"/>
                    </a:lnTo>
                    <a:lnTo>
                      <a:pt x="332" y="363"/>
                    </a:lnTo>
                    <a:lnTo>
                      <a:pt x="335" y="362"/>
                    </a:lnTo>
                    <a:lnTo>
                      <a:pt x="335" y="358"/>
                    </a:lnTo>
                    <a:lnTo>
                      <a:pt x="335" y="268"/>
                    </a:lnTo>
                    <a:lnTo>
                      <a:pt x="394" y="155"/>
                    </a:lnTo>
                    <a:lnTo>
                      <a:pt x="395" y="150"/>
                    </a:lnTo>
                    <a:lnTo>
                      <a:pt x="396" y="144"/>
                    </a:lnTo>
                    <a:lnTo>
                      <a:pt x="395" y="139"/>
                    </a:lnTo>
                    <a:close/>
                    <a:moveTo>
                      <a:pt x="54" y="290"/>
                    </a:moveTo>
                    <a:lnTo>
                      <a:pt x="114" y="290"/>
                    </a:lnTo>
                    <a:lnTo>
                      <a:pt x="117" y="290"/>
                    </a:lnTo>
                    <a:lnTo>
                      <a:pt x="119" y="293"/>
                    </a:lnTo>
                    <a:lnTo>
                      <a:pt x="120" y="294"/>
                    </a:lnTo>
                    <a:lnTo>
                      <a:pt x="122" y="298"/>
                    </a:lnTo>
                    <a:lnTo>
                      <a:pt x="122" y="305"/>
                    </a:lnTo>
                    <a:lnTo>
                      <a:pt x="54" y="305"/>
                    </a:lnTo>
                    <a:lnTo>
                      <a:pt x="50" y="304"/>
                    </a:lnTo>
                    <a:lnTo>
                      <a:pt x="47" y="303"/>
                    </a:lnTo>
                    <a:lnTo>
                      <a:pt x="46" y="300"/>
                    </a:lnTo>
                    <a:lnTo>
                      <a:pt x="46" y="298"/>
                    </a:lnTo>
                    <a:lnTo>
                      <a:pt x="46" y="294"/>
                    </a:lnTo>
                    <a:lnTo>
                      <a:pt x="47" y="293"/>
                    </a:lnTo>
                    <a:lnTo>
                      <a:pt x="50" y="290"/>
                    </a:lnTo>
                    <a:lnTo>
                      <a:pt x="54" y="290"/>
                    </a:lnTo>
                    <a:close/>
                    <a:moveTo>
                      <a:pt x="33" y="136"/>
                    </a:moveTo>
                    <a:lnTo>
                      <a:pt x="15" y="35"/>
                    </a:lnTo>
                    <a:lnTo>
                      <a:pt x="42" y="23"/>
                    </a:lnTo>
                    <a:lnTo>
                      <a:pt x="70" y="17"/>
                    </a:lnTo>
                    <a:lnTo>
                      <a:pt x="99" y="15"/>
                    </a:lnTo>
                    <a:lnTo>
                      <a:pt x="128" y="19"/>
                    </a:lnTo>
                    <a:lnTo>
                      <a:pt x="155" y="26"/>
                    </a:lnTo>
                    <a:lnTo>
                      <a:pt x="180" y="36"/>
                    </a:lnTo>
                    <a:lnTo>
                      <a:pt x="206" y="48"/>
                    </a:lnTo>
                    <a:lnTo>
                      <a:pt x="237" y="57"/>
                    </a:lnTo>
                    <a:lnTo>
                      <a:pt x="267" y="62"/>
                    </a:lnTo>
                    <a:lnTo>
                      <a:pt x="298" y="63"/>
                    </a:lnTo>
                    <a:lnTo>
                      <a:pt x="326" y="59"/>
                    </a:lnTo>
                    <a:lnTo>
                      <a:pt x="307" y="71"/>
                    </a:lnTo>
                    <a:lnTo>
                      <a:pt x="283" y="81"/>
                    </a:lnTo>
                    <a:lnTo>
                      <a:pt x="256" y="87"/>
                    </a:lnTo>
                    <a:lnTo>
                      <a:pt x="226" y="91"/>
                    </a:lnTo>
                    <a:lnTo>
                      <a:pt x="190" y="91"/>
                    </a:lnTo>
                    <a:lnTo>
                      <a:pt x="163" y="92"/>
                    </a:lnTo>
                    <a:lnTo>
                      <a:pt x="135" y="95"/>
                    </a:lnTo>
                    <a:lnTo>
                      <a:pt x="106" y="100"/>
                    </a:lnTo>
                    <a:lnTo>
                      <a:pt x="81" y="108"/>
                    </a:lnTo>
                    <a:lnTo>
                      <a:pt x="55" y="119"/>
                    </a:lnTo>
                    <a:lnTo>
                      <a:pt x="33" y="136"/>
                    </a:lnTo>
                    <a:close/>
                  </a:path>
                </a:pathLst>
              </a:custGeom>
              <a:solidFill>
                <a:srgbClr val="FFFFFF"/>
              </a:solidFill>
              <a:ln w="0">
                <a:no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nvGrpSpPr>
          <p:cNvPr id="160" name="Group 169">
            <a:extLst>
              <a:ext uri="{FF2B5EF4-FFF2-40B4-BE49-F238E27FC236}">
                <a16:creationId xmlns:a16="http://schemas.microsoft.com/office/drawing/2014/main" id="{6193B503-9404-45ED-8460-988AB15D2A81}"/>
              </a:ext>
            </a:extLst>
          </p:cNvPr>
          <p:cNvGrpSpPr/>
          <p:nvPr/>
        </p:nvGrpSpPr>
        <p:grpSpPr>
          <a:xfrm>
            <a:off x="5501070" y="1215582"/>
            <a:ext cx="1453082" cy="1618559"/>
            <a:chOff x="1765345" y="3081309"/>
            <a:chExt cx="1395845" cy="1554804"/>
          </a:xfrm>
        </p:grpSpPr>
        <p:sp>
          <p:nvSpPr>
            <p:cNvPr id="161" name="TextBox 18">
              <a:extLst>
                <a:ext uri="{FF2B5EF4-FFF2-40B4-BE49-F238E27FC236}">
                  <a16:creationId xmlns:a16="http://schemas.microsoft.com/office/drawing/2014/main" id="{F0128733-2514-4D44-ACE4-8CF3290CBD88}"/>
                </a:ext>
              </a:extLst>
            </p:cNvPr>
            <p:cNvSpPr txBox="1">
              <a:spLocks/>
            </p:cNvSpPr>
            <p:nvPr>
              <p:custDataLst>
                <p:tags r:id="rId12"/>
              </p:custDataLst>
            </p:nvPr>
          </p:nvSpPr>
          <p:spPr>
            <a:xfrm>
              <a:off x="1765345" y="3081309"/>
              <a:ext cx="1395845" cy="1554804"/>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lvl1pPr marL="0" lvl="0" indent="0" defTabSz="895255" eaLnBrk="1" hangingPunct="1">
                <a:buClr>
                  <a:schemeClr val="tx2"/>
                </a:buClr>
                <a:defRPr sz="1568" baseline="0">
                  <a:latin typeface="+mn-lt"/>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buClr>
                  <a:srgbClr val="002960"/>
                </a:buClr>
                <a:defRPr/>
              </a:pPr>
              <a:r>
                <a:rPr lang="fr-FR" sz="1249" b="1" kern="0" dirty="0">
                  <a:solidFill>
                    <a:srgbClr val="333333">
                      <a:lumMod val="75000"/>
                    </a:srgbClr>
                  </a:solidFill>
                  <a:latin typeface="HelveticaNeueLTStd-Lt" panose="020B0403020202020204" pitchFamily="34" charset="0"/>
                  <a:ea typeface="ＭＳ Ｐゴシック"/>
                </a:rPr>
                <a:t>Centrée sur le client</a:t>
              </a:r>
            </a:p>
          </p:txBody>
        </p:sp>
        <p:sp>
          <p:nvSpPr>
            <p:cNvPr id="162" name="Oval 11">
              <a:extLst>
                <a:ext uri="{FF2B5EF4-FFF2-40B4-BE49-F238E27FC236}">
                  <a16:creationId xmlns:a16="http://schemas.microsoft.com/office/drawing/2014/main" id="{20E5E5D9-7F8E-4106-A1A1-CECF81DEF2A4}"/>
                </a:ext>
              </a:extLst>
            </p:cNvPr>
            <p:cNvSpPr txBox="1">
              <a:spLocks/>
            </p:cNvSpPr>
            <p:nvPr>
              <p:custDataLst>
                <p:tags r:id="rId13"/>
              </p:custDataLst>
            </p:nvPr>
          </p:nvSpPr>
          <p:spPr>
            <a:xfrm>
              <a:off x="1795823" y="3116913"/>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1</a:t>
              </a:r>
            </a:p>
          </p:txBody>
        </p:sp>
        <p:grpSp>
          <p:nvGrpSpPr>
            <p:cNvPr id="163" name="Group 151">
              <a:extLst>
                <a:ext uri="{FF2B5EF4-FFF2-40B4-BE49-F238E27FC236}">
                  <a16:creationId xmlns:a16="http://schemas.microsoft.com/office/drawing/2014/main" id="{B1749C92-E2BB-4A43-97B9-42CF4E33E510}"/>
                </a:ext>
              </a:extLst>
            </p:cNvPr>
            <p:cNvGrpSpPr/>
            <p:nvPr/>
          </p:nvGrpSpPr>
          <p:grpSpPr>
            <a:xfrm>
              <a:off x="2556508" y="4014745"/>
              <a:ext cx="536103" cy="530559"/>
              <a:chOff x="2188923" y="5469112"/>
              <a:chExt cx="536111" cy="530567"/>
            </a:xfrm>
          </p:grpSpPr>
          <p:sp>
            <p:nvSpPr>
              <p:cNvPr id="164" name="Oval 11">
                <a:extLst>
                  <a:ext uri="{FF2B5EF4-FFF2-40B4-BE49-F238E27FC236}">
                    <a16:creationId xmlns:a16="http://schemas.microsoft.com/office/drawing/2014/main" id="{CC2E9FF9-2B40-45DA-95F6-28929B1058ED}"/>
                  </a:ext>
                </a:extLst>
              </p:cNvPr>
              <p:cNvSpPr txBox="1"/>
              <p:nvPr>
                <p:custDataLst>
                  <p:tags r:id="rId14"/>
                </p:custDataLst>
              </p:nvPr>
            </p:nvSpPr>
            <p:spPr>
              <a:xfrm>
                <a:off x="2188923" y="5469112"/>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sp>
            <p:nvSpPr>
              <p:cNvPr id="165" name="Freeform 46">
                <a:extLst>
                  <a:ext uri="{FF2B5EF4-FFF2-40B4-BE49-F238E27FC236}">
                    <a16:creationId xmlns:a16="http://schemas.microsoft.com/office/drawing/2014/main" id="{15FEABA8-19CE-46D9-AD47-82B1377F9FE7}"/>
                  </a:ext>
                </a:extLst>
              </p:cNvPr>
              <p:cNvSpPr>
                <a:spLocks noEditPoints="1"/>
              </p:cNvSpPr>
              <p:nvPr/>
            </p:nvSpPr>
            <p:spPr bwMode="auto">
              <a:xfrm>
                <a:off x="2246965" y="5552435"/>
                <a:ext cx="430773" cy="313634"/>
              </a:xfrm>
              <a:custGeom>
                <a:avLst/>
                <a:gdLst>
                  <a:gd name="T0" fmla="*/ 430 w 457"/>
                  <a:gd name="T1" fmla="*/ 216 h 366"/>
                  <a:gd name="T2" fmla="*/ 436 w 457"/>
                  <a:gd name="T3" fmla="*/ 182 h 366"/>
                  <a:gd name="T4" fmla="*/ 402 w 457"/>
                  <a:gd name="T5" fmla="*/ 148 h 366"/>
                  <a:gd name="T6" fmla="*/ 407 w 457"/>
                  <a:gd name="T7" fmla="*/ 89 h 366"/>
                  <a:gd name="T8" fmla="*/ 329 w 457"/>
                  <a:gd name="T9" fmla="*/ 31 h 366"/>
                  <a:gd name="T10" fmla="*/ 249 w 457"/>
                  <a:gd name="T11" fmla="*/ 89 h 366"/>
                  <a:gd name="T12" fmla="*/ 255 w 457"/>
                  <a:gd name="T13" fmla="*/ 149 h 366"/>
                  <a:gd name="T14" fmla="*/ 222 w 457"/>
                  <a:gd name="T15" fmla="*/ 182 h 366"/>
                  <a:gd name="T16" fmla="*/ 227 w 457"/>
                  <a:gd name="T17" fmla="*/ 216 h 366"/>
                  <a:gd name="T18" fmla="*/ 257 w 457"/>
                  <a:gd name="T19" fmla="*/ 244 h 366"/>
                  <a:gd name="T20" fmla="*/ 190 w 457"/>
                  <a:gd name="T21" fmla="*/ 194 h 366"/>
                  <a:gd name="T22" fmla="*/ 234 w 457"/>
                  <a:gd name="T23" fmla="*/ 119 h 366"/>
                  <a:gd name="T24" fmla="*/ 227 w 457"/>
                  <a:gd name="T25" fmla="*/ 91 h 366"/>
                  <a:gd name="T26" fmla="*/ 184 w 457"/>
                  <a:gd name="T27" fmla="*/ 12 h 366"/>
                  <a:gd name="T28" fmla="*/ 90 w 457"/>
                  <a:gd name="T29" fmla="*/ 26 h 366"/>
                  <a:gd name="T30" fmla="*/ 58 w 457"/>
                  <a:gd name="T31" fmla="*/ 94 h 366"/>
                  <a:gd name="T32" fmla="*/ 59 w 457"/>
                  <a:gd name="T33" fmla="*/ 132 h 366"/>
                  <a:gd name="T34" fmla="*/ 99 w 457"/>
                  <a:gd name="T35" fmla="*/ 207 h 366"/>
                  <a:gd name="T36" fmla="*/ 19 w 457"/>
                  <a:gd name="T37" fmla="*/ 250 h 366"/>
                  <a:gd name="T38" fmla="*/ 0 w 457"/>
                  <a:gd name="T39" fmla="*/ 361 h 366"/>
                  <a:gd name="T40" fmla="*/ 285 w 457"/>
                  <a:gd name="T41" fmla="*/ 366 h 366"/>
                  <a:gd name="T42" fmla="*/ 285 w 457"/>
                  <a:gd name="T43" fmla="*/ 271 h 366"/>
                  <a:gd name="T44" fmla="*/ 298 w 457"/>
                  <a:gd name="T45" fmla="*/ 237 h 366"/>
                  <a:gd name="T46" fmla="*/ 248 w 457"/>
                  <a:gd name="T47" fmla="*/ 213 h 366"/>
                  <a:gd name="T48" fmla="*/ 261 w 457"/>
                  <a:gd name="T49" fmla="*/ 180 h 366"/>
                  <a:gd name="T50" fmla="*/ 264 w 457"/>
                  <a:gd name="T51" fmla="*/ 121 h 366"/>
                  <a:gd name="T52" fmla="*/ 289 w 457"/>
                  <a:gd name="T53" fmla="*/ 58 h 366"/>
                  <a:gd name="T54" fmla="*/ 382 w 457"/>
                  <a:gd name="T55" fmla="*/ 72 h 366"/>
                  <a:gd name="T56" fmla="*/ 390 w 457"/>
                  <a:gd name="T57" fmla="*/ 128 h 366"/>
                  <a:gd name="T58" fmla="*/ 397 w 457"/>
                  <a:gd name="T59" fmla="*/ 178 h 366"/>
                  <a:gd name="T60" fmla="*/ 409 w 457"/>
                  <a:gd name="T61" fmla="*/ 213 h 366"/>
                  <a:gd name="T62" fmla="*/ 359 w 457"/>
                  <a:gd name="T63" fmla="*/ 237 h 366"/>
                  <a:gd name="T64" fmla="*/ 433 w 457"/>
                  <a:gd name="T65" fmla="*/ 289 h 366"/>
                  <a:gd name="T66" fmla="*/ 309 w 457"/>
                  <a:gd name="T67" fmla="*/ 352 h 366"/>
                  <a:gd name="T68" fmla="*/ 307 w 457"/>
                  <a:gd name="T69" fmla="*/ 363 h 366"/>
                  <a:gd name="T70" fmla="*/ 454 w 457"/>
                  <a:gd name="T71" fmla="*/ 363 h 366"/>
                  <a:gd name="T72" fmla="*/ 444 w 457"/>
                  <a:gd name="T73" fmla="*/ 278 h 366"/>
                  <a:gd name="T74" fmla="*/ 18 w 457"/>
                  <a:gd name="T75" fmla="*/ 275 h 366"/>
                  <a:gd name="T76" fmla="*/ 99 w 457"/>
                  <a:gd name="T77" fmla="*/ 227 h 366"/>
                  <a:gd name="T78" fmla="*/ 113 w 457"/>
                  <a:gd name="T79" fmla="*/ 189 h 366"/>
                  <a:gd name="T80" fmla="*/ 81 w 457"/>
                  <a:gd name="T81" fmla="*/ 133 h 366"/>
                  <a:gd name="T82" fmla="*/ 68 w 457"/>
                  <a:gd name="T83" fmla="*/ 107 h 366"/>
                  <a:gd name="T84" fmla="*/ 76 w 457"/>
                  <a:gd name="T85" fmla="*/ 98 h 366"/>
                  <a:gd name="T86" fmla="*/ 107 w 457"/>
                  <a:gd name="T87" fmla="*/ 30 h 366"/>
                  <a:gd name="T88" fmla="*/ 181 w 457"/>
                  <a:gd name="T89" fmla="*/ 30 h 366"/>
                  <a:gd name="T90" fmla="*/ 212 w 457"/>
                  <a:gd name="T91" fmla="*/ 98 h 366"/>
                  <a:gd name="T92" fmla="*/ 221 w 457"/>
                  <a:gd name="T93" fmla="*/ 107 h 366"/>
                  <a:gd name="T94" fmla="*/ 208 w 457"/>
                  <a:gd name="T95" fmla="*/ 133 h 366"/>
                  <a:gd name="T96" fmla="*/ 176 w 457"/>
                  <a:gd name="T97" fmla="*/ 189 h 366"/>
                  <a:gd name="T98" fmla="*/ 189 w 457"/>
                  <a:gd name="T99" fmla="*/ 227 h 366"/>
                  <a:gd name="T100" fmla="*/ 271 w 457"/>
                  <a:gd name="T101" fmla="*/ 27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66">
                    <a:moveTo>
                      <a:pt x="429" y="267"/>
                    </a:moveTo>
                    <a:lnTo>
                      <a:pt x="386" y="241"/>
                    </a:lnTo>
                    <a:lnTo>
                      <a:pt x="403" y="235"/>
                    </a:lnTo>
                    <a:lnTo>
                      <a:pt x="418" y="226"/>
                    </a:lnTo>
                    <a:lnTo>
                      <a:pt x="430" y="216"/>
                    </a:lnTo>
                    <a:lnTo>
                      <a:pt x="438" y="203"/>
                    </a:lnTo>
                    <a:lnTo>
                      <a:pt x="440" y="190"/>
                    </a:lnTo>
                    <a:lnTo>
                      <a:pt x="440" y="186"/>
                    </a:lnTo>
                    <a:lnTo>
                      <a:pt x="439" y="184"/>
                    </a:lnTo>
                    <a:lnTo>
                      <a:pt x="436" y="182"/>
                    </a:lnTo>
                    <a:lnTo>
                      <a:pt x="433" y="182"/>
                    </a:lnTo>
                    <a:lnTo>
                      <a:pt x="420" y="180"/>
                    </a:lnTo>
                    <a:lnTo>
                      <a:pt x="411" y="172"/>
                    </a:lnTo>
                    <a:lnTo>
                      <a:pt x="403" y="160"/>
                    </a:lnTo>
                    <a:lnTo>
                      <a:pt x="402" y="148"/>
                    </a:lnTo>
                    <a:lnTo>
                      <a:pt x="402" y="141"/>
                    </a:lnTo>
                    <a:lnTo>
                      <a:pt x="404" y="133"/>
                    </a:lnTo>
                    <a:lnTo>
                      <a:pt x="408" y="122"/>
                    </a:lnTo>
                    <a:lnTo>
                      <a:pt x="411" y="109"/>
                    </a:lnTo>
                    <a:lnTo>
                      <a:pt x="407" y="89"/>
                    </a:lnTo>
                    <a:lnTo>
                      <a:pt x="399" y="69"/>
                    </a:lnTo>
                    <a:lnTo>
                      <a:pt x="386" y="54"/>
                    </a:lnTo>
                    <a:lnTo>
                      <a:pt x="370" y="41"/>
                    </a:lnTo>
                    <a:lnTo>
                      <a:pt x="350" y="33"/>
                    </a:lnTo>
                    <a:lnTo>
                      <a:pt x="329" y="31"/>
                    </a:lnTo>
                    <a:lnTo>
                      <a:pt x="307" y="33"/>
                    </a:lnTo>
                    <a:lnTo>
                      <a:pt x="288" y="41"/>
                    </a:lnTo>
                    <a:lnTo>
                      <a:pt x="271" y="54"/>
                    </a:lnTo>
                    <a:lnTo>
                      <a:pt x="258" y="69"/>
                    </a:lnTo>
                    <a:lnTo>
                      <a:pt x="249" y="89"/>
                    </a:lnTo>
                    <a:lnTo>
                      <a:pt x="246" y="109"/>
                    </a:lnTo>
                    <a:lnTo>
                      <a:pt x="248" y="122"/>
                    </a:lnTo>
                    <a:lnTo>
                      <a:pt x="253" y="133"/>
                    </a:lnTo>
                    <a:lnTo>
                      <a:pt x="255" y="141"/>
                    </a:lnTo>
                    <a:lnTo>
                      <a:pt x="255" y="149"/>
                    </a:lnTo>
                    <a:lnTo>
                      <a:pt x="253" y="162"/>
                    </a:lnTo>
                    <a:lnTo>
                      <a:pt x="248" y="172"/>
                    </a:lnTo>
                    <a:lnTo>
                      <a:pt x="238" y="180"/>
                    </a:lnTo>
                    <a:lnTo>
                      <a:pt x="225" y="182"/>
                    </a:lnTo>
                    <a:lnTo>
                      <a:pt x="222" y="182"/>
                    </a:lnTo>
                    <a:lnTo>
                      <a:pt x="220" y="184"/>
                    </a:lnTo>
                    <a:lnTo>
                      <a:pt x="218" y="186"/>
                    </a:lnTo>
                    <a:lnTo>
                      <a:pt x="217" y="190"/>
                    </a:lnTo>
                    <a:lnTo>
                      <a:pt x="221" y="203"/>
                    </a:lnTo>
                    <a:lnTo>
                      <a:pt x="227" y="216"/>
                    </a:lnTo>
                    <a:lnTo>
                      <a:pt x="239" y="226"/>
                    </a:lnTo>
                    <a:lnTo>
                      <a:pt x="253" y="235"/>
                    </a:lnTo>
                    <a:lnTo>
                      <a:pt x="271" y="241"/>
                    </a:lnTo>
                    <a:lnTo>
                      <a:pt x="262" y="246"/>
                    </a:lnTo>
                    <a:lnTo>
                      <a:pt x="257" y="244"/>
                    </a:lnTo>
                    <a:lnTo>
                      <a:pt x="236" y="237"/>
                    </a:lnTo>
                    <a:lnTo>
                      <a:pt x="217" y="227"/>
                    </a:lnTo>
                    <a:lnTo>
                      <a:pt x="202" y="217"/>
                    </a:lnTo>
                    <a:lnTo>
                      <a:pt x="190" y="207"/>
                    </a:lnTo>
                    <a:lnTo>
                      <a:pt x="190" y="194"/>
                    </a:lnTo>
                    <a:lnTo>
                      <a:pt x="203" y="180"/>
                    </a:lnTo>
                    <a:lnTo>
                      <a:pt x="213" y="162"/>
                    </a:lnTo>
                    <a:lnTo>
                      <a:pt x="221" y="141"/>
                    </a:lnTo>
                    <a:lnTo>
                      <a:pt x="229" y="132"/>
                    </a:lnTo>
                    <a:lnTo>
                      <a:pt x="234" y="119"/>
                    </a:lnTo>
                    <a:lnTo>
                      <a:pt x="236" y="107"/>
                    </a:lnTo>
                    <a:lnTo>
                      <a:pt x="235" y="103"/>
                    </a:lnTo>
                    <a:lnTo>
                      <a:pt x="234" y="98"/>
                    </a:lnTo>
                    <a:lnTo>
                      <a:pt x="231" y="94"/>
                    </a:lnTo>
                    <a:lnTo>
                      <a:pt x="227" y="91"/>
                    </a:lnTo>
                    <a:lnTo>
                      <a:pt x="225" y="89"/>
                    </a:lnTo>
                    <a:lnTo>
                      <a:pt x="221" y="64"/>
                    </a:lnTo>
                    <a:lnTo>
                      <a:pt x="212" y="44"/>
                    </a:lnTo>
                    <a:lnTo>
                      <a:pt x="199" y="26"/>
                    </a:lnTo>
                    <a:lnTo>
                      <a:pt x="184" y="12"/>
                    </a:lnTo>
                    <a:lnTo>
                      <a:pt x="166" y="4"/>
                    </a:lnTo>
                    <a:lnTo>
                      <a:pt x="144" y="0"/>
                    </a:lnTo>
                    <a:lnTo>
                      <a:pt x="123" y="4"/>
                    </a:lnTo>
                    <a:lnTo>
                      <a:pt x="105" y="12"/>
                    </a:lnTo>
                    <a:lnTo>
                      <a:pt x="90" y="26"/>
                    </a:lnTo>
                    <a:lnTo>
                      <a:pt x="77" y="44"/>
                    </a:lnTo>
                    <a:lnTo>
                      <a:pt x="68" y="64"/>
                    </a:lnTo>
                    <a:lnTo>
                      <a:pt x="64" y="89"/>
                    </a:lnTo>
                    <a:lnTo>
                      <a:pt x="62" y="91"/>
                    </a:lnTo>
                    <a:lnTo>
                      <a:pt x="58" y="94"/>
                    </a:lnTo>
                    <a:lnTo>
                      <a:pt x="55" y="98"/>
                    </a:lnTo>
                    <a:lnTo>
                      <a:pt x="54" y="103"/>
                    </a:lnTo>
                    <a:lnTo>
                      <a:pt x="53" y="107"/>
                    </a:lnTo>
                    <a:lnTo>
                      <a:pt x="55" y="119"/>
                    </a:lnTo>
                    <a:lnTo>
                      <a:pt x="59" y="132"/>
                    </a:lnTo>
                    <a:lnTo>
                      <a:pt x="68" y="141"/>
                    </a:lnTo>
                    <a:lnTo>
                      <a:pt x="75" y="162"/>
                    </a:lnTo>
                    <a:lnTo>
                      <a:pt x="86" y="180"/>
                    </a:lnTo>
                    <a:lnTo>
                      <a:pt x="99" y="194"/>
                    </a:lnTo>
                    <a:lnTo>
                      <a:pt x="99" y="207"/>
                    </a:lnTo>
                    <a:lnTo>
                      <a:pt x="87" y="217"/>
                    </a:lnTo>
                    <a:lnTo>
                      <a:pt x="72" y="227"/>
                    </a:lnTo>
                    <a:lnTo>
                      <a:pt x="53" y="237"/>
                    </a:lnTo>
                    <a:lnTo>
                      <a:pt x="32" y="244"/>
                    </a:lnTo>
                    <a:lnTo>
                      <a:pt x="19" y="250"/>
                    </a:lnTo>
                    <a:lnTo>
                      <a:pt x="9" y="261"/>
                    </a:lnTo>
                    <a:lnTo>
                      <a:pt x="1" y="273"/>
                    </a:lnTo>
                    <a:lnTo>
                      <a:pt x="0" y="287"/>
                    </a:lnTo>
                    <a:lnTo>
                      <a:pt x="0" y="358"/>
                    </a:lnTo>
                    <a:lnTo>
                      <a:pt x="0" y="361"/>
                    </a:lnTo>
                    <a:lnTo>
                      <a:pt x="1" y="363"/>
                    </a:lnTo>
                    <a:lnTo>
                      <a:pt x="4" y="366"/>
                    </a:lnTo>
                    <a:lnTo>
                      <a:pt x="8" y="366"/>
                    </a:lnTo>
                    <a:lnTo>
                      <a:pt x="281" y="366"/>
                    </a:lnTo>
                    <a:lnTo>
                      <a:pt x="285" y="366"/>
                    </a:lnTo>
                    <a:lnTo>
                      <a:pt x="286" y="363"/>
                    </a:lnTo>
                    <a:lnTo>
                      <a:pt x="289" y="362"/>
                    </a:lnTo>
                    <a:lnTo>
                      <a:pt x="289" y="358"/>
                    </a:lnTo>
                    <a:lnTo>
                      <a:pt x="289" y="287"/>
                    </a:lnTo>
                    <a:lnTo>
                      <a:pt x="285" y="271"/>
                    </a:lnTo>
                    <a:lnTo>
                      <a:pt x="276" y="255"/>
                    </a:lnTo>
                    <a:lnTo>
                      <a:pt x="294" y="245"/>
                    </a:lnTo>
                    <a:lnTo>
                      <a:pt x="297" y="244"/>
                    </a:lnTo>
                    <a:lnTo>
                      <a:pt x="298" y="241"/>
                    </a:lnTo>
                    <a:lnTo>
                      <a:pt x="298" y="237"/>
                    </a:lnTo>
                    <a:lnTo>
                      <a:pt x="297" y="235"/>
                    </a:lnTo>
                    <a:lnTo>
                      <a:pt x="294" y="232"/>
                    </a:lnTo>
                    <a:lnTo>
                      <a:pt x="291" y="231"/>
                    </a:lnTo>
                    <a:lnTo>
                      <a:pt x="267" y="223"/>
                    </a:lnTo>
                    <a:lnTo>
                      <a:pt x="248" y="213"/>
                    </a:lnTo>
                    <a:lnTo>
                      <a:pt x="241" y="208"/>
                    </a:lnTo>
                    <a:lnTo>
                      <a:pt x="236" y="201"/>
                    </a:lnTo>
                    <a:lnTo>
                      <a:pt x="234" y="196"/>
                    </a:lnTo>
                    <a:lnTo>
                      <a:pt x="249" y="190"/>
                    </a:lnTo>
                    <a:lnTo>
                      <a:pt x="261" y="180"/>
                    </a:lnTo>
                    <a:lnTo>
                      <a:pt x="268" y="164"/>
                    </a:lnTo>
                    <a:lnTo>
                      <a:pt x="271" y="149"/>
                    </a:lnTo>
                    <a:lnTo>
                      <a:pt x="270" y="139"/>
                    </a:lnTo>
                    <a:lnTo>
                      <a:pt x="267" y="128"/>
                    </a:lnTo>
                    <a:lnTo>
                      <a:pt x="264" y="121"/>
                    </a:lnTo>
                    <a:lnTo>
                      <a:pt x="262" y="114"/>
                    </a:lnTo>
                    <a:lnTo>
                      <a:pt x="262" y="109"/>
                    </a:lnTo>
                    <a:lnTo>
                      <a:pt x="266" y="90"/>
                    </a:lnTo>
                    <a:lnTo>
                      <a:pt x="275" y="72"/>
                    </a:lnTo>
                    <a:lnTo>
                      <a:pt x="289" y="58"/>
                    </a:lnTo>
                    <a:lnTo>
                      <a:pt x="307" y="49"/>
                    </a:lnTo>
                    <a:lnTo>
                      <a:pt x="329" y="46"/>
                    </a:lnTo>
                    <a:lnTo>
                      <a:pt x="349" y="49"/>
                    </a:lnTo>
                    <a:lnTo>
                      <a:pt x="368" y="58"/>
                    </a:lnTo>
                    <a:lnTo>
                      <a:pt x="382" y="72"/>
                    </a:lnTo>
                    <a:lnTo>
                      <a:pt x="391" y="90"/>
                    </a:lnTo>
                    <a:lnTo>
                      <a:pt x="395" y="109"/>
                    </a:lnTo>
                    <a:lnTo>
                      <a:pt x="394" y="114"/>
                    </a:lnTo>
                    <a:lnTo>
                      <a:pt x="393" y="121"/>
                    </a:lnTo>
                    <a:lnTo>
                      <a:pt x="390" y="128"/>
                    </a:lnTo>
                    <a:lnTo>
                      <a:pt x="388" y="135"/>
                    </a:lnTo>
                    <a:lnTo>
                      <a:pt x="386" y="141"/>
                    </a:lnTo>
                    <a:lnTo>
                      <a:pt x="386" y="148"/>
                    </a:lnTo>
                    <a:lnTo>
                      <a:pt x="389" y="164"/>
                    </a:lnTo>
                    <a:lnTo>
                      <a:pt x="397" y="178"/>
                    </a:lnTo>
                    <a:lnTo>
                      <a:pt x="408" y="190"/>
                    </a:lnTo>
                    <a:lnTo>
                      <a:pt x="424" y="196"/>
                    </a:lnTo>
                    <a:lnTo>
                      <a:pt x="421" y="201"/>
                    </a:lnTo>
                    <a:lnTo>
                      <a:pt x="416" y="208"/>
                    </a:lnTo>
                    <a:lnTo>
                      <a:pt x="409" y="213"/>
                    </a:lnTo>
                    <a:lnTo>
                      <a:pt x="390" y="223"/>
                    </a:lnTo>
                    <a:lnTo>
                      <a:pt x="366" y="231"/>
                    </a:lnTo>
                    <a:lnTo>
                      <a:pt x="362" y="232"/>
                    </a:lnTo>
                    <a:lnTo>
                      <a:pt x="361" y="235"/>
                    </a:lnTo>
                    <a:lnTo>
                      <a:pt x="359" y="237"/>
                    </a:lnTo>
                    <a:lnTo>
                      <a:pt x="359" y="241"/>
                    </a:lnTo>
                    <a:lnTo>
                      <a:pt x="361" y="244"/>
                    </a:lnTo>
                    <a:lnTo>
                      <a:pt x="363" y="245"/>
                    </a:lnTo>
                    <a:lnTo>
                      <a:pt x="421" y="280"/>
                    </a:lnTo>
                    <a:lnTo>
                      <a:pt x="433" y="289"/>
                    </a:lnTo>
                    <a:lnTo>
                      <a:pt x="439" y="300"/>
                    </a:lnTo>
                    <a:lnTo>
                      <a:pt x="442" y="314"/>
                    </a:lnTo>
                    <a:lnTo>
                      <a:pt x="442" y="350"/>
                    </a:lnTo>
                    <a:lnTo>
                      <a:pt x="312" y="350"/>
                    </a:lnTo>
                    <a:lnTo>
                      <a:pt x="309" y="352"/>
                    </a:lnTo>
                    <a:lnTo>
                      <a:pt x="307" y="353"/>
                    </a:lnTo>
                    <a:lnTo>
                      <a:pt x="306" y="355"/>
                    </a:lnTo>
                    <a:lnTo>
                      <a:pt x="304" y="358"/>
                    </a:lnTo>
                    <a:lnTo>
                      <a:pt x="306" y="362"/>
                    </a:lnTo>
                    <a:lnTo>
                      <a:pt x="307" y="363"/>
                    </a:lnTo>
                    <a:lnTo>
                      <a:pt x="309" y="366"/>
                    </a:lnTo>
                    <a:lnTo>
                      <a:pt x="312" y="366"/>
                    </a:lnTo>
                    <a:lnTo>
                      <a:pt x="449" y="366"/>
                    </a:lnTo>
                    <a:lnTo>
                      <a:pt x="452" y="366"/>
                    </a:lnTo>
                    <a:lnTo>
                      <a:pt x="454" y="363"/>
                    </a:lnTo>
                    <a:lnTo>
                      <a:pt x="456" y="362"/>
                    </a:lnTo>
                    <a:lnTo>
                      <a:pt x="457" y="358"/>
                    </a:lnTo>
                    <a:lnTo>
                      <a:pt x="457" y="314"/>
                    </a:lnTo>
                    <a:lnTo>
                      <a:pt x="453" y="295"/>
                    </a:lnTo>
                    <a:lnTo>
                      <a:pt x="444" y="278"/>
                    </a:lnTo>
                    <a:lnTo>
                      <a:pt x="429" y="267"/>
                    </a:lnTo>
                    <a:close/>
                    <a:moveTo>
                      <a:pt x="273" y="350"/>
                    </a:moveTo>
                    <a:lnTo>
                      <a:pt x="16" y="350"/>
                    </a:lnTo>
                    <a:lnTo>
                      <a:pt x="16" y="287"/>
                    </a:lnTo>
                    <a:lnTo>
                      <a:pt x="18" y="275"/>
                    </a:lnTo>
                    <a:lnTo>
                      <a:pt x="26" y="266"/>
                    </a:lnTo>
                    <a:lnTo>
                      <a:pt x="37" y="259"/>
                    </a:lnTo>
                    <a:lnTo>
                      <a:pt x="60" y="250"/>
                    </a:lnTo>
                    <a:lnTo>
                      <a:pt x="81" y="240"/>
                    </a:lnTo>
                    <a:lnTo>
                      <a:pt x="99" y="227"/>
                    </a:lnTo>
                    <a:lnTo>
                      <a:pt x="112" y="214"/>
                    </a:lnTo>
                    <a:lnTo>
                      <a:pt x="113" y="212"/>
                    </a:lnTo>
                    <a:lnTo>
                      <a:pt x="114" y="209"/>
                    </a:lnTo>
                    <a:lnTo>
                      <a:pt x="114" y="191"/>
                    </a:lnTo>
                    <a:lnTo>
                      <a:pt x="113" y="189"/>
                    </a:lnTo>
                    <a:lnTo>
                      <a:pt x="112" y="186"/>
                    </a:lnTo>
                    <a:lnTo>
                      <a:pt x="99" y="172"/>
                    </a:lnTo>
                    <a:lnTo>
                      <a:pt x="89" y="155"/>
                    </a:lnTo>
                    <a:lnTo>
                      <a:pt x="82" y="136"/>
                    </a:lnTo>
                    <a:lnTo>
                      <a:pt x="81" y="133"/>
                    </a:lnTo>
                    <a:lnTo>
                      <a:pt x="78" y="131"/>
                    </a:lnTo>
                    <a:lnTo>
                      <a:pt x="76" y="127"/>
                    </a:lnTo>
                    <a:lnTo>
                      <a:pt x="72" y="121"/>
                    </a:lnTo>
                    <a:lnTo>
                      <a:pt x="69" y="113"/>
                    </a:lnTo>
                    <a:lnTo>
                      <a:pt x="68" y="107"/>
                    </a:lnTo>
                    <a:lnTo>
                      <a:pt x="68" y="107"/>
                    </a:lnTo>
                    <a:lnTo>
                      <a:pt x="69" y="105"/>
                    </a:lnTo>
                    <a:lnTo>
                      <a:pt x="69" y="104"/>
                    </a:lnTo>
                    <a:lnTo>
                      <a:pt x="73" y="101"/>
                    </a:lnTo>
                    <a:lnTo>
                      <a:pt x="76" y="98"/>
                    </a:lnTo>
                    <a:lnTo>
                      <a:pt x="78" y="95"/>
                    </a:lnTo>
                    <a:lnTo>
                      <a:pt x="80" y="92"/>
                    </a:lnTo>
                    <a:lnTo>
                      <a:pt x="84" y="67"/>
                    </a:lnTo>
                    <a:lnTo>
                      <a:pt x="94" y="46"/>
                    </a:lnTo>
                    <a:lnTo>
                      <a:pt x="107" y="30"/>
                    </a:lnTo>
                    <a:lnTo>
                      <a:pt x="125" y="19"/>
                    </a:lnTo>
                    <a:lnTo>
                      <a:pt x="144" y="15"/>
                    </a:lnTo>
                    <a:lnTo>
                      <a:pt x="144" y="15"/>
                    </a:lnTo>
                    <a:lnTo>
                      <a:pt x="164" y="19"/>
                    </a:lnTo>
                    <a:lnTo>
                      <a:pt x="181" y="30"/>
                    </a:lnTo>
                    <a:lnTo>
                      <a:pt x="195" y="46"/>
                    </a:lnTo>
                    <a:lnTo>
                      <a:pt x="205" y="67"/>
                    </a:lnTo>
                    <a:lnTo>
                      <a:pt x="209" y="92"/>
                    </a:lnTo>
                    <a:lnTo>
                      <a:pt x="211" y="95"/>
                    </a:lnTo>
                    <a:lnTo>
                      <a:pt x="212" y="98"/>
                    </a:lnTo>
                    <a:lnTo>
                      <a:pt x="216" y="101"/>
                    </a:lnTo>
                    <a:lnTo>
                      <a:pt x="218" y="104"/>
                    </a:lnTo>
                    <a:lnTo>
                      <a:pt x="220" y="105"/>
                    </a:lnTo>
                    <a:lnTo>
                      <a:pt x="221" y="107"/>
                    </a:lnTo>
                    <a:lnTo>
                      <a:pt x="221" y="107"/>
                    </a:lnTo>
                    <a:lnTo>
                      <a:pt x="220" y="113"/>
                    </a:lnTo>
                    <a:lnTo>
                      <a:pt x="217" y="121"/>
                    </a:lnTo>
                    <a:lnTo>
                      <a:pt x="213" y="127"/>
                    </a:lnTo>
                    <a:lnTo>
                      <a:pt x="211" y="131"/>
                    </a:lnTo>
                    <a:lnTo>
                      <a:pt x="208" y="133"/>
                    </a:lnTo>
                    <a:lnTo>
                      <a:pt x="207" y="136"/>
                    </a:lnTo>
                    <a:lnTo>
                      <a:pt x="200" y="155"/>
                    </a:lnTo>
                    <a:lnTo>
                      <a:pt x="190" y="172"/>
                    </a:lnTo>
                    <a:lnTo>
                      <a:pt x="177" y="186"/>
                    </a:lnTo>
                    <a:lnTo>
                      <a:pt x="176" y="189"/>
                    </a:lnTo>
                    <a:lnTo>
                      <a:pt x="175" y="191"/>
                    </a:lnTo>
                    <a:lnTo>
                      <a:pt x="175" y="209"/>
                    </a:lnTo>
                    <a:lnTo>
                      <a:pt x="175" y="212"/>
                    </a:lnTo>
                    <a:lnTo>
                      <a:pt x="176" y="214"/>
                    </a:lnTo>
                    <a:lnTo>
                      <a:pt x="189" y="227"/>
                    </a:lnTo>
                    <a:lnTo>
                      <a:pt x="207" y="240"/>
                    </a:lnTo>
                    <a:lnTo>
                      <a:pt x="229" y="250"/>
                    </a:lnTo>
                    <a:lnTo>
                      <a:pt x="252" y="259"/>
                    </a:lnTo>
                    <a:lnTo>
                      <a:pt x="263" y="266"/>
                    </a:lnTo>
                    <a:lnTo>
                      <a:pt x="271" y="275"/>
                    </a:lnTo>
                    <a:lnTo>
                      <a:pt x="273" y="287"/>
                    </a:lnTo>
                    <a:lnTo>
                      <a:pt x="273" y="350"/>
                    </a:lnTo>
                    <a:close/>
                  </a:path>
                </a:pathLst>
              </a:custGeom>
              <a:solidFill>
                <a:srgbClr val="FFFFFF"/>
              </a:solidFill>
              <a:ln w="0">
                <a:noFill/>
                <a:prstDash val="solid"/>
                <a:round/>
                <a:headEnd/>
                <a:tailEnd/>
              </a:ln>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nvGrpSpPr>
          <p:cNvPr id="166" name="Group 163">
            <a:extLst>
              <a:ext uri="{FF2B5EF4-FFF2-40B4-BE49-F238E27FC236}">
                <a16:creationId xmlns:a16="http://schemas.microsoft.com/office/drawing/2014/main" id="{407BF993-7D83-488C-93CE-8F95FC0DE381}"/>
              </a:ext>
            </a:extLst>
          </p:cNvPr>
          <p:cNvGrpSpPr/>
          <p:nvPr/>
        </p:nvGrpSpPr>
        <p:grpSpPr>
          <a:xfrm>
            <a:off x="6301235" y="2967640"/>
            <a:ext cx="1453082" cy="1629782"/>
            <a:chOff x="7559841" y="3080757"/>
            <a:chExt cx="1395845" cy="1555356"/>
          </a:xfrm>
        </p:grpSpPr>
        <p:sp>
          <p:nvSpPr>
            <p:cNvPr id="167" name="TextBox 30">
              <a:extLst>
                <a:ext uri="{FF2B5EF4-FFF2-40B4-BE49-F238E27FC236}">
                  <a16:creationId xmlns:a16="http://schemas.microsoft.com/office/drawing/2014/main" id="{758F10E9-DC0E-48A1-BE6F-F143788F730E}"/>
                </a:ext>
              </a:extLst>
            </p:cNvPr>
            <p:cNvSpPr txBox="1">
              <a:spLocks/>
            </p:cNvSpPr>
            <p:nvPr>
              <p:custDataLst>
                <p:tags r:id="rId9"/>
              </p:custDataLst>
            </p:nvPr>
          </p:nvSpPr>
          <p:spPr>
            <a:xfrm>
              <a:off x="7559841" y="3080757"/>
              <a:ext cx="1395845" cy="1555356"/>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Performance mesurée par l’obtention de résultats</a:t>
              </a:r>
            </a:p>
          </p:txBody>
        </p:sp>
        <p:sp>
          <p:nvSpPr>
            <p:cNvPr id="168" name="Oval 11">
              <a:extLst>
                <a:ext uri="{FF2B5EF4-FFF2-40B4-BE49-F238E27FC236}">
                  <a16:creationId xmlns:a16="http://schemas.microsoft.com/office/drawing/2014/main" id="{5B3F778C-93BA-4CF5-9783-570CF1698F81}"/>
                </a:ext>
              </a:extLst>
            </p:cNvPr>
            <p:cNvSpPr txBox="1">
              <a:spLocks/>
            </p:cNvSpPr>
            <p:nvPr>
              <p:custDataLst>
                <p:tags r:id="rId10"/>
              </p:custDataLst>
            </p:nvPr>
          </p:nvSpPr>
          <p:spPr>
            <a:xfrm>
              <a:off x="7603148" y="3116913"/>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5</a:t>
              </a:r>
            </a:p>
          </p:txBody>
        </p:sp>
        <p:grpSp>
          <p:nvGrpSpPr>
            <p:cNvPr id="169" name="Group 155">
              <a:extLst>
                <a:ext uri="{FF2B5EF4-FFF2-40B4-BE49-F238E27FC236}">
                  <a16:creationId xmlns:a16="http://schemas.microsoft.com/office/drawing/2014/main" id="{98F79331-9409-4C20-9EE7-6DD9AA02316E}"/>
                </a:ext>
              </a:extLst>
            </p:cNvPr>
            <p:cNvGrpSpPr/>
            <p:nvPr/>
          </p:nvGrpSpPr>
          <p:grpSpPr>
            <a:xfrm>
              <a:off x="8351004" y="4014745"/>
              <a:ext cx="536103" cy="530559"/>
              <a:chOff x="7942803" y="5469112"/>
              <a:chExt cx="536111" cy="530567"/>
            </a:xfrm>
          </p:grpSpPr>
          <p:sp>
            <p:nvSpPr>
              <p:cNvPr id="170" name="Oval 11">
                <a:extLst>
                  <a:ext uri="{FF2B5EF4-FFF2-40B4-BE49-F238E27FC236}">
                    <a16:creationId xmlns:a16="http://schemas.microsoft.com/office/drawing/2014/main" id="{F0AEB447-171C-422E-B5A8-09196FE04525}"/>
                  </a:ext>
                </a:extLst>
              </p:cNvPr>
              <p:cNvSpPr txBox="1"/>
              <p:nvPr>
                <p:custDataLst>
                  <p:tags r:id="rId11"/>
                </p:custDataLst>
              </p:nvPr>
            </p:nvSpPr>
            <p:spPr>
              <a:xfrm>
                <a:off x="7942803" y="5469112"/>
                <a:ext cx="536111" cy="530567"/>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grpSp>
            <p:nvGrpSpPr>
              <p:cNvPr id="171" name="Group 130">
                <a:extLst>
                  <a:ext uri="{FF2B5EF4-FFF2-40B4-BE49-F238E27FC236}">
                    <a16:creationId xmlns:a16="http://schemas.microsoft.com/office/drawing/2014/main" id="{66734F9C-B04B-4C24-B6F1-BF828BBFFA39}"/>
                  </a:ext>
                </a:extLst>
              </p:cNvPr>
              <p:cNvGrpSpPr/>
              <p:nvPr/>
            </p:nvGrpSpPr>
            <p:grpSpPr>
              <a:xfrm>
                <a:off x="8043721" y="5518593"/>
                <a:ext cx="335490" cy="442948"/>
                <a:chOff x="8253906" y="-3292173"/>
                <a:chExt cx="1149350" cy="1379537"/>
              </a:xfrm>
              <a:solidFill>
                <a:srgbClr val="FFFFFF"/>
              </a:solidFill>
            </p:grpSpPr>
            <p:sp>
              <p:nvSpPr>
                <p:cNvPr id="172" name="Freeform 29">
                  <a:extLst>
                    <a:ext uri="{FF2B5EF4-FFF2-40B4-BE49-F238E27FC236}">
                      <a16:creationId xmlns:a16="http://schemas.microsoft.com/office/drawing/2014/main" id="{19745A1E-AD07-4AF0-B90A-5BD30AC3EAB6}"/>
                    </a:ext>
                  </a:extLst>
                </p:cNvPr>
                <p:cNvSpPr>
                  <a:spLocks noEditPoints="1"/>
                </p:cNvSpPr>
                <p:nvPr/>
              </p:nvSpPr>
              <p:spPr bwMode="auto">
                <a:xfrm>
                  <a:off x="8350744" y="-2915935"/>
                  <a:ext cx="241300" cy="241300"/>
                </a:xfrm>
                <a:custGeom>
                  <a:avLst/>
                  <a:gdLst>
                    <a:gd name="T0" fmla="*/ 68 w 136"/>
                    <a:gd name="T1" fmla="*/ 136 h 136"/>
                    <a:gd name="T2" fmla="*/ 136 w 136"/>
                    <a:gd name="T3" fmla="*/ 68 h 136"/>
                    <a:gd name="T4" fmla="*/ 68 w 136"/>
                    <a:gd name="T5" fmla="*/ 0 h 136"/>
                    <a:gd name="T6" fmla="*/ 0 w 136"/>
                    <a:gd name="T7" fmla="*/ 68 h 136"/>
                    <a:gd name="T8" fmla="*/ 68 w 136"/>
                    <a:gd name="T9" fmla="*/ 136 h 136"/>
                    <a:gd name="T10" fmla="*/ 68 w 136"/>
                    <a:gd name="T11" fmla="*/ 25 h 136"/>
                    <a:gd name="T12" fmla="*/ 111 w 136"/>
                    <a:gd name="T13" fmla="*/ 68 h 136"/>
                    <a:gd name="T14" fmla="*/ 68 w 136"/>
                    <a:gd name="T15" fmla="*/ 111 h 136"/>
                    <a:gd name="T16" fmla="*/ 25 w 136"/>
                    <a:gd name="T17" fmla="*/ 68 h 136"/>
                    <a:gd name="T18" fmla="*/ 68 w 136"/>
                    <a:gd name="T19" fmla="*/ 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136"/>
                      </a:moveTo>
                      <a:cubicBezTo>
                        <a:pt x="106" y="136"/>
                        <a:pt x="136" y="106"/>
                        <a:pt x="136" y="68"/>
                      </a:cubicBezTo>
                      <a:cubicBezTo>
                        <a:pt x="136" y="30"/>
                        <a:pt x="106" y="0"/>
                        <a:pt x="68" y="0"/>
                      </a:cubicBezTo>
                      <a:cubicBezTo>
                        <a:pt x="30" y="0"/>
                        <a:pt x="0" y="30"/>
                        <a:pt x="0" y="68"/>
                      </a:cubicBezTo>
                      <a:cubicBezTo>
                        <a:pt x="0" y="106"/>
                        <a:pt x="30" y="136"/>
                        <a:pt x="68" y="136"/>
                      </a:cubicBezTo>
                      <a:close/>
                      <a:moveTo>
                        <a:pt x="68" y="25"/>
                      </a:moveTo>
                      <a:cubicBezTo>
                        <a:pt x="92" y="25"/>
                        <a:pt x="111" y="45"/>
                        <a:pt x="111" y="68"/>
                      </a:cubicBezTo>
                      <a:cubicBezTo>
                        <a:pt x="111" y="92"/>
                        <a:pt x="92" y="111"/>
                        <a:pt x="68" y="111"/>
                      </a:cubicBezTo>
                      <a:cubicBezTo>
                        <a:pt x="45" y="111"/>
                        <a:pt x="25" y="92"/>
                        <a:pt x="25" y="68"/>
                      </a:cubicBezTo>
                      <a:cubicBezTo>
                        <a:pt x="25" y="45"/>
                        <a:pt x="45" y="25"/>
                        <a:pt x="6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3" name="Freeform 30">
                  <a:extLst>
                    <a:ext uri="{FF2B5EF4-FFF2-40B4-BE49-F238E27FC236}">
                      <a16:creationId xmlns:a16="http://schemas.microsoft.com/office/drawing/2014/main" id="{019121B7-91CD-44B8-A801-1D695EC209A2}"/>
                    </a:ext>
                  </a:extLst>
                </p:cNvPr>
                <p:cNvSpPr>
                  <a:spLocks/>
                </p:cNvSpPr>
                <p:nvPr/>
              </p:nvSpPr>
              <p:spPr bwMode="auto">
                <a:xfrm>
                  <a:off x="8253906" y="-2671460"/>
                  <a:ext cx="434975" cy="382587"/>
                </a:xfrm>
                <a:custGeom>
                  <a:avLst/>
                  <a:gdLst>
                    <a:gd name="T0" fmla="*/ 178 w 246"/>
                    <a:gd name="T1" fmla="*/ 27 h 216"/>
                    <a:gd name="T2" fmla="*/ 219 w 246"/>
                    <a:gd name="T3" fmla="*/ 68 h 216"/>
                    <a:gd name="T4" fmla="*/ 219 w 246"/>
                    <a:gd name="T5" fmla="*/ 216 h 216"/>
                    <a:gd name="T6" fmla="*/ 246 w 246"/>
                    <a:gd name="T7" fmla="*/ 216 h 216"/>
                    <a:gd name="T8" fmla="*/ 246 w 246"/>
                    <a:gd name="T9" fmla="*/ 68 h 216"/>
                    <a:gd name="T10" fmla="*/ 178 w 246"/>
                    <a:gd name="T11" fmla="*/ 0 h 216"/>
                    <a:gd name="T12" fmla="*/ 68 w 246"/>
                    <a:gd name="T13" fmla="*/ 0 h 216"/>
                    <a:gd name="T14" fmla="*/ 0 w 246"/>
                    <a:gd name="T15" fmla="*/ 68 h 216"/>
                    <a:gd name="T16" fmla="*/ 0 w 246"/>
                    <a:gd name="T17" fmla="*/ 216 h 216"/>
                    <a:gd name="T18" fmla="*/ 28 w 246"/>
                    <a:gd name="T19" fmla="*/ 216 h 216"/>
                    <a:gd name="T20" fmla="*/ 28 w 246"/>
                    <a:gd name="T21" fmla="*/ 68 h 216"/>
                    <a:gd name="T22" fmla="*/ 68 w 246"/>
                    <a:gd name="T23" fmla="*/ 27 h 216"/>
                    <a:gd name="T24" fmla="*/ 178 w 246"/>
                    <a:gd name="T25" fmla="*/ 2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216">
                      <a:moveTo>
                        <a:pt x="178" y="27"/>
                      </a:moveTo>
                      <a:cubicBezTo>
                        <a:pt x="200" y="27"/>
                        <a:pt x="219" y="45"/>
                        <a:pt x="219" y="68"/>
                      </a:cubicBezTo>
                      <a:cubicBezTo>
                        <a:pt x="219" y="216"/>
                        <a:pt x="219" y="216"/>
                        <a:pt x="219" y="216"/>
                      </a:cubicBezTo>
                      <a:cubicBezTo>
                        <a:pt x="246" y="216"/>
                        <a:pt x="246" y="216"/>
                        <a:pt x="246" y="216"/>
                      </a:cubicBezTo>
                      <a:cubicBezTo>
                        <a:pt x="246" y="68"/>
                        <a:pt x="246" y="68"/>
                        <a:pt x="246" y="68"/>
                      </a:cubicBezTo>
                      <a:cubicBezTo>
                        <a:pt x="246" y="30"/>
                        <a:pt x="215" y="0"/>
                        <a:pt x="178" y="0"/>
                      </a:cubicBezTo>
                      <a:cubicBezTo>
                        <a:pt x="68" y="0"/>
                        <a:pt x="68" y="0"/>
                        <a:pt x="68" y="0"/>
                      </a:cubicBezTo>
                      <a:cubicBezTo>
                        <a:pt x="31" y="0"/>
                        <a:pt x="0" y="30"/>
                        <a:pt x="0" y="68"/>
                      </a:cubicBezTo>
                      <a:cubicBezTo>
                        <a:pt x="0" y="216"/>
                        <a:pt x="0" y="216"/>
                        <a:pt x="0" y="216"/>
                      </a:cubicBezTo>
                      <a:cubicBezTo>
                        <a:pt x="28" y="216"/>
                        <a:pt x="28" y="216"/>
                        <a:pt x="28" y="216"/>
                      </a:cubicBezTo>
                      <a:cubicBezTo>
                        <a:pt x="28" y="68"/>
                        <a:pt x="28" y="68"/>
                        <a:pt x="28" y="68"/>
                      </a:cubicBezTo>
                      <a:cubicBezTo>
                        <a:pt x="28" y="45"/>
                        <a:pt x="46" y="27"/>
                        <a:pt x="68" y="27"/>
                      </a:cubicBezTo>
                      <a:lnTo>
                        <a:pt x="17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4" name="Freeform 31">
                  <a:extLst>
                    <a:ext uri="{FF2B5EF4-FFF2-40B4-BE49-F238E27FC236}">
                      <a16:creationId xmlns:a16="http://schemas.microsoft.com/office/drawing/2014/main" id="{6F9E85F9-1DDB-4411-8C0C-F07968D8E117}"/>
                    </a:ext>
                  </a:extLst>
                </p:cNvPr>
                <p:cNvSpPr>
                  <a:spLocks/>
                </p:cNvSpPr>
                <p:nvPr/>
              </p:nvSpPr>
              <p:spPr bwMode="auto">
                <a:xfrm>
                  <a:off x="8344394" y="-2544460"/>
                  <a:ext cx="47625" cy="255587"/>
                </a:xfrm>
                <a:custGeom>
                  <a:avLst/>
                  <a:gdLst>
                    <a:gd name="T0" fmla="*/ 13 w 27"/>
                    <a:gd name="T1" fmla="*/ 0 h 144"/>
                    <a:gd name="T2" fmla="*/ 0 w 27"/>
                    <a:gd name="T3" fmla="*/ 13 h 144"/>
                    <a:gd name="T4" fmla="*/ 0 w 27"/>
                    <a:gd name="T5" fmla="*/ 144 h 144"/>
                    <a:gd name="T6" fmla="*/ 27 w 27"/>
                    <a:gd name="T7" fmla="*/ 144 h 144"/>
                    <a:gd name="T8" fmla="*/ 27 w 27"/>
                    <a:gd name="T9" fmla="*/ 13 h 144"/>
                    <a:gd name="T10" fmla="*/ 13 w 27"/>
                    <a:gd name="T11" fmla="*/ 0 h 144"/>
                  </a:gdLst>
                  <a:ahLst/>
                  <a:cxnLst>
                    <a:cxn ang="0">
                      <a:pos x="T0" y="T1"/>
                    </a:cxn>
                    <a:cxn ang="0">
                      <a:pos x="T2" y="T3"/>
                    </a:cxn>
                    <a:cxn ang="0">
                      <a:pos x="T4" y="T5"/>
                    </a:cxn>
                    <a:cxn ang="0">
                      <a:pos x="T6" y="T7"/>
                    </a:cxn>
                    <a:cxn ang="0">
                      <a:pos x="T8" y="T9"/>
                    </a:cxn>
                    <a:cxn ang="0">
                      <a:pos x="T10" y="T11"/>
                    </a:cxn>
                  </a:cxnLst>
                  <a:rect l="0" t="0" r="r" b="b"/>
                  <a:pathLst>
                    <a:path w="27" h="144">
                      <a:moveTo>
                        <a:pt x="13" y="0"/>
                      </a:moveTo>
                      <a:cubicBezTo>
                        <a:pt x="6" y="0"/>
                        <a:pt x="0" y="6"/>
                        <a:pt x="0" y="13"/>
                      </a:cubicBezTo>
                      <a:cubicBezTo>
                        <a:pt x="0" y="144"/>
                        <a:pt x="0" y="144"/>
                        <a:pt x="0" y="144"/>
                      </a:cubicBezTo>
                      <a:cubicBezTo>
                        <a:pt x="27" y="144"/>
                        <a:pt x="27" y="144"/>
                        <a:pt x="27" y="144"/>
                      </a:cubicBezTo>
                      <a:cubicBezTo>
                        <a:pt x="27" y="13"/>
                        <a:pt x="27" y="13"/>
                        <a:pt x="27" y="13"/>
                      </a:cubicBezTo>
                      <a:cubicBezTo>
                        <a:pt x="27" y="6"/>
                        <a:pt x="21"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5" name="Freeform 32">
                  <a:extLst>
                    <a:ext uri="{FF2B5EF4-FFF2-40B4-BE49-F238E27FC236}">
                      <a16:creationId xmlns:a16="http://schemas.microsoft.com/office/drawing/2014/main" id="{24CCD528-177E-469A-A3E0-62CADCFE64E8}"/>
                    </a:ext>
                  </a:extLst>
                </p:cNvPr>
                <p:cNvSpPr>
                  <a:spLocks/>
                </p:cNvSpPr>
                <p:nvPr/>
              </p:nvSpPr>
              <p:spPr bwMode="auto">
                <a:xfrm>
                  <a:off x="8550769" y="-2544460"/>
                  <a:ext cx="47625" cy="255587"/>
                </a:xfrm>
                <a:custGeom>
                  <a:avLst/>
                  <a:gdLst>
                    <a:gd name="T0" fmla="*/ 0 w 27"/>
                    <a:gd name="T1" fmla="*/ 13 h 144"/>
                    <a:gd name="T2" fmla="*/ 0 w 27"/>
                    <a:gd name="T3" fmla="*/ 144 h 144"/>
                    <a:gd name="T4" fmla="*/ 27 w 27"/>
                    <a:gd name="T5" fmla="*/ 144 h 144"/>
                    <a:gd name="T6" fmla="*/ 27 w 27"/>
                    <a:gd name="T7" fmla="*/ 13 h 144"/>
                    <a:gd name="T8" fmla="*/ 14 w 27"/>
                    <a:gd name="T9" fmla="*/ 0 h 144"/>
                    <a:gd name="T10" fmla="*/ 0 w 27"/>
                    <a:gd name="T11" fmla="*/ 13 h 144"/>
                  </a:gdLst>
                  <a:ahLst/>
                  <a:cxnLst>
                    <a:cxn ang="0">
                      <a:pos x="T0" y="T1"/>
                    </a:cxn>
                    <a:cxn ang="0">
                      <a:pos x="T2" y="T3"/>
                    </a:cxn>
                    <a:cxn ang="0">
                      <a:pos x="T4" y="T5"/>
                    </a:cxn>
                    <a:cxn ang="0">
                      <a:pos x="T6" y="T7"/>
                    </a:cxn>
                    <a:cxn ang="0">
                      <a:pos x="T8" y="T9"/>
                    </a:cxn>
                    <a:cxn ang="0">
                      <a:pos x="T10" y="T11"/>
                    </a:cxn>
                  </a:cxnLst>
                  <a:rect l="0" t="0" r="r" b="b"/>
                  <a:pathLst>
                    <a:path w="27" h="144">
                      <a:moveTo>
                        <a:pt x="0" y="13"/>
                      </a:moveTo>
                      <a:cubicBezTo>
                        <a:pt x="0" y="144"/>
                        <a:pt x="0" y="144"/>
                        <a:pt x="0" y="144"/>
                      </a:cubicBezTo>
                      <a:cubicBezTo>
                        <a:pt x="27" y="144"/>
                        <a:pt x="27" y="144"/>
                        <a:pt x="27" y="144"/>
                      </a:cubicBezTo>
                      <a:cubicBezTo>
                        <a:pt x="27" y="13"/>
                        <a:pt x="27" y="13"/>
                        <a:pt x="27" y="13"/>
                      </a:cubicBezTo>
                      <a:cubicBezTo>
                        <a:pt x="27" y="6"/>
                        <a:pt x="21" y="0"/>
                        <a:pt x="14" y="0"/>
                      </a:cubicBezTo>
                      <a:cubicBezTo>
                        <a:pt x="6" y="0"/>
                        <a:pt x="0" y="6"/>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6" name="Freeform 33">
                  <a:extLst>
                    <a:ext uri="{FF2B5EF4-FFF2-40B4-BE49-F238E27FC236}">
                      <a16:creationId xmlns:a16="http://schemas.microsoft.com/office/drawing/2014/main" id="{50344ECE-9B12-4503-969F-E6AA4855EB80}"/>
                    </a:ext>
                  </a:extLst>
                </p:cNvPr>
                <p:cNvSpPr>
                  <a:spLocks noEditPoints="1"/>
                </p:cNvSpPr>
                <p:nvPr/>
              </p:nvSpPr>
              <p:spPr bwMode="auto">
                <a:xfrm>
                  <a:off x="9065119" y="-2915935"/>
                  <a:ext cx="241300" cy="241300"/>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11 w 136"/>
                    <a:gd name="T11" fmla="*/ 68 h 136"/>
                    <a:gd name="T12" fmla="*/ 68 w 136"/>
                    <a:gd name="T13" fmla="*/ 111 h 136"/>
                    <a:gd name="T14" fmla="*/ 25 w 136"/>
                    <a:gd name="T15" fmla="*/ 68 h 136"/>
                    <a:gd name="T16" fmla="*/ 68 w 136"/>
                    <a:gd name="T17" fmla="*/ 25 h 136"/>
                    <a:gd name="T18" fmla="*/ 111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6" y="136"/>
                        <a:pt x="136" y="106"/>
                        <a:pt x="136" y="68"/>
                      </a:cubicBezTo>
                      <a:cubicBezTo>
                        <a:pt x="136" y="30"/>
                        <a:pt x="106" y="0"/>
                        <a:pt x="68" y="0"/>
                      </a:cubicBezTo>
                      <a:cubicBezTo>
                        <a:pt x="30" y="0"/>
                        <a:pt x="0" y="30"/>
                        <a:pt x="0" y="68"/>
                      </a:cubicBezTo>
                      <a:close/>
                      <a:moveTo>
                        <a:pt x="111" y="68"/>
                      </a:moveTo>
                      <a:cubicBezTo>
                        <a:pt x="111" y="92"/>
                        <a:pt x="92" y="111"/>
                        <a:pt x="68" y="111"/>
                      </a:cubicBezTo>
                      <a:cubicBezTo>
                        <a:pt x="45" y="111"/>
                        <a:pt x="25" y="92"/>
                        <a:pt x="25" y="68"/>
                      </a:cubicBezTo>
                      <a:cubicBezTo>
                        <a:pt x="25" y="45"/>
                        <a:pt x="45" y="25"/>
                        <a:pt x="68" y="25"/>
                      </a:cubicBezTo>
                      <a:cubicBezTo>
                        <a:pt x="92" y="25"/>
                        <a:pt x="111" y="45"/>
                        <a:pt x="11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7" name="Freeform 34">
                  <a:extLst>
                    <a:ext uri="{FF2B5EF4-FFF2-40B4-BE49-F238E27FC236}">
                      <a16:creationId xmlns:a16="http://schemas.microsoft.com/office/drawing/2014/main" id="{B20F51CF-C94E-4469-8D11-3773C04112F0}"/>
                    </a:ext>
                  </a:extLst>
                </p:cNvPr>
                <p:cNvSpPr>
                  <a:spLocks/>
                </p:cNvSpPr>
                <p:nvPr/>
              </p:nvSpPr>
              <p:spPr bwMode="auto">
                <a:xfrm>
                  <a:off x="8968281" y="-2671460"/>
                  <a:ext cx="434975" cy="382587"/>
                </a:xfrm>
                <a:custGeom>
                  <a:avLst/>
                  <a:gdLst>
                    <a:gd name="T0" fmla="*/ 178 w 246"/>
                    <a:gd name="T1" fmla="*/ 0 h 216"/>
                    <a:gd name="T2" fmla="*/ 68 w 246"/>
                    <a:gd name="T3" fmla="*/ 0 h 216"/>
                    <a:gd name="T4" fmla="*/ 0 w 246"/>
                    <a:gd name="T5" fmla="*/ 68 h 216"/>
                    <a:gd name="T6" fmla="*/ 0 w 246"/>
                    <a:gd name="T7" fmla="*/ 216 h 216"/>
                    <a:gd name="T8" fmla="*/ 28 w 246"/>
                    <a:gd name="T9" fmla="*/ 216 h 216"/>
                    <a:gd name="T10" fmla="*/ 28 w 246"/>
                    <a:gd name="T11" fmla="*/ 68 h 216"/>
                    <a:gd name="T12" fmla="*/ 68 w 246"/>
                    <a:gd name="T13" fmla="*/ 27 h 216"/>
                    <a:gd name="T14" fmla="*/ 178 w 246"/>
                    <a:gd name="T15" fmla="*/ 27 h 216"/>
                    <a:gd name="T16" fmla="*/ 219 w 246"/>
                    <a:gd name="T17" fmla="*/ 68 h 216"/>
                    <a:gd name="T18" fmla="*/ 219 w 246"/>
                    <a:gd name="T19" fmla="*/ 216 h 216"/>
                    <a:gd name="T20" fmla="*/ 246 w 246"/>
                    <a:gd name="T21" fmla="*/ 216 h 216"/>
                    <a:gd name="T22" fmla="*/ 246 w 246"/>
                    <a:gd name="T23" fmla="*/ 68 h 216"/>
                    <a:gd name="T24" fmla="*/ 178 w 246"/>
                    <a:gd name="T2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216">
                      <a:moveTo>
                        <a:pt x="178" y="0"/>
                      </a:moveTo>
                      <a:cubicBezTo>
                        <a:pt x="68" y="0"/>
                        <a:pt x="68" y="0"/>
                        <a:pt x="68" y="0"/>
                      </a:cubicBezTo>
                      <a:cubicBezTo>
                        <a:pt x="31" y="0"/>
                        <a:pt x="0" y="30"/>
                        <a:pt x="0" y="68"/>
                      </a:cubicBezTo>
                      <a:cubicBezTo>
                        <a:pt x="0" y="216"/>
                        <a:pt x="0" y="216"/>
                        <a:pt x="0" y="216"/>
                      </a:cubicBezTo>
                      <a:cubicBezTo>
                        <a:pt x="28" y="216"/>
                        <a:pt x="28" y="216"/>
                        <a:pt x="28" y="216"/>
                      </a:cubicBezTo>
                      <a:cubicBezTo>
                        <a:pt x="28" y="68"/>
                        <a:pt x="28" y="68"/>
                        <a:pt x="28" y="68"/>
                      </a:cubicBezTo>
                      <a:cubicBezTo>
                        <a:pt x="28" y="45"/>
                        <a:pt x="46" y="27"/>
                        <a:pt x="68" y="27"/>
                      </a:cubicBezTo>
                      <a:cubicBezTo>
                        <a:pt x="178" y="27"/>
                        <a:pt x="178" y="27"/>
                        <a:pt x="178" y="27"/>
                      </a:cubicBezTo>
                      <a:cubicBezTo>
                        <a:pt x="200" y="27"/>
                        <a:pt x="219" y="45"/>
                        <a:pt x="219" y="68"/>
                      </a:cubicBezTo>
                      <a:cubicBezTo>
                        <a:pt x="219" y="216"/>
                        <a:pt x="219" y="216"/>
                        <a:pt x="219" y="216"/>
                      </a:cubicBezTo>
                      <a:cubicBezTo>
                        <a:pt x="246" y="216"/>
                        <a:pt x="246" y="216"/>
                        <a:pt x="246" y="216"/>
                      </a:cubicBezTo>
                      <a:cubicBezTo>
                        <a:pt x="246" y="68"/>
                        <a:pt x="246" y="68"/>
                        <a:pt x="246" y="68"/>
                      </a:cubicBezTo>
                      <a:cubicBezTo>
                        <a:pt x="246" y="30"/>
                        <a:pt x="215" y="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8" name="Freeform 35">
                  <a:extLst>
                    <a:ext uri="{FF2B5EF4-FFF2-40B4-BE49-F238E27FC236}">
                      <a16:creationId xmlns:a16="http://schemas.microsoft.com/office/drawing/2014/main" id="{8B3D310A-E1A6-4BBD-972C-950B7C071F20}"/>
                    </a:ext>
                  </a:extLst>
                </p:cNvPr>
                <p:cNvSpPr>
                  <a:spLocks/>
                </p:cNvSpPr>
                <p:nvPr/>
              </p:nvSpPr>
              <p:spPr bwMode="auto">
                <a:xfrm>
                  <a:off x="9058769" y="-2544460"/>
                  <a:ext cx="47625" cy="255587"/>
                </a:xfrm>
                <a:custGeom>
                  <a:avLst/>
                  <a:gdLst>
                    <a:gd name="T0" fmla="*/ 13 w 27"/>
                    <a:gd name="T1" fmla="*/ 0 h 144"/>
                    <a:gd name="T2" fmla="*/ 0 w 27"/>
                    <a:gd name="T3" fmla="*/ 13 h 144"/>
                    <a:gd name="T4" fmla="*/ 0 w 27"/>
                    <a:gd name="T5" fmla="*/ 144 h 144"/>
                    <a:gd name="T6" fmla="*/ 27 w 27"/>
                    <a:gd name="T7" fmla="*/ 144 h 144"/>
                    <a:gd name="T8" fmla="*/ 27 w 27"/>
                    <a:gd name="T9" fmla="*/ 13 h 144"/>
                    <a:gd name="T10" fmla="*/ 13 w 27"/>
                    <a:gd name="T11" fmla="*/ 0 h 144"/>
                  </a:gdLst>
                  <a:ahLst/>
                  <a:cxnLst>
                    <a:cxn ang="0">
                      <a:pos x="T0" y="T1"/>
                    </a:cxn>
                    <a:cxn ang="0">
                      <a:pos x="T2" y="T3"/>
                    </a:cxn>
                    <a:cxn ang="0">
                      <a:pos x="T4" y="T5"/>
                    </a:cxn>
                    <a:cxn ang="0">
                      <a:pos x="T6" y="T7"/>
                    </a:cxn>
                    <a:cxn ang="0">
                      <a:pos x="T8" y="T9"/>
                    </a:cxn>
                    <a:cxn ang="0">
                      <a:pos x="T10" y="T11"/>
                    </a:cxn>
                  </a:cxnLst>
                  <a:rect l="0" t="0" r="r" b="b"/>
                  <a:pathLst>
                    <a:path w="27" h="144">
                      <a:moveTo>
                        <a:pt x="13" y="0"/>
                      </a:moveTo>
                      <a:cubicBezTo>
                        <a:pt x="6" y="0"/>
                        <a:pt x="0" y="6"/>
                        <a:pt x="0" y="13"/>
                      </a:cubicBezTo>
                      <a:cubicBezTo>
                        <a:pt x="0" y="144"/>
                        <a:pt x="0" y="144"/>
                        <a:pt x="0" y="144"/>
                      </a:cubicBezTo>
                      <a:cubicBezTo>
                        <a:pt x="27" y="144"/>
                        <a:pt x="27" y="144"/>
                        <a:pt x="27" y="144"/>
                      </a:cubicBezTo>
                      <a:cubicBezTo>
                        <a:pt x="27" y="13"/>
                        <a:pt x="27" y="13"/>
                        <a:pt x="27" y="13"/>
                      </a:cubicBezTo>
                      <a:cubicBezTo>
                        <a:pt x="27" y="6"/>
                        <a:pt x="21"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79" name="Freeform 36">
                  <a:extLst>
                    <a:ext uri="{FF2B5EF4-FFF2-40B4-BE49-F238E27FC236}">
                      <a16:creationId xmlns:a16="http://schemas.microsoft.com/office/drawing/2014/main" id="{C6805AA8-8E61-47A3-AACA-0E4E1FAB7522}"/>
                    </a:ext>
                  </a:extLst>
                </p:cNvPr>
                <p:cNvSpPr>
                  <a:spLocks/>
                </p:cNvSpPr>
                <p:nvPr/>
              </p:nvSpPr>
              <p:spPr bwMode="auto">
                <a:xfrm>
                  <a:off x="9265144" y="-2544460"/>
                  <a:ext cx="47625" cy="255587"/>
                </a:xfrm>
                <a:custGeom>
                  <a:avLst/>
                  <a:gdLst>
                    <a:gd name="T0" fmla="*/ 14 w 27"/>
                    <a:gd name="T1" fmla="*/ 0 h 144"/>
                    <a:gd name="T2" fmla="*/ 0 w 27"/>
                    <a:gd name="T3" fmla="*/ 13 h 144"/>
                    <a:gd name="T4" fmla="*/ 0 w 27"/>
                    <a:gd name="T5" fmla="*/ 144 h 144"/>
                    <a:gd name="T6" fmla="*/ 27 w 27"/>
                    <a:gd name="T7" fmla="*/ 144 h 144"/>
                    <a:gd name="T8" fmla="*/ 27 w 27"/>
                    <a:gd name="T9" fmla="*/ 13 h 144"/>
                    <a:gd name="T10" fmla="*/ 14 w 27"/>
                    <a:gd name="T11" fmla="*/ 0 h 144"/>
                  </a:gdLst>
                  <a:ahLst/>
                  <a:cxnLst>
                    <a:cxn ang="0">
                      <a:pos x="T0" y="T1"/>
                    </a:cxn>
                    <a:cxn ang="0">
                      <a:pos x="T2" y="T3"/>
                    </a:cxn>
                    <a:cxn ang="0">
                      <a:pos x="T4" y="T5"/>
                    </a:cxn>
                    <a:cxn ang="0">
                      <a:pos x="T6" y="T7"/>
                    </a:cxn>
                    <a:cxn ang="0">
                      <a:pos x="T8" y="T9"/>
                    </a:cxn>
                    <a:cxn ang="0">
                      <a:pos x="T10" y="T11"/>
                    </a:cxn>
                  </a:cxnLst>
                  <a:rect l="0" t="0" r="r" b="b"/>
                  <a:pathLst>
                    <a:path w="27" h="144">
                      <a:moveTo>
                        <a:pt x="14" y="0"/>
                      </a:moveTo>
                      <a:cubicBezTo>
                        <a:pt x="6" y="0"/>
                        <a:pt x="0" y="6"/>
                        <a:pt x="0" y="13"/>
                      </a:cubicBezTo>
                      <a:cubicBezTo>
                        <a:pt x="0" y="144"/>
                        <a:pt x="0" y="144"/>
                        <a:pt x="0" y="144"/>
                      </a:cubicBezTo>
                      <a:cubicBezTo>
                        <a:pt x="27" y="144"/>
                        <a:pt x="27" y="144"/>
                        <a:pt x="27" y="144"/>
                      </a:cubicBezTo>
                      <a:cubicBezTo>
                        <a:pt x="27" y="13"/>
                        <a:pt x="27" y="13"/>
                        <a:pt x="27" y="13"/>
                      </a:cubicBezTo>
                      <a:cubicBezTo>
                        <a:pt x="27" y="6"/>
                        <a:pt x="21"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80" name="Freeform 37">
                  <a:extLst>
                    <a:ext uri="{FF2B5EF4-FFF2-40B4-BE49-F238E27FC236}">
                      <a16:creationId xmlns:a16="http://schemas.microsoft.com/office/drawing/2014/main" id="{E057502A-F3C2-4CF7-940B-ABADE73C3923}"/>
                    </a:ext>
                  </a:extLst>
                </p:cNvPr>
                <p:cNvSpPr>
                  <a:spLocks/>
                </p:cNvSpPr>
                <p:nvPr/>
              </p:nvSpPr>
              <p:spPr bwMode="auto">
                <a:xfrm>
                  <a:off x="8439644" y="-3292173"/>
                  <a:ext cx="774700" cy="347662"/>
                </a:xfrm>
                <a:custGeom>
                  <a:avLst/>
                  <a:gdLst>
                    <a:gd name="T0" fmla="*/ 39 w 438"/>
                    <a:gd name="T1" fmla="*/ 181 h 196"/>
                    <a:gd name="T2" fmla="*/ 51 w 438"/>
                    <a:gd name="T3" fmla="*/ 188 h 196"/>
                    <a:gd name="T4" fmla="*/ 57 w 438"/>
                    <a:gd name="T5" fmla="*/ 187 h 196"/>
                    <a:gd name="T6" fmla="*/ 133 w 438"/>
                    <a:gd name="T7" fmla="*/ 154 h 196"/>
                    <a:gd name="T8" fmla="*/ 140 w 438"/>
                    <a:gd name="T9" fmla="*/ 136 h 196"/>
                    <a:gd name="T10" fmla="*/ 122 w 438"/>
                    <a:gd name="T11" fmla="*/ 129 h 196"/>
                    <a:gd name="T12" fmla="*/ 77 w 438"/>
                    <a:gd name="T13" fmla="*/ 149 h 196"/>
                    <a:gd name="T14" fmla="*/ 242 w 438"/>
                    <a:gd name="T15" fmla="*/ 24 h 196"/>
                    <a:gd name="T16" fmla="*/ 242 w 438"/>
                    <a:gd name="T17" fmla="*/ 24 h 196"/>
                    <a:gd name="T18" fmla="*/ 413 w 438"/>
                    <a:gd name="T19" fmla="*/ 185 h 196"/>
                    <a:gd name="T20" fmla="*/ 425 w 438"/>
                    <a:gd name="T21" fmla="*/ 196 h 196"/>
                    <a:gd name="T22" fmla="*/ 426 w 438"/>
                    <a:gd name="T23" fmla="*/ 196 h 196"/>
                    <a:gd name="T24" fmla="*/ 437 w 438"/>
                    <a:gd name="T25" fmla="*/ 182 h 196"/>
                    <a:gd name="T26" fmla="*/ 242 w 438"/>
                    <a:gd name="T27" fmla="*/ 0 h 196"/>
                    <a:gd name="T28" fmla="*/ 242 w 438"/>
                    <a:gd name="T29" fmla="*/ 0 h 196"/>
                    <a:gd name="T30" fmla="*/ 52 w 438"/>
                    <a:gd name="T31" fmla="*/ 146 h 196"/>
                    <a:gd name="T32" fmla="*/ 27 w 438"/>
                    <a:gd name="T33" fmla="*/ 95 h 196"/>
                    <a:gd name="T34" fmla="*/ 9 w 438"/>
                    <a:gd name="T35" fmla="*/ 88 h 196"/>
                    <a:gd name="T36" fmla="*/ 3 w 438"/>
                    <a:gd name="T37" fmla="*/ 106 h 196"/>
                    <a:gd name="T38" fmla="*/ 39 w 438"/>
                    <a:gd name="T39" fmla="*/ 18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8" h="196">
                      <a:moveTo>
                        <a:pt x="39" y="181"/>
                      </a:moveTo>
                      <a:cubicBezTo>
                        <a:pt x="42" y="185"/>
                        <a:pt x="46" y="188"/>
                        <a:pt x="51" y="188"/>
                      </a:cubicBezTo>
                      <a:cubicBezTo>
                        <a:pt x="53" y="188"/>
                        <a:pt x="55" y="188"/>
                        <a:pt x="57" y="187"/>
                      </a:cubicBezTo>
                      <a:cubicBezTo>
                        <a:pt x="133" y="154"/>
                        <a:pt x="133" y="154"/>
                        <a:pt x="133" y="154"/>
                      </a:cubicBezTo>
                      <a:cubicBezTo>
                        <a:pt x="140" y="151"/>
                        <a:pt x="143" y="143"/>
                        <a:pt x="140" y="136"/>
                      </a:cubicBezTo>
                      <a:cubicBezTo>
                        <a:pt x="137" y="129"/>
                        <a:pt x="129" y="126"/>
                        <a:pt x="122" y="129"/>
                      </a:cubicBezTo>
                      <a:cubicBezTo>
                        <a:pt x="77" y="149"/>
                        <a:pt x="77" y="149"/>
                        <a:pt x="77" y="149"/>
                      </a:cubicBezTo>
                      <a:cubicBezTo>
                        <a:pt x="99" y="76"/>
                        <a:pt x="166" y="24"/>
                        <a:pt x="242" y="24"/>
                      </a:cubicBezTo>
                      <a:cubicBezTo>
                        <a:pt x="242" y="24"/>
                        <a:pt x="242" y="24"/>
                        <a:pt x="242" y="24"/>
                      </a:cubicBezTo>
                      <a:cubicBezTo>
                        <a:pt x="330" y="24"/>
                        <a:pt x="405" y="95"/>
                        <a:pt x="413" y="185"/>
                      </a:cubicBezTo>
                      <a:cubicBezTo>
                        <a:pt x="414" y="191"/>
                        <a:pt x="419" y="196"/>
                        <a:pt x="425" y="196"/>
                      </a:cubicBezTo>
                      <a:cubicBezTo>
                        <a:pt x="426" y="196"/>
                        <a:pt x="426" y="196"/>
                        <a:pt x="426" y="196"/>
                      </a:cubicBezTo>
                      <a:cubicBezTo>
                        <a:pt x="433" y="195"/>
                        <a:pt x="438" y="189"/>
                        <a:pt x="437" y="182"/>
                      </a:cubicBezTo>
                      <a:cubicBezTo>
                        <a:pt x="428" y="80"/>
                        <a:pt x="343" y="0"/>
                        <a:pt x="242" y="0"/>
                      </a:cubicBezTo>
                      <a:cubicBezTo>
                        <a:pt x="242" y="0"/>
                        <a:pt x="242" y="0"/>
                        <a:pt x="242" y="0"/>
                      </a:cubicBezTo>
                      <a:cubicBezTo>
                        <a:pt x="153" y="0"/>
                        <a:pt x="76" y="61"/>
                        <a:pt x="52" y="146"/>
                      </a:cubicBezTo>
                      <a:cubicBezTo>
                        <a:pt x="27" y="95"/>
                        <a:pt x="27" y="95"/>
                        <a:pt x="27" y="95"/>
                      </a:cubicBezTo>
                      <a:cubicBezTo>
                        <a:pt x="24" y="88"/>
                        <a:pt x="16" y="85"/>
                        <a:pt x="9" y="88"/>
                      </a:cubicBezTo>
                      <a:cubicBezTo>
                        <a:pt x="2" y="92"/>
                        <a:pt x="0" y="100"/>
                        <a:pt x="3" y="106"/>
                      </a:cubicBezTo>
                      <a:lnTo>
                        <a:pt x="3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sp>
              <p:nvSpPr>
                <p:cNvPr id="181" name="Freeform 38">
                  <a:extLst>
                    <a:ext uri="{FF2B5EF4-FFF2-40B4-BE49-F238E27FC236}">
                      <a16:creationId xmlns:a16="http://schemas.microsoft.com/office/drawing/2014/main" id="{2BECEBD1-3F72-480D-8559-B3998564F7D3}"/>
                    </a:ext>
                  </a:extLst>
                </p:cNvPr>
                <p:cNvSpPr>
                  <a:spLocks/>
                </p:cNvSpPr>
                <p:nvPr/>
              </p:nvSpPr>
              <p:spPr bwMode="auto">
                <a:xfrm>
                  <a:off x="8442819" y="-2260298"/>
                  <a:ext cx="774700" cy="347662"/>
                </a:xfrm>
                <a:custGeom>
                  <a:avLst/>
                  <a:gdLst>
                    <a:gd name="T0" fmla="*/ 399 w 438"/>
                    <a:gd name="T1" fmla="*/ 16 h 197"/>
                    <a:gd name="T2" fmla="*/ 382 w 438"/>
                    <a:gd name="T3" fmla="*/ 9 h 197"/>
                    <a:gd name="T4" fmla="*/ 305 w 438"/>
                    <a:gd name="T5" fmla="*/ 43 h 197"/>
                    <a:gd name="T6" fmla="*/ 298 w 438"/>
                    <a:gd name="T7" fmla="*/ 60 h 197"/>
                    <a:gd name="T8" fmla="*/ 316 w 438"/>
                    <a:gd name="T9" fmla="*/ 67 h 197"/>
                    <a:gd name="T10" fmla="*/ 361 w 438"/>
                    <a:gd name="T11" fmla="*/ 47 h 197"/>
                    <a:gd name="T12" fmla="*/ 197 w 438"/>
                    <a:gd name="T13" fmla="*/ 172 h 197"/>
                    <a:gd name="T14" fmla="*/ 196 w 438"/>
                    <a:gd name="T15" fmla="*/ 172 h 197"/>
                    <a:gd name="T16" fmla="*/ 25 w 438"/>
                    <a:gd name="T17" fmla="*/ 12 h 197"/>
                    <a:gd name="T18" fmla="*/ 12 w 438"/>
                    <a:gd name="T19" fmla="*/ 1 h 197"/>
                    <a:gd name="T20" fmla="*/ 1 w 438"/>
                    <a:gd name="T21" fmla="*/ 14 h 197"/>
                    <a:gd name="T22" fmla="*/ 196 w 438"/>
                    <a:gd name="T23" fmla="*/ 197 h 197"/>
                    <a:gd name="T24" fmla="*/ 197 w 438"/>
                    <a:gd name="T25" fmla="*/ 197 h 197"/>
                    <a:gd name="T26" fmla="*/ 386 w 438"/>
                    <a:gd name="T27" fmla="*/ 50 h 197"/>
                    <a:gd name="T28" fmla="*/ 411 w 438"/>
                    <a:gd name="T29" fmla="*/ 102 h 197"/>
                    <a:gd name="T30" fmla="*/ 423 w 438"/>
                    <a:gd name="T31" fmla="*/ 109 h 197"/>
                    <a:gd name="T32" fmla="*/ 429 w 438"/>
                    <a:gd name="T33" fmla="*/ 108 h 197"/>
                    <a:gd name="T34" fmla="*/ 435 w 438"/>
                    <a:gd name="T35" fmla="*/ 90 h 197"/>
                    <a:gd name="T36" fmla="*/ 399 w 438"/>
                    <a:gd name="T37" fmla="*/ 1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8" h="197">
                      <a:moveTo>
                        <a:pt x="399" y="16"/>
                      </a:moveTo>
                      <a:cubicBezTo>
                        <a:pt x="396" y="9"/>
                        <a:pt x="388" y="6"/>
                        <a:pt x="382" y="9"/>
                      </a:cubicBezTo>
                      <a:cubicBezTo>
                        <a:pt x="305" y="43"/>
                        <a:pt x="305" y="43"/>
                        <a:pt x="305" y="43"/>
                      </a:cubicBezTo>
                      <a:cubicBezTo>
                        <a:pt x="298" y="46"/>
                        <a:pt x="295" y="54"/>
                        <a:pt x="298" y="60"/>
                      </a:cubicBezTo>
                      <a:cubicBezTo>
                        <a:pt x="301" y="67"/>
                        <a:pt x="309" y="70"/>
                        <a:pt x="316" y="67"/>
                      </a:cubicBezTo>
                      <a:cubicBezTo>
                        <a:pt x="361" y="47"/>
                        <a:pt x="361" y="47"/>
                        <a:pt x="361" y="47"/>
                      </a:cubicBezTo>
                      <a:cubicBezTo>
                        <a:pt x="339" y="121"/>
                        <a:pt x="272" y="172"/>
                        <a:pt x="197" y="172"/>
                      </a:cubicBezTo>
                      <a:cubicBezTo>
                        <a:pt x="196" y="172"/>
                        <a:pt x="196" y="172"/>
                        <a:pt x="196" y="172"/>
                      </a:cubicBezTo>
                      <a:cubicBezTo>
                        <a:pt x="108" y="172"/>
                        <a:pt x="33" y="101"/>
                        <a:pt x="25" y="12"/>
                      </a:cubicBezTo>
                      <a:cubicBezTo>
                        <a:pt x="24" y="5"/>
                        <a:pt x="18" y="0"/>
                        <a:pt x="12" y="1"/>
                      </a:cubicBezTo>
                      <a:cubicBezTo>
                        <a:pt x="5" y="1"/>
                        <a:pt x="0" y="7"/>
                        <a:pt x="1" y="14"/>
                      </a:cubicBezTo>
                      <a:cubicBezTo>
                        <a:pt x="10" y="116"/>
                        <a:pt x="96" y="196"/>
                        <a:pt x="196" y="197"/>
                      </a:cubicBezTo>
                      <a:cubicBezTo>
                        <a:pt x="196" y="197"/>
                        <a:pt x="196" y="197"/>
                        <a:pt x="197" y="197"/>
                      </a:cubicBezTo>
                      <a:cubicBezTo>
                        <a:pt x="285" y="197"/>
                        <a:pt x="362" y="136"/>
                        <a:pt x="386" y="50"/>
                      </a:cubicBezTo>
                      <a:cubicBezTo>
                        <a:pt x="411" y="102"/>
                        <a:pt x="411" y="102"/>
                        <a:pt x="411" y="102"/>
                      </a:cubicBezTo>
                      <a:cubicBezTo>
                        <a:pt x="414" y="107"/>
                        <a:pt x="418" y="109"/>
                        <a:pt x="423" y="109"/>
                      </a:cubicBezTo>
                      <a:cubicBezTo>
                        <a:pt x="425" y="109"/>
                        <a:pt x="427" y="109"/>
                        <a:pt x="429" y="108"/>
                      </a:cubicBezTo>
                      <a:cubicBezTo>
                        <a:pt x="436" y="105"/>
                        <a:pt x="438" y="97"/>
                        <a:pt x="435" y="90"/>
                      </a:cubicBezTo>
                      <a:lnTo>
                        <a:pt x="39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841" tIns="36421" rIns="72841" bIns="36421" numCol="1" anchor="t" anchorCtr="0" compatLnSpc="1">
                  <a:prstTxWarp prst="textNoShape">
                    <a:avLst/>
                  </a:prstTxWarp>
                </a:bodyPr>
                <a:lstStyle/>
                <a:p>
                  <a:pPr defTabSz="951889" fontAlgn="base">
                    <a:spcBef>
                      <a:spcPct val="0"/>
                    </a:spcBef>
                    <a:spcAft>
                      <a:spcPct val="0"/>
                    </a:spcAft>
                    <a:defRPr/>
                  </a:pPr>
                  <a:endParaRPr lang="fr-FR" sz="1249" kern="0" dirty="0">
                    <a:solidFill>
                      <a:srgbClr val="000000"/>
                    </a:solidFill>
                    <a:latin typeface="HelveticaNeueLTStd-Lt" panose="020B0403020202020204" pitchFamily="34" charset="0"/>
                    <a:ea typeface="ＭＳ Ｐゴシック"/>
                  </a:endParaRPr>
                </a:p>
              </p:txBody>
            </p:sp>
          </p:grpSp>
        </p:grpSp>
      </p:grpSp>
      <p:grpSp>
        <p:nvGrpSpPr>
          <p:cNvPr id="182" name="Group 161">
            <a:extLst>
              <a:ext uri="{FF2B5EF4-FFF2-40B4-BE49-F238E27FC236}">
                <a16:creationId xmlns:a16="http://schemas.microsoft.com/office/drawing/2014/main" id="{5CBC8E8C-E086-4F83-B046-0A57C26C954B}"/>
              </a:ext>
            </a:extLst>
          </p:cNvPr>
          <p:cNvGrpSpPr/>
          <p:nvPr/>
        </p:nvGrpSpPr>
        <p:grpSpPr>
          <a:xfrm>
            <a:off x="7809712" y="2972972"/>
            <a:ext cx="1453082" cy="1624452"/>
            <a:chOff x="6120468" y="4688988"/>
            <a:chExt cx="1395845" cy="1586953"/>
          </a:xfrm>
        </p:grpSpPr>
        <p:sp>
          <p:nvSpPr>
            <p:cNvPr id="183" name="TextBox 39">
              <a:extLst>
                <a:ext uri="{FF2B5EF4-FFF2-40B4-BE49-F238E27FC236}">
                  <a16:creationId xmlns:a16="http://schemas.microsoft.com/office/drawing/2014/main" id="{7CF968E3-5FD0-4194-AD54-587DFD28C747}"/>
                </a:ext>
              </a:extLst>
            </p:cNvPr>
            <p:cNvSpPr txBox="1">
              <a:spLocks/>
            </p:cNvSpPr>
            <p:nvPr>
              <p:custDataLst>
                <p:tags r:id="rId5"/>
              </p:custDataLst>
            </p:nvPr>
          </p:nvSpPr>
          <p:spPr>
            <a:xfrm>
              <a:off x="6120468" y="4688988"/>
              <a:ext cx="1395845" cy="1586953"/>
            </a:xfrm>
            <a:prstGeom prst="rect">
              <a:avLst/>
            </a:prstGeom>
            <a:solidFill>
              <a:srgbClr val="FFFFFF"/>
            </a:solidFill>
            <a:ln>
              <a:solidFill>
                <a:srgbClr val="4F388F">
                  <a:lumMod val="75000"/>
                </a:srgbClr>
              </a:solidFill>
              <a:prstDash val="dash"/>
            </a:ln>
          </p:spPr>
          <p:txBody>
            <a:bodyPr vert="horz" wrap="square" lIns="60694" tIns="60694" rIns="60694" bIns="60694" rtlCol="0" anchor="t" anchorCtr="0">
              <a:noAutofit/>
            </a:bodyPr>
            <a:lstStyle>
              <a:defPPr>
                <a:defRPr lang="en-US"/>
              </a:defPPr>
              <a:lvl1pPr marL="266700" lvl="0" indent="0" defTabSz="684976" eaLnBrk="1" hangingPunct="1">
                <a:buClr>
                  <a:srgbClr val="002960"/>
                </a:buClr>
                <a:defRPr sz="1200" b="1" baseline="0">
                  <a:solidFill>
                    <a:schemeClr val="tx2"/>
                  </a:solidFill>
                  <a:latin typeface="Arial"/>
                </a:defRPr>
              </a:lvl1pPr>
              <a:lvl2pPr marL="193655" lvl="1" indent="-192067" defTabSz="895255" eaLnBrk="1" hangingPunct="1">
                <a:buClr>
                  <a:schemeClr val="tx2"/>
                </a:buClr>
                <a:buSzPct val="125000"/>
                <a:buFont typeface="Arial" charset="0"/>
                <a:buChar char="▪"/>
                <a:defRPr sz="1568" baseline="0">
                  <a:latin typeface="+mn-lt"/>
                </a:defRPr>
              </a:lvl2pPr>
              <a:lvl3pPr marL="457151" lvl="2" indent="-261910" defTabSz="895255" eaLnBrk="1" hangingPunct="1">
                <a:buClr>
                  <a:schemeClr val="tx2"/>
                </a:buClr>
                <a:buSzPct val="120000"/>
                <a:buFont typeface="Arial" charset="0"/>
                <a:buChar char="–"/>
                <a:defRPr sz="1568" baseline="0">
                  <a:latin typeface="+mn-lt"/>
                </a:defRPr>
              </a:lvl3pPr>
              <a:lvl4pPr marL="614298" lvl="3" indent="-155558" defTabSz="895255" eaLnBrk="1" hangingPunct="1">
                <a:buClr>
                  <a:schemeClr val="tx2"/>
                </a:buClr>
                <a:buSzPct val="120000"/>
                <a:buFont typeface="Arial" charset="0"/>
                <a:buChar char="▫"/>
                <a:defRPr sz="1568" baseline="0">
                  <a:latin typeface="+mn-lt"/>
                </a:defRPr>
              </a:lvl4pPr>
              <a:lvl5pPr marL="749728" lvl="4"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marL="277635" defTabSz="713059" fontAlgn="base">
                <a:spcBef>
                  <a:spcPct val="0"/>
                </a:spcBef>
                <a:spcAft>
                  <a:spcPct val="0"/>
                </a:spcAft>
                <a:defRPr/>
              </a:pPr>
              <a:r>
                <a:rPr lang="fr-FR" sz="1249" kern="0" dirty="0">
                  <a:solidFill>
                    <a:srgbClr val="333333">
                      <a:lumMod val="75000"/>
                    </a:srgbClr>
                  </a:solidFill>
                  <a:latin typeface="HelveticaNeueLTStd-Lt" panose="020B0403020202020204" pitchFamily="34" charset="0"/>
                  <a:ea typeface="ＭＳ Ｐゴシック"/>
                </a:rPr>
                <a:t>Phases time-boxées</a:t>
              </a:r>
            </a:p>
          </p:txBody>
        </p:sp>
        <p:sp>
          <p:nvSpPr>
            <p:cNvPr id="184" name="Oval 11">
              <a:extLst>
                <a:ext uri="{FF2B5EF4-FFF2-40B4-BE49-F238E27FC236}">
                  <a16:creationId xmlns:a16="http://schemas.microsoft.com/office/drawing/2014/main" id="{35FC0992-6B9D-4F46-A25F-968AB85DD1B2}"/>
                </a:ext>
              </a:extLst>
            </p:cNvPr>
            <p:cNvSpPr txBox="1">
              <a:spLocks/>
            </p:cNvSpPr>
            <p:nvPr>
              <p:custDataLst>
                <p:tags r:id="rId6"/>
              </p:custDataLst>
            </p:nvPr>
          </p:nvSpPr>
          <p:spPr>
            <a:xfrm>
              <a:off x="6150947" y="4736217"/>
              <a:ext cx="237869" cy="23540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r>
                <a:rPr lang="fr-FR" sz="1249" b="1" kern="0" dirty="0">
                  <a:solidFill>
                    <a:srgbClr val="FFFFFF"/>
                  </a:solidFill>
                  <a:latin typeface="HelveticaNeueLTStd-Lt" panose="020B0403020202020204" pitchFamily="34" charset="0"/>
                  <a:ea typeface="ＭＳ Ｐゴシック"/>
                </a:rPr>
                <a:t>6</a:t>
              </a:r>
            </a:p>
          </p:txBody>
        </p:sp>
        <p:sp>
          <p:nvSpPr>
            <p:cNvPr id="185" name="Oval 11">
              <a:extLst>
                <a:ext uri="{FF2B5EF4-FFF2-40B4-BE49-F238E27FC236}">
                  <a16:creationId xmlns:a16="http://schemas.microsoft.com/office/drawing/2014/main" id="{5090F15C-986C-42E7-9189-DC0FCF8A3F05}"/>
                </a:ext>
              </a:extLst>
            </p:cNvPr>
            <p:cNvSpPr txBox="1"/>
            <p:nvPr>
              <p:custDataLst>
                <p:tags r:id="rId7"/>
              </p:custDataLst>
            </p:nvPr>
          </p:nvSpPr>
          <p:spPr>
            <a:xfrm>
              <a:off x="6911632" y="5673783"/>
              <a:ext cx="536103" cy="530559"/>
            </a:xfrm>
            <a:prstGeom prst="ellipse">
              <a:avLst/>
            </a:prstGeom>
            <a:solidFill>
              <a:schemeClr val="accent2"/>
            </a:solidFill>
            <a:ln w="12700">
              <a:solidFill>
                <a:srgbClr val="FFFFFF"/>
              </a:solidFill>
              <a:miter lim="800000"/>
              <a:headEnd/>
              <a:tailEnd/>
            </a:ln>
            <a:effectLst/>
          </p:spPr>
          <p:txBody>
            <a:bodyPr vert="horz" wrap="none" lIns="3032" tIns="0" rIns="3032" bIns="0" numCol="1" anchor="ctr" anchorCtr="1" compatLnSpc="1">
              <a:prstTxWarp prst="textNoShape">
                <a:avLst/>
              </a:prstTxWarp>
              <a:noAutofit/>
            </a:bodyPr>
            <a:lstStyle>
              <a:lvl1pPr lvl="0" indent="0" defTabSz="805399" fontAlgn="base">
                <a:spcBef>
                  <a:spcPct val="0"/>
                </a:spcBef>
                <a:spcAft>
                  <a:spcPct val="0"/>
                </a:spcAft>
                <a:buClr>
                  <a:schemeClr val="tx2"/>
                </a:buClr>
                <a:defRPr sz="1412" baseline="0"/>
              </a:lvl1pPr>
              <a:lvl2pPr marL="174218" lvl="1" indent="-172791" defTabSz="805399" fontAlgn="base">
                <a:spcBef>
                  <a:spcPct val="0"/>
                </a:spcBef>
                <a:spcAft>
                  <a:spcPct val="0"/>
                </a:spcAft>
                <a:buClr>
                  <a:schemeClr val="tx2"/>
                </a:buClr>
                <a:buSzPct val="125000"/>
                <a:buFont typeface="Arial" panose="020B0604020202020204" pitchFamily="34" charset="0"/>
                <a:buChar char="▪"/>
                <a:defRPr sz="1412" baseline="0"/>
              </a:lvl2pPr>
              <a:lvl3pPr marL="411268" lvl="2" indent="-235622" defTabSz="805399" fontAlgn="base">
                <a:spcBef>
                  <a:spcPct val="0"/>
                </a:spcBef>
                <a:spcAft>
                  <a:spcPct val="0"/>
                </a:spcAft>
                <a:buClr>
                  <a:schemeClr val="tx2"/>
                </a:buClr>
                <a:buSzPct val="120000"/>
                <a:buFont typeface="Arial" charset="0"/>
                <a:buChar char="–"/>
                <a:defRPr sz="1412" baseline="0"/>
              </a:lvl3pPr>
              <a:lvl4pPr marL="552642" lvl="3" indent="-139947" defTabSz="805399" fontAlgn="base">
                <a:spcBef>
                  <a:spcPct val="0"/>
                </a:spcBef>
                <a:spcAft>
                  <a:spcPct val="0"/>
                </a:spcAft>
                <a:buClr>
                  <a:schemeClr val="tx2"/>
                </a:buClr>
                <a:buSzPct val="120000"/>
                <a:buFont typeface="Arial" panose="020B0604020202020204" pitchFamily="34" charset="0"/>
                <a:buChar char="▫"/>
                <a:defRPr sz="1412" baseline="0"/>
              </a:lvl4pPr>
              <a:lvl5pPr marL="674480" lvl="4" indent="-117096" defTabSz="805399" fontAlgn="base">
                <a:spcBef>
                  <a:spcPct val="0"/>
                </a:spcBef>
                <a:spcAft>
                  <a:spcPct val="0"/>
                </a:spcAft>
                <a:buClr>
                  <a:schemeClr val="tx2"/>
                </a:buClr>
                <a:buSzPct val="89000"/>
                <a:buFont typeface="Arial" charset="0"/>
                <a:buChar char="-"/>
                <a:defRPr sz="1412" baseline="0"/>
              </a:lvl5pPr>
              <a:lvl6pPr marL="674480" indent="-117096" defTabSz="805399" fontAlgn="base">
                <a:spcBef>
                  <a:spcPct val="0"/>
                </a:spcBef>
                <a:spcAft>
                  <a:spcPct val="0"/>
                </a:spcAft>
                <a:buClr>
                  <a:schemeClr val="tx2"/>
                </a:buClr>
                <a:buSzPct val="89000"/>
                <a:buFont typeface="Arial" charset="0"/>
                <a:buChar char="-"/>
                <a:defRPr sz="1412" baseline="0"/>
              </a:lvl6pPr>
              <a:lvl7pPr marL="674480" indent="-117096" defTabSz="805399" fontAlgn="base">
                <a:spcBef>
                  <a:spcPct val="0"/>
                </a:spcBef>
                <a:spcAft>
                  <a:spcPct val="0"/>
                </a:spcAft>
                <a:buClr>
                  <a:schemeClr val="tx2"/>
                </a:buClr>
                <a:buSzPct val="89000"/>
                <a:buFont typeface="Arial" charset="0"/>
                <a:buChar char="-"/>
                <a:defRPr sz="1412" baseline="0"/>
              </a:lvl7pPr>
              <a:lvl8pPr marL="674480" indent="-117096" defTabSz="805399" fontAlgn="base">
                <a:spcBef>
                  <a:spcPct val="0"/>
                </a:spcBef>
                <a:spcAft>
                  <a:spcPct val="0"/>
                </a:spcAft>
                <a:buClr>
                  <a:schemeClr val="tx2"/>
                </a:buClr>
                <a:buSzPct val="89000"/>
                <a:buFont typeface="Arial" charset="0"/>
                <a:buChar char="-"/>
                <a:defRPr sz="1412" baseline="0"/>
              </a:lvl8pPr>
              <a:lvl9pPr marL="674480" indent="-117096" defTabSz="805399" fontAlgn="base">
                <a:spcBef>
                  <a:spcPct val="0"/>
                </a:spcBef>
                <a:spcAft>
                  <a:spcPct val="0"/>
                </a:spcAft>
                <a:buClr>
                  <a:schemeClr val="tx2"/>
                </a:buClr>
                <a:buSzPct val="89000"/>
                <a:buFont typeface="Arial" charset="0"/>
                <a:buChar char="-"/>
                <a:defRPr sz="1412" baseline="0"/>
              </a:lvl9pPr>
            </a:lstStyle>
            <a:p>
              <a:pPr algn="ctr" defTabSz="641489">
                <a:buClr>
                  <a:srgbClr val="002960"/>
                </a:buClr>
                <a:defRPr/>
              </a:pPr>
              <a:endParaRPr lang="fr-FR" sz="1249" b="1" kern="0" dirty="0">
                <a:solidFill>
                  <a:srgbClr val="FFFFFF"/>
                </a:solidFill>
                <a:latin typeface="HelveticaNeueLTStd-Lt" panose="020B0403020202020204" pitchFamily="34" charset="0"/>
                <a:ea typeface="ＭＳ Ｐゴシック"/>
              </a:endParaRPr>
            </a:p>
          </p:txBody>
        </p:sp>
        <p:pic>
          <p:nvPicPr>
            <p:cNvPr id="186" name="CustomIcon">
              <a:extLst>
                <a:ext uri="{FF2B5EF4-FFF2-40B4-BE49-F238E27FC236}">
                  <a16:creationId xmlns:a16="http://schemas.microsoft.com/office/drawing/2014/main" id="{C1D29AEB-5DAC-4BD9-B1DD-1CC659BA1391}"/>
                </a:ext>
              </a:extLst>
            </p:cNvPr>
            <p:cNvPicPr>
              <a:picLocks/>
            </p:cNvPicPr>
            <p:nvPr>
              <p:custDataLst>
                <p:tags r:id="rId8"/>
              </p:custDataLst>
            </p:nvPr>
          </p:nvPicPr>
          <p:blipFill>
            <a:blip r:embed="rId37">
              <a:extLst>
                <a:ext uri="{96DAC541-7B7A-43D3-8B79-37D633B846F1}">
                  <asvg:svgBlip xmlns:asvg="http://schemas.microsoft.com/office/drawing/2016/SVG/main" r:embed="rId38"/>
                </a:ext>
              </a:extLst>
            </a:blip>
            <a:stretch>
              <a:fillRect/>
            </a:stretch>
          </p:blipFill>
          <p:spPr>
            <a:xfrm>
              <a:off x="7035540" y="5775332"/>
              <a:ext cx="307071" cy="313555"/>
            </a:xfrm>
            <a:prstGeom prst="rect">
              <a:avLst/>
            </a:prstGeom>
          </p:spPr>
        </p:pic>
      </p:grpSp>
    </p:spTree>
    <p:extLst>
      <p:ext uri="{BB962C8B-B14F-4D97-AF65-F5344CB8AC3E}">
        <p14:creationId xmlns:p14="http://schemas.microsoft.com/office/powerpoint/2010/main" val="1105441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56"/>
        <p:cNvGrpSpPr/>
        <p:nvPr/>
      </p:nvGrpSpPr>
      <p:grpSpPr>
        <a:xfrm>
          <a:off x="0" y="0"/>
          <a:ext cx="0" cy="0"/>
          <a:chOff x="0" y="0"/>
          <a:chExt cx="0" cy="0"/>
        </a:xfrm>
      </p:grpSpPr>
      <p:sp>
        <p:nvSpPr>
          <p:cNvPr id="757" name="Google Shape;757;g25ade9e9821_0_734"/>
          <p:cNvSpPr/>
          <p:nvPr/>
        </p:nvSpPr>
        <p:spPr>
          <a:xfrm>
            <a:off x="477000" y="1304300"/>
            <a:ext cx="11215200" cy="1023600"/>
          </a:xfrm>
          <a:prstGeom prst="round2SameRect">
            <a:avLst>
              <a:gd name="adj1" fmla="val 16667"/>
              <a:gd name="adj2" fmla="val 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58" name="Google Shape;758;g25ade9e9821_0_734"/>
          <p:cNvSpPr/>
          <p:nvPr/>
        </p:nvSpPr>
        <p:spPr>
          <a:xfrm rot="5400000">
            <a:off x="8541001" y="2857526"/>
            <a:ext cx="3592500" cy="2709900"/>
          </a:xfrm>
          <a:prstGeom prst="round1Rect">
            <a:avLst>
              <a:gd name="adj" fmla="val 16667"/>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59" name="Google Shape;759;g25ade9e9821_0_734"/>
          <p:cNvSpPr/>
          <p:nvPr/>
        </p:nvSpPr>
        <p:spPr>
          <a:xfrm>
            <a:off x="6145067" y="2416226"/>
            <a:ext cx="2713200" cy="3592500"/>
          </a:xfrm>
          <a:prstGeom prst="rect">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300"/>
            </a:pPr>
            <a:endParaRPr sz="1300">
              <a:latin typeface="Calibri" panose="020F0502020204030204" pitchFamily="34" charset="0"/>
              <a:cs typeface="Calibri" panose="020F0502020204030204" pitchFamily="34" charset="0"/>
            </a:endParaRPr>
          </a:p>
        </p:txBody>
      </p:sp>
      <p:sp>
        <p:nvSpPr>
          <p:cNvPr id="760" name="Google Shape;760;g25ade9e9821_0_734"/>
          <p:cNvSpPr/>
          <p:nvPr/>
        </p:nvSpPr>
        <p:spPr>
          <a:xfrm>
            <a:off x="3311033" y="2416226"/>
            <a:ext cx="2713200" cy="3592500"/>
          </a:xfrm>
          <a:prstGeom prst="rect">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61" name="Google Shape;761;g25ade9e9821_0_734"/>
          <p:cNvSpPr/>
          <p:nvPr/>
        </p:nvSpPr>
        <p:spPr>
          <a:xfrm rot="10800000">
            <a:off x="476975" y="2416175"/>
            <a:ext cx="2713200" cy="3592500"/>
          </a:xfrm>
          <a:prstGeom prst="round1Rect">
            <a:avLst>
              <a:gd name="adj" fmla="val 16667"/>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62" name="Google Shape;762;g25ade9e9821_0_734"/>
          <p:cNvSpPr txBox="1">
            <a:spLocks noGrp="1"/>
          </p:cNvSpPr>
          <p:nvPr>
            <p:ph type="title"/>
          </p:nvPr>
        </p:nvSpPr>
        <p:spPr>
          <a:xfrm>
            <a:off x="233259" y="283039"/>
            <a:ext cx="10514400" cy="376800"/>
          </a:xfrm>
          <a:prstGeom prst="rect">
            <a:avLst/>
          </a:prstGeom>
          <a:noFill/>
          <a:ln>
            <a:noFill/>
          </a:ln>
        </p:spPr>
        <p:txBody>
          <a:bodyPr spcFirstLastPara="1" vert="horz" wrap="square" lIns="0" tIns="0" rIns="0" bIns="0" numCol="1" anchor="t" anchorCtr="0" compatLnSpc="1">
            <a:prstTxWarp prst="textNoShape">
              <a:avLst/>
            </a:prstTxWarp>
            <a:noAutofit/>
          </a:bodyPr>
          <a:lstStyle/>
          <a:p>
            <a:pPr>
              <a:buSzPts val="1500"/>
            </a:pPr>
            <a:r>
              <a:rPr lang="fr-FR" dirty="0"/>
              <a:t>Digitalisation du Manifeste de Fret</a:t>
            </a:r>
            <a:endParaRPr dirty="0"/>
          </a:p>
        </p:txBody>
      </p:sp>
      <p:pic>
        <p:nvPicPr>
          <p:cNvPr id="763" name="Google Shape;763;g25ade9e9821_0_734"/>
          <p:cNvPicPr preferRelativeResize="0"/>
          <p:nvPr/>
        </p:nvPicPr>
        <p:blipFill rotWithShape="1">
          <a:blip r:embed="rId3">
            <a:alphaModFix/>
          </a:blip>
          <a:srcRect/>
          <a:stretch/>
        </p:blipFill>
        <p:spPr>
          <a:xfrm>
            <a:off x="574776" y="1573851"/>
            <a:ext cx="484525" cy="484525"/>
          </a:xfrm>
          <a:prstGeom prst="rect">
            <a:avLst/>
          </a:prstGeom>
          <a:noFill/>
          <a:ln>
            <a:noFill/>
          </a:ln>
        </p:spPr>
      </p:pic>
      <p:pic>
        <p:nvPicPr>
          <p:cNvPr id="764" name="Google Shape;764;g25ade9e9821_0_734"/>
          <p:cNvPicPr preferRelativeResize="0"/>
          <p:nvPr/>
        </p:nvPicPr>
        <p:blipFill rotWithShape="1">
          <a:blip r:embed="rId4">
            <a:alphaModFix/>
          </a:blip>
          <a:srcRect/>
          <a:stretch/>
        </p:blipFill>
        <p:spPr>
          <a:xfrm>
            <a:off x="3359926" y="2527926"/>
            <a:ext cx="484525" cy="484525"/>
          </a:xfrm>
          <a:prstGeom prst="rect">
            <a:avLst/>
          </a:prstGeom>
          <a:noFill/>
          <a:ln>
            <a:noFill/>
          </a:ln>
        </p:spPr>
      </p:pic>
      <p:pic>
        <p:nvPicPr>
          <p:cNvPr id="765" name="Google Shape;765;g25ade9e9821_0_734"/>
          <p:cNvPicPr preferRelativeResize="0"/>
          <p:nvPr/>
        </p:nvPicPr>
        <p:blipFill rotWithShape="1">
          <a:blip r:embed="rId5">
            <a:alphaModFix/>
          </a:blip>
          <a:srcRect/>
          <a:stretch/>
        </p:blipFill>
        <p:spPr>
          <a:xfrm>
            <a:off x="574776" y="2527926"/>
            <a:ext cx="484525" cy="484525"/>
          </a:xfrm>
          <a:prstGeom prst="rect">
            <a:avLst/>
          </a:prstGeom>
          <a:noFill/>
          <a:ln>
            <a:noFill/>
          </a:ln>
        </p:spPr>
      </p:pic>
      <p:pic>
        <p:nvPicPr>
          <p:cNvPr id="766" name="Google Shape;766;g25ade9e9821_0_734"/>
          <p:cNvPicPr preferRelativeResize="0"/>
          <p:nvPr/>
        </p:nvPicPr>
        <p:blipFill rotWithShape="1">
          <a:blip r:embed="rId6">
            <a:alphaModFix/>
          </a:blip>
          <a:srcRect/>
          <a:stretch/>
        </p:blipFill>
        <p:spPr>
          <a:xfrm>
            <a:off x="9062976" y="2527939"/>
            <a:ext cx="484525" cy="484500"/>
          </a:xfrm>
          <a:prstGeom prst="rect">
            <a:avLst/>
          </a:prstGeom>
          <a:noFill/>
          <a:ln>
            <a:noFill/>
          </a:ln>
        </p:spPr>
      </p:pic>
      <p:pic>
        <p:nvPicPr>
          <p:cNvPr id="767" name="Google Shape;767;g25ade9e9821_0_734"/>
          <p:cNvPicPr preferRelativeResize="0"/>
          <p:nvPr/>
        </p:nvPicPr>
        <p:blipFill rotWithShape="1">
          <a:blip r:embed="rId7">
            <a:alphaModFix/>
          </a:blip>
          <a:srcRect/>
          <a:stretch/>
        </p:blipFill>
        <p:spPr>
          <a:xfrm>
            <a:off x="6213014" y="2527939"/>
            <a:ext cx="484525" cy="484525"/>
          </a:xfrm>
          <a:prstGeom prst="rect">
            <a:avLst/>
          </a:prstGeom>
          <a:noFill/>
          <a:ln>
            <a:noFill/>
          </a:ln>
        </p:spPr>
      </p:pic>
      <p:sp>
        <p:nvSpPr>
          <p:cNvPr id="768" name="Google Shape;768;g25ade9e9821_0_734"/>
          <p:cNvSpPr txBox="1"/>
          <p:nvPr/>
        </p:nvSpPr>
        <p:spPr>
          <a:xfrm>
            <a:off x="1211700" y="1497201"/>
            <a:ext cx="10145400" cy="628500"/>
          </a:xfrm>
          <a:prstGeom prst="rect">
            <a:avLst/>
          </a:prstGeom>
          <a:noFill/>
          <a:ln>
            <a:noFill/>
          </a:ln>
        </p:spPr>
        <p:txBody>
          <a:bodyPr spcFirstLastPara="1" wrap="square" lIns="91425" tIns="91425" rIns="91425" bIns="91425" anchor="ctr" anchorCtr="0">
            <a:noAutofit/>
          </a:bodyPr>
          <a:lstStyle/>
          <a:p>
            <a:pPr>
              <a:buSzPts val="1400"/>
            </a:pPr>
            <a:r>
              <a:rPr lang="fr-FR" sz="1400" b="1" dirty="0">
                <a:solidFill>
                  <a:srgbClr val="262169"/>
                </a:solidFill>
                <a:latin typeface="Calibri" panose="020F0502020204030204" pitchFamily="34" charset="0"/>
                <a:ea typeface="Arial Narrow"/>
                <a:cs typeface="Calibri" panose="020F0502020204030204" pitchFamily="34" charset="0"/>
                <a:sym typeface="Arial Narrow"/>
              </a:rPr>
              <a:t>MAÎTRISER LE FLUX DE TRANSPORT DES MARCHANDISES AU MAROC</a:t>
            </a:r>
            <a:endParaRPr sz="1400" b="1"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69" name="Google Shape;769;g25ade9e9821_0_734"/>
          <p:cNvSpPr txBox="1"/>
          <p:nvPr/>
        </p:nvSpPr>
        <p:spPr>
          <a:xfrm>
            <a:off x="499801" y="3077415"/>
            <a:ext cx="2709900" cy="2640300"/>
          </a:xfrm>
          <a:prstGeom prst="rect">
            <a:avLst/>
          </a:prstGeom>
          <a:noFill/>
          <a:ln>
            <a:noFill/>
          </a:ln>
        </p:spPr>
        <p:txBody>
          <a:bodyPr spcFirstLastPara="1" wrap="square" lIns="91425" tIns="91425" rIns="91425" bIns="91425" anchor="t" anchorCtr="0">
            <a:noAutofit/>
          </a:bodyPr>
          <a:lstStyle/>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Donneur d'ordre</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Transporteur TMCA/TMCP</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Destinataire</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Conducteur</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Contrôleur</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Agent SITR</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Admin Ministère</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Super Admin</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0" name="Google Shape;770;g25ade9e9821_0_734"/>
          <p:cNvSpPr txBox="1"/>
          <p:nvPr/>
        </p:nvSpPr>
        <p:spPr>
          <a:xfrm>
            <a:off x="3186900" y="3027697"/>
            <a:ext cx="2834133" cy="2893800"/>
          </a:xfrm>
          <a:prstGeom prst="rect">
            <a:avLst/>
          </a:prstGeom>
          <a:noFill/>
          <a:ln>
            <a:noFill/>
          </a:ln>
        </p:spPr>
        <p:txBody>
          <a:bodyPr spcFirstLastPara="1" wrap="square" lIns="91425" tIns="91425" rIns="91425" bIns="91425" anchor="t" anchorCtr="0">
            <a:noAutofit/>
          </a:bodyPr>
          <a:lstStyle/>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Déclarer la marchandise </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Suivre de la marchandise</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Réceptionner la marchandise</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Tracer l'opération du transport</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Opération du contrôle fluide</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Intervenir pour débloquer les opérations d'inscription</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Avoir une visibilité complète sur les opérations du transport</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298443">
              <a:lnSpc>
                <a:spcPct val="150000"/>
              </a:lnSpc>
              <a:buClr>
                <a:srgbClr val="262169"/>
              </a:buClr>
              <a:buSzPts val="1100"/>
              <a:buFont typeface="Arial Narrow"/>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Gérer l’application</a:t>
            </a:r>
            <a:endParaRPr sz="1200"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1" name="Google Shape;771;g25ade9e9821_0_734"/>
          <p:cNvSpPr txBox="1"/>
          <p:nvPr/>
        </p:nvSpPr>
        <p:spPr>
          <a:xfrm>
            <a:off x="6148314" y="3114751"/>
            <a:ext cx="2709900" cy="2111700"/>
          </a:xfrm>
          <a:prstGeom prst="rect">
            <a:avLst/>
          </a:prstGeom>
          <a:noFill/>
          <a:ln>
            <a:noFill/>
          </a:ln>
        </p:spPr>
        <p:txBody>
          <a:bodyPr spcFirstLastPara="1" wrap="square" lIns="91425" tIns="91425" rIns="91425" bIns="91425" anchor="t" anchorCtr="0">
            <a:noAutofit/>
          </a:bodyPr>
          <a:lstStyle/>
          <a:p>
            <a:pPr marL="457189" indent="-304792">
              <a:lnSpc>
                <a:spcPct val="150000"/>
              </a:lnSpc>
              <a:buClr>
                <a:srgbClr val="262169"/>
              </a:buClr>
              <a:buSzPts val="1200"/>
              <a:buFont typeface="Arial"/>
              <a:buChar char="●"/>
            </a:pPr>
            <a:r>
              <a:rPr lang="fr-FR" sz="1333" dirty="0">
                <a:solidFill>
                  <a:srgbClr val="262169"/>
                </a:solidFill>
                <a:latin typeface="Calibri" panose="020F0502020204030204" pitchFamily="34" charset="0"/>
                <a:ea typeface="Arial Narrow"/>
                <a:cs typeface="Calibri" panose="020F0502020204030204" pitchFamily="34" charset="0"/>
                <a:sym typeface="Arial Narrow"/>
              </a:rPr>
              <a:t>Plateforme web Responsive Particuliers</a:t>
            </a:r>
            <a:endParaRPr sz="1333"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311143">
              <a:lnSpc>
                <a:spcPct val="150000"/>
              </a:lnSpc>
              <a:buClr>
                <a:srgbClr val="262169"/>
              </a:buClr>
              <a:buSzPts val="1300"/>
              <a:buFont typeface="Arial Narrow"/>
              <a:buChar char="●"/>
            </a:pPr>
            <a:r>
              <a:rPr lang="fr-FR" sz="1333" dirty="0">
                <a:solidFill>
                  <a:srgbClr val="262169"/>
                </a:solidFill>
                <a:latin typeface="Calibri" panose="020F0502020204030204" pitchFamily="34" charset="0"/>
                <a:ea typeface="Arial Narrow"/>
                <a:cs typeface="Calibri" panose="020F0502020204030204" pitchFamily="34" charset="0"/>
                <a:sym typeface="Arial Narrow"/>
              </a:rPr>
              <a:t>Plateforme web Responsive Personnes Morales / Professionnels</a:t>
            </a:r>
            <a:endParaRPr sz="1333"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311143">
              <a:lnSpc>
                <a:spcPct val="150000"/>
              </a:lnSpc>
              <a:buClr>
                <a:srgbClr val="262169"/>
              </a:buClr>
              <a:buSzPts val="1300"/>
              <a:buFont typeface="Arial Narrow"/>
              <a:buChar char="●"/>
            </a:pPr>
            <a:r>
              <a:rPr lang="fr-FR" sz="1333" dirty="0">
                <a:solidFill>
                  <a:srgbClr val="262169"/>
                </a:solidFill>
                <a:latin typeface="Calibri" panose="020F0502020204030204" pitchFamily="34" charset="0"/>
                <a:ea typeface="Arial Narrow"/>
                <a:cs typeface="Calibri" panose="020F0502020204030204" pitchFamily="34" charset="0"/>
                <a:sym typeface="Arial Narrow"/>
              </a:rPr>
              <a:t>Application Mobile</a:t>
            </a:r>
            <a:endParaRPr sz="1333"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2" name="Google Shape;772;g25ade9e9821_0_734"/>
          <p:cNvSpPr txBox="1"/>
          <p:nvPr/>
        </p:nvSpPr>
        <p:spPr>
          <a:xfrm>
            <a:off x="8858214" y="3106270"/>
            <a:ext cx="2636353" cy="2379300"/>
          </a:xfrm>
          <a:prstGeom prst="rect">
            <a:avLst/>
          </a:prstGeom>
          <a:noFill/>
          <a:ln>
            <a:noFill/>
          </a:ln>
        </p:spPr>
        <p:txBody>
          <a:bodyPr spcFirstLastPara="1" wrap="square" lIns="91425" tIns="91425" rIns="91425" bIns="91425" anchor="t" anchorCtr="0">
            <a:noAutofit/>
          </a:bodyPr>
          <a:lstStyle/>
          <a:p>
            <a:pPr marL="457189" indent="-311143">
              <a:lnSpc>
                <a:spcPct val="150000"/>
              </a:lnSpc>
              <a:buClr>
                <a:srgbClr val="262169"/>
              </a:buClr>
              <a:buSzPts val="13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Digitaliser le Manifeste de Fret</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311143">
              <a:lnSpc>
                <a:spcPct val="150000"/>
              </a:lnSpc>
              <a:buClr>
                <a:srgbClr val="262169"/>
              </a:buClr>
              <a:buSzPts val="13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Digitaliser la déclaration de Fret</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a:p>
            <a:pPr marL="457189" indent="-311143">
              <a:buClr>
                <a:srgbClr val="262169"/>
              </a:buClr>
              <a:buSzPts val="13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Connexion au système gestion du transport utilisé par les transporteurs.</a:t>
            </a:r>
          </a:p>
          <a:p>
            <a:pPr marL="146046">
              <a:buClr>
                <a:srgbClr val="262169"/>
              </a:buClr>
              <a:buSzPts val="1300"/>
            </a:pPr>
            <a:endParaRPr sz="1267"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3" name="Google Shape;773;g25ade9e9821_0_734"/>
          <p:cNvSpPr txBox="1">
            <a:spLocks noGrp="1"/>
          </p:cNvSpPr>
          <p:nvPr>
            <p:ph type="title"/>
          </p:nvPr>
        </p:nvSpPr>
        <p:spPr>
          <a:xfrm>
            <a:off x="12117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dirty="0">
                <a:solidFill>
                  <a:srgbClr val="008BA7"/>
                </a:solidFill>
                <a:latin typeface="Calibri" panose="020F0502020204030204" pitchFamily="34" charset="0"/>
                <a:cs typeface="Calibri" panose="020F0502020204030204" pitchFamily="34" charset="0"/>
              </a:rPr>
              <a:t>Target Group</a:t>
            </a:r>
            <a:endParaRPr sz="1500" dirty="0">
              <a:solidFill>
                <a:srgbClr val="008BA7"/>
              </a:solidFill>
              <a:latin typeface="Calibri" panose="020F0502020204030204" pitchFamily="34" charset="0"/>
              <a:cs typeface="Calibri" panose="020F0502020204030204" pitchFamily="34" charset="0"/>
            </a:endParaRPr>
          </a:p>
        </p:txBody>
      </p:sp>
      <p:sp>
        <p:nvSpPr>
          <p:cNvPr id="774" name="Google Shape;774;g25ade9e9821_0_734"/>
          <p:cNvSpPr txBox="1">
            <a:spLocks noGrp="1"/>
          </p:cNvSpPr>
          <p:nvPr>
            <p:ph type="title"/>
          </p:nvPr>
        </p:nvSpPr>
        <p:spPr>
          <a:xfrm>
            <a:off x="39549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a:solidFill>
                  <a:srgbClr val="008BA7"/>
                </a:solidFill>
                <a:latin typeface="Calibri" panose="020F0502020204030204" pitchFamily="34" charset="0"/>
                <a:cs typeface="Calibri" panose="020F0502020204030204" pitchFamily="34" charset="0"/>
              </a:rPr>
              <a:t>Needs</a:t>
            </a:r>
            <a:endParaRPr sz="1500">
              <a:solidFill>
                <a:srgbClr val="008BA7"/>
              </a:solidFill>
              <a:latin typeface="Calibri" panose="020F0502020204030204" pitchFamily="34" charset="0"/>
              <a:cs typeface="Calibri" panose="020F0502020204030204" pitchFamily="34" charset="0"/>
            </a:endParaRPr>
          </a:p>
        </p:txBody>
      </p:sp>
      <p:sp>
        <p:nvSpPr>
          <p:cNvPr id="775" name="Google Shape;775;g25ade9e9821_0_734"/>
          <p:cNvSpPr txBox="1">
            <a:spLocks noGrp="1"/>
          </p:cNvSpPr>
          <p:nvPr>
            <p:ph type="title"/>
          </p:nvPr>
        </p:nvSpPr>
        <p:spPr>
          <a:xfrm>
            <a:off x="67743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a:solidFill>
                  <a:srgbClr val="008BA7"/>
                </a:solidFill>
                <a:latin typeface="Calibri" panose="020F0502020204030204" pitchFamily="34" charset="0"/>
                <a:cs typeface="Calibri" panose="020F0502020204030204" pitchFamily="34" charset="0"/>
              </a:rPr>
              <a:t>Product</a:t>
            </a:r>
            <a:endParaRPr sz="1500">
              <a:solidFill>
                <a:srgbClr val="008BA7"/>
              </a:solidFill>
              <a:latin typeface="Calibri" panose="020F0502020204030204" pitchFamily="34" charset="0"/>
              <a:cs typeface="Calibri" panose="020F0502020204030204" pitchFamily="34" charset="0"/>
            </a:endParaRPr>
          </a:p>
        </p:txBody>
      </p:sp>
      <p:sp>
        <p:nvSpPr>
          <p:cNvPr id="776" name="Google Shape;776;g25ade9e9821_0_734"/>
          <p:cNvSpPr txBox="1">
            <a:spLocks noGrp="1"/>
          </p:cNvSpPr>
          <p:nvPr>
            <p:ph type="title"/>
          </p:nvPr>
        </p:nvSpPr>
        <p:spPr>
          <a:xfrm>
            <a:off x="95937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a:solidFill>
                  <a:srgbClr val="008BA7"/>
                </a:solidFill>
                <a:latin typeface="Calibri" panose="020F0502020204030204" pitchFamily="34" charset="0"/>
                <a:cs typeface="Calibri" panose="020F0502020204030204" pitchFamily="34" charset="0"/>
              </a:rPr>
              <a:t>Business Goal</a:t>
            </a:r>
            <a:endParaRPr sz="1500">
              <a:solidFill>
                <a:srgbClr val="008BA7"/>
              </a:solidFill>
              <a:latin typeface="Calibri" panose="020F0502020204030204" pitchFamily="34" charset="0"/>
              <a:cs typeface="Calibri" panose="020F050202020403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756"/>
        <p:cNvGrpSpPr/>
        <p:nvPr/>
      </p:nvGrpSpPr>
      <p:grpSpPr>
        <a:xfrm>
          <a:off x="0" y="0"/>
          <a:ext cx="0" cy="0"/>
          <a:chOff x="0" y="0"/>
          <a:chExt cx="0" cy="0"/>
        </a:xfrm>
      </p:grpSpPr>
      <p:sp>
        <p:nvSpPr>
          <p:cNvPr id="757" name="Google Shape;757;g25ade9e9821_0_734"/>
          <p:cNvSpPr/>
          <p:nvPr/>
        </p:nvSpPr>
        <p:spPr>
          <a:xfrm>
            <a:off x="477000" y="1304300"/>
            <a:ext cx="11215200" cy="1023600"/>
          </a:xfrm>
          <a:prstGeom prst="round2SameRect">
            <a:avLst>
              <a:gd name="adj1" fmla="val 16667"/>
              <a:gd name="adj2" fmla="val 0"/>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58" name="Google Shape;758;g25ade9e9821_0_734"/>
          <p:cNvSpPr/>
          <p:nvPr/>
        </p:nvSpPr>
        <p:spPr>
          <a:xfrm rot="5400000">
            <a:off x="8541001" y="2857526"/>
            <a:ext cx="3592500" cy="2709900"/>
          </a:xfrm>
          <a:prstGeom prst="round1Rect">
            <a:avLst>
              <a:gd name="adj" fmla="val 16667"/>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60" name="Google Shape;760;g25ade9e9821_0_734"/>
          <p:cNvSpPr/>
          <p:nvPr/>
        </p:nvSpPr>
        <p:spPr>
          <a:xfrm>
            <a:off x="3311032" y="2416226"/>
            <a:ext cx="5547181" cy="3592500"/>
          </a:xfrm>
          <a:prstGeom prst="rect">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61" name="Google Shape;761;g25ade9e9821_0_734"/>
          <p:cNvSpPr/>
          <p:nvPr/>
        </p:nvSpPr>
        <p:spPr>
          <a:xfrm rot="10800000">
            <a:off x="476975" y="2416175"/>
            <a:ext cx="2713200" cy="3592500"/>
          </a:xfrm>
          <a:prstGeom prst="round1Rect">
            <a:avLst>
              <a:gd name="adj" fmla="val 16667"/>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sz="1400">
              <a:latin typeface="Calibri" panose="020F0502020204030204" pitchFamily="34" charset="0"/>
              <a:cs typeface="Calibri" panose="020F0502020204030204" pitchFamily="34" charset="0"/>
            </a:endParaRPr>
          </a:p>
        </p:txBody>
      </p:sp>
      <p:sp>
        <p:nvSpPr>
          <p:cNvPr id="762" name="Google Shape;762;g25ade9e9821_0_734"/>
          <p:cNvSpPr txBox="1">
            <a:spLocks noGrp="1"/>
          </p:cNvSpPr>
          <p:nvPr>
            <p:ph type="title"/>
          </p:nvPr>
        </p:nvSpPr>
        <p:spPr>
          <a:xfrm>
            <a:off x="233259" y="283039"/>
            <a:ext cx="10514400" cy="376800"/>
          </a:xfrm>
          <a:prstGeom prst="rect">
            <a:avLst/>
          </a:prstGeom>
          <a:noFill/>
          <a:ln>
            <a:noFill/>
          </a:ln>
        </p:spPr>
        <p:txBody>
          <a:bodyPr spcFirstLastPara="1" vert="horz" wrap="square" lIns="0" tIns="0" rIns="0" bIns="0" numCol="1" anchor="t" anchorCtr="0" compatLnSpc="1">
            <a:prstTxWarp prst="textNoShape">
              <a:avLst/>
            </a:prstTxWarp>
            <a:noAutofit/>
          </a:bodyPr>
          <a:lstStyle/>
          <a:p>
            <a:pPr>
              <a:buSzPts val="1500"/>
            </a:pPr>
            <a:r>
              <a:rPr lang="fr-FR" dirty="0"/>
              <a:t>Plateforme e-learning</a:t>
            </a:r>
            <a:endParaRPr dirty="0"/>
          </a:p>
        </p:txBody>
      </p:sp>
      <p:pic>
        <p:nvPicPr>
          <p:cNvPr id="763" name="Google Shape;763;g25ade9e9821_0_734"/>
          <p:cNvPicPr preferRelativeResize="0"/>
          <p:nvPr/>
        </p:nvPicPr>
        <p:blipFill rotWithShape="1">
          <a:blip r:embed="rId3">
            <a:alphaModFix/>
          </a:blip>
          <a:srcRect/>
          <a:stretch/>
        </p:blipFill>
        <p:spPr>
          <a:xfrm>
            <a:off x="574776" y="1573851"/>
            <a:ext cx="484525" cy="484525"/>
          </a:xfrm>
          <a:prstGeom prst="rect">
            <a:avLst/>
          </a:prstGeom>
          <a:noFill/>
          <a:ln>
            <a:noFill/>
          </a:ln>
        </p:spPr>
      </p:pic>
      <p:pic>
        <p:nvPicPr>
          <p:cNvPr id="764" name="Google Shape;764;g25ade9e9821_0_734"/>
          <p:cNvPicPr preferRelativeResize="0"/>
          <p:nvPr/>
        </p:nvPicPr>
        <p:blipFill rotWithShape="1">
          <a:blip r:embed="rId4">
            <a:alphaModFix/>
          </a:blip>
          <a:srcRect/>
          <a:stretch/>
        </p:blipFill>
        <p:spPr>
          <a:xfrm>
            <a:off x="3359926" y="2527926"/>
            <a:ext cx="484525" cy="484525"/>
          </a:xfrm>
          <a:prstGeom prst="rect">
            <a:avLst/>
          </a:prstGeom>
          <a:noFill/>
          <a:ln>
            <a:noFill/>
          </a:ln>
        </p:spPr>
      </p:pic>
      <p:pic>
        <p:nvPicPr>
          <p:cNvPr id="765" name="Google Shape;765;g25ade9e9821_0_734"/>
          <p:cNvPicPr preferRelativeResize="0"/>
          <p:nvPr/>
        </p:nvPicPr>
        <p:blipFill rotWithShape="1">
          <a:blip r:embed="rId5">
            <a:alphaModFix/>
          </a:blip>
          <a:srcRect/>
          <a:stretch/>
        </p:blipFill>
        <p:spPr>
          <a:xfrm>
            <a:off x="574776" y="2527926"/>
            <a:ext cx="484525" cy="484525"/>
          </a:xfrm>
          <a:prstGeom prst="rect">
            <a:avLst/>
          </a:prstGeom>
          <a:noFill/>
          <a:ln>
            <a:noFill/>
          </a:ln>
        </p:spPr>
      </p:pic>
      <p:pic>
        <p:nvPicPr>
          <p:cNvPr id="766" name="Google Shape;766;g25ade9e9821_0_734"/>
          <p:cNvPicPr preferRelativeResize="0"/>
          <p:nvPr/>
        </p:nvPicPr>
        <p:blipFill rotWithShape="1">
          <a:blip r:embed="rId6">
            <a:alphaModFix/>
          </a:blip>
          <a:srcRect/>
          <a:stretch/>
        </p:blipFill>
        <p:spPr>
          <a:xfrm>
            <a:off x="9062976" y="2527939"/>
            <a:ext cx="484525" cy="484500"/>
          </a:xfrm>
          <a:prstGeom prst="rect">
            <a:avLst/>
          </a:prstGeom>
          <a:noFill/>
          <a:ln>
            <a:noFill/>
          </a:ln>
        </p:spPr>
      </p:pic>
      <p:pic>
        <p:nvPicPr>
          <p:cNvPr id="767" name="Google Shape;767;g25ade9e9821_0_734"/>
          <p:cNvPicPr preferRelativeResize="0"/>
          <p:nvPr/>
        </p:nvPicPr>
        <p:blipFill rotWithShape="1">
          <a:blip r:embed="rId7">
            <a:alphaModFix/>
          </a:blip>
          <a:srcRect/>
          <a:stretch/>
        </p:blipFill>
        <p:spPr>
          <a:xfrm>
            <a:off x="9127676" y="4275725"/>
            <a:ext cx="484525" cy="484525"/>
          </a:xfrm>
          <a:prstGeom prst="rect">
            <a:avLst/>
          </a:prstGeom>
          <a:noFill/>
          <a:ln>
            <a:noFill/>
          </a:ln>
        </p:spPr>
      </p:pic>
      <p:sp>
        <p:nvSpPr>
          <p:cNvPr id="768" name="Google Shape;768;g25ade9e9821_0_734"/>
          <p:cNvSpPr txBox="1"/>
          <p:nvPr/>
        </p:nvSpPr>
        <p:spPr>
          <a:xfrm>
            <a:off x="1211700" y="1497201"/>
            <a:ext cx="10145400" cy="628500"/>
          </a:xfrm>
          <a:prstGeom prst="rect">
            <a:avLst/>
          </a:prstGeom>
          <a:noFill/>
          <a:ln>
            <a:noFill/>
          </a:ln>
        </p:spPr>
        <p:txBody>
          <a:bodyPr spcFirstLastPara="1" wrap="square" lIns="91425" tIns="91425" rIns="91425" bIns="91425" anchor="ctr" anchorCtr="0">
            <a:noAutofit/>
          </a:bodyPr>
          <a:lstStyle/>
          <a:p>
            <a:pPr>
              <a:buSzPts val="1400"/>
            </a:pPr>
            <a:r>
              <a:rPr lang="fr-FR" sz="1400" b="1" dirty="0">
                <a:solidFill>
                  <a:srgbClr val="262169"/>
                </a:solidFill>
                <a:latin typeface="Calibri" panose="020F0502020204030204" pitchFamily="34" charset="0"/>
                <a:ea typeface="Arial Narrow"/>
                <a:cs typeface="Calibri" panose="020F0502020204030204" pitchFamily="34" charset="0"/>
                <a:sym typeface="Arial Narrow"/>
              </a:rPr>
              <a:t>Plateforme en ligne pour la formation en vue de l’obtention du permis de conduire</a:t>
            </a:r>
            <a:endParaRPr sz="1400" b="1"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69" name="Google Shape;769;g25ade9e9821_0_734"/>
          <p:cNvSpPr txBox="1"/>
          <p:nvPr/>
        </p:nvSpPr>
        <p:spPr>
          <a:xfrm>
            <a:off x="499801" y="3077415"/>
            <a:ext cx="2709900" cy="2640300"/>
          </a:xfrm>
          <a:prstGeom prst="rect">
            <a:avLst/>
          </a:prstGeom>
          <a:noFill/>
          <a:ln>
            <a:noFill/>
          </a:ln>
        </p:spPr>
        <p:txBody>
          <a:bodyPr spcFirstLastPara="1" wrap="square" lIns="91425" tIns="91425" rIns="91425" bIns="91425" anchor="t" anchorCtr="0">
            <a:noAutofit/>
          </a:bodyPr>
          <a:lstStyle/>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Candidats pour passer le permis de conduire</a:t>
            </a:r>
          </a:p>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Moniteurs</a:t>
            </a:r>
          </a:p>
          <a:p>
            <a:pPr marL="457189" indent="-292093">
              <a:lnSpc>
                <a:spcPct val="150000"/>
              </a:lnSpc>
              <a:buClr>
                <a:srgbClr val="262169"/>
              </a:buClr>
              <a:buSzPts val="10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Administrateurs…</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0" name="Google Shape;770;g25ade9e9821_0_734"/>
          <p:cNvSpPr txBox="1"/>
          <p:nvPr/>
        </p:nvSpPr>
        <p:spPr>
          <a:xfrm>
            <a:off x="3186900" y="3027697"/>
            <a:ext cx="5375209" cy="2893800"/>
          </a:xfrm>
          <a:prstGeom prst="rect">
            <a:avLst/>
          </a:prstGeom>
          <a:noFill/>
          <a:ln>
            <a:noFill/>
          </a:ln>
        </p:spPr>
        <p:txBody>
          <a:bodyPr spcFirstLastPara="1" wrap="square" lIns="91425" tIns="91425" rIns="91425" bIns="91425" anchor="t" anchorCtr="0">
            <a:noAutofit/>
          </a:bodyPr>
          <a:lstStyle/>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Permettre une évaluation initiale et continue des candidats</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Proposer un cursus de formation personnalisé adapté à chaque candidat</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Assurer un suivi complet en temps réel accessible par le moniteur</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Pouvoir s’adapter aux contenus des différentes catégories de permis de conduire</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Présenter toutes les garanties de sûreté et de simplicité d’utilisation</a:t>
            </a:r>
          </a:p>
          <a:p>
            <a:pPr marL="457189" indent="-292093">
              <a:lnSpc>
                <a:spcPct val="150000"/>
              </a:lnSpc>
              <a:buClr>
                <a:srgbClr val="262169"/>
              </a:buClr>
              <a:buSzPts val="1000"/>
              <a:buFont typeface="Arial"/>
              <a:buChar char="●"/>
            </a:pPr>
            <a:r>
              <a:rPr lang="fr-FR" sz="1200" dirty="0">
                <a:solidFill>
                  <a:srgbClr val="262169"/>
                </a:solidFill>
                <a:latin typeface="Calibri" panose="020F0502020204030204" pitchFamily="34" charset="0"/>
                <a:ea typeface="Arial Narrow"/>
                <a:cs typeface="Calibri" panose="020F0502020204030204" pitchFamily="34" charset="0"/>
                <a:sym typeface="Arial Narrow"/>
              </a:rPr>
              <a:t>Comporter certaines possibilités de paramétrage par le moniteur</a:t>
            </a:r>
          </a:p>
        </p:txBody>
      </p:sp>
      <p:sp>
        <p:nvSpPr>
          <p:cNvPr id="771" name="Google Shape;771;g25ade9e9821_0_734"/>
          <p:cNvSpPr txBox="1"/>
          <p:nvPr/>
        </p:nvSpPr>
        <p:spPr>
          <a:xfrm>
            <a:off x="9062976" y="4862537"/>
            <a:ext cx="2709900" cy="2111700"/>
          </a:xfrm>
          <a:prstGeom prst="rect">
            <a:avLst/>
          </a:prstGeom>
          <a:noFill/>
          <a:ln>
            <a:noFill/>
          </a:ln>
        </p:spPr>
        <p:txBody>
          <a:bodyPr spcFirstLastPara="1" wrap="square" lIns="91425" tIns="91425" rIns="91425" bIns="91425" anchor="t" anchorCtr="0">
            <a:noAutofit/>
          </a:bodyPr>
          <a:lstStyle/>
          <a:p>
            <a:pPr marL="457189" indent="-304792">
              <a:lnSpc>
                <a:spcPct val="150000"/>
              </a:lnSpc>
              <a:buClr>
                <a:srgbClr val="262169"/>
              </a:buClr>
              <a:buSzPts val="1200"/>
              <a:buFont typeface="Arial"/>
              <a:buChar char="●"/>
            </a:pPr>
            <a:r>
              <a:rPr lang="fr-FR" sz="1333" dirty="0">
                <a:solidFill>
                  <a:srgbClr val="262169"/>
                </a:solidFill>
                <a:latin typeface="Calibri" panose="020F0502020204030204" pitchFamily="34" charset="0"/>
                <a:ea typeface="Arial Narrow"/>
                <a:cs typeface="Calibri" panose="020F0502020204030204" pitchFamily="34" charset="0"/>
                <a:sym typeface="Arial Narrow"/>
              </a:rPr>
              <a:t>Plateforme web Responsive </a:t>
            </a:r>
            <a:endParaRPr sz="1333"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2" name="Google Shape;772;g25ade9e9821_0_734"/>
          <p:cNvSpPr txBox="1"/>
          <p:nvPr/>
        </p:nvSpPr>
        <p:spPr>
          <a:xfrm>
            <a:off x="8858214" y="3106270"/>
            <a:ext cx="2636353" cy="2379300"/>
          </a:xfrm>
          <a:prstGeom prst="rect">
            <a:avLst/>
          </a:prstGeom>
          <a:noFill/>
          <a:ln>
            <a:noFill/>
          </a:ln>
        </p:spPr>
        <p:txBody>
          <a:bodyPr spcFirstLastPara="1" wrap="square" lIns="91425" tIns="91425" rIns="91425" bIns="91425" anchor="t" anchorCtr="0">
            <a:noAutofit/>
          </a:bodyPr>
          <a:lstStyle/>
          <a:p>
            <a:pPr marL="457189" indent="-311143">
              <a:lnSpc>
                <a:spcPct val="150000"/>
              </a:lnSpc>
              <a:buClr>
                <a:srgbClr val="262169"/>
              </a:buClr>
              <a:buSzPts val="1300"/>
              <a:buFont typeface="Arial Narrow"/>
              <a:buChar char="●"/>
            </a:pPr>
            <a:r>
              <a:rPr lang="fr-FR" sz="1267" dirty="0">
                <a:solidFill>
                  <a:srgbClr val="262169"/>
                </a:solidFill>
                <a:latin typeface="Calibri" panose="020F0502020204030204" pitchFamily="34" charset="0"/>
                <a:ea typeface="Arial Narrow"/>
                <a:cs typeface="Calibri" panose="020F0502020204030204" pitchFamily="34" charset="0"/>
                <a:sym typeface="Arial Narrow"/>
              </a:rPr>
              <a:t>Digitalisation de la formation pour l’obtention du permis de conduire.</a:t>
            </a:r>
            <a:endParaRPr sz="1267" dirty="0">
              <a:solidFill>
                <a:srgbClr val="262169"/>
              </a:solidFill>
              <a:latin typeface="Calibri" panose="020F0502020204030204" pitchFamily="34" charset="0"/>
              <a:ea typeface="Arial Narrow"/>
              <a:cs typeface="Calibri" panose="020F0502020204030204" pitchFamily="34" charset="0"/>
              <a:sym typeface="Arial Narrow"/>
            </a:endParaRPr>
          </a:p>
        </p:txBody>
      </p:sp>
      <p:sp>
        <p:nvSpPr>
          <p:cNvPr id="773" name="Google Shape;773;g25ade9e9821_0_734"/>
          <p:cNvSpPr txBox="1">
            <a:spLocks noGrp="1"/>
          </p:cNvSpPr>
          <p:nvPr>
            <p:ph type="title"/>
          </p:nvPr>
        </p:nvSpPr>
        <p:spPr>
          <a:xfrm>
            <a:off x="12117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dirty="0">
                <a:solidFill>
                  <a:srgbClr val="008BA7"/>
                </a:solidFill>
                <a:latin typeface="Calibri" panose="020F0502020204030204" pitchFamily="34" charset="0"/>
                <a:cs typeface="Calibri" panose="020F0502020204030204" pitchFamily="34" charset="0"/>
              </a:rPr>
              <a:t>Target Group</a:t>
            </a:r>
            <a:endParaRPr sz="1500" dirty="0">
              <a:solidFill>
                <a:srgbClr val="008BA7"/>
              </a:solidFill>
              <a:latin typeface="Calibri" panose="020F0502020204030204" pitchFamily="34" charset="0"/>
              <a:cs typeface="Calibri" panose="020F0502020204030204" pitchFamily="34" charset="0"/>
            </a:endParaRPr>
          </a:p>
        </p:txBody>
      </p:sp>
      <p:sp>
        <p:nvSpPr>
          <p:cNvPr id="774" name="Google Shape;774;g25ade9e9821_0_734"/>
          <p:cNvSpPr txBox="1">
            <a:spLocks noGrp="1"/>
          </p:cNvSpPr>
          <p:nvPr>
            <p:ph type="title"/>
          </p:nvPr>
        </p:nvSpPr>
        <p:spPr>
          <a:xfrm>
            <a:off x="39549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a:solidFill>
                  <a:srgbClr val="008BA7"/>
                </a:solidFill>
                <a:latin typeface="Calibri" panose="020F0502020204030204" pitchFamily="34" charset="0"/>
                <a:cs typeface="Calibri" panose="020F0502020204030204" pitchFamily="34" charset="0"/>
              </a:rPr>
              <a:t>Needs</a:t>
            </a:r>
            <a:endParaRPr sz="1500">
              <a:solidFill>
                <a:srgbClr val="008BA7"/>
              </a:solidFill>
              <a:latin typeface="Calibri" panose="020F0502020204030204" pitchFamily="34" charset="0"/>
              <a:cs typeface="Calibri" panose="020F0502020204030204" pitchFamily="34" charset="0"/>
            </a:endParaRPr>
          </a:p>
        </p:txBody>
      </p:sp>
      <p:sp>
        <p:nvSpPr>
          <p:cNvPr id="775" name="Google Shape;775;g25ade9e9821_0_734"/>
          <p:cNvSpPr txBox="1">
            <a:spLocks noGrp="1"/>
          </p:cNvSpPr>
          <p:nvPr>
            <p:ph type="title"/>
          </p:nvPr>
        </p:nvSpPr>
        <p:spPr>
          <a:xfrm>
            <a:off x="9688965" y="4329586"/>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dirty="0">
                <a:solidFill>
                  <a:srgbClr val="008BA7"/>
                </a:solidFill>
                <a:latin typeface="Calibri" panose="020F0502020204030204" pitchFamily="34" charset="0"/>
                <a:cs typeface="Calibri" panose="020F0502020204030204" pitchFamily="34" charset="0"/>
              </a:rPr>
              <a:t>Product</a:t>
            </a:r>
            <a:endParaRPr sz="1500" dirty="0">
              <a:solidFill>
                <a:srgbClr val="008BA7"/>
              </a:solidFill>
              <a:latin typeface="Calibri" panose="020F0502020204030204" pitchFamily="34" charset="0"/>
              <a:cs typeface="Calibri" panose="020F0502020204030204" pitchFamily="34" charset="0"/>
            </a:endParaRPr>
          </a:p>
        </p:txBody>
      </p:sp>
      <p:sp>
        <p:nvSpPr>
          <p:cNvPr id="776" name="Google Shape;776;g25ade9e9821_0_734"/>
          <p:cNvSpPr txBox="1">
            <a:spLocks noGrp="1"/>
          </p:cNvSpPr>
          <p:nvPr>
            <p:ph type="title"/>
          </p:nvPr>
        </p:nvSpPr>
        <p:spPr>
          <a:xfrm>
            <a:off x="9593703" y="2581800"/>
            <a:ext cx="1788000" cy="376800"/>
          </a:xfrm>
          <a:prstGeom prst="rect">
            <a:avLst/>
          </a:prstGeom>
          <a:noFill/>
          <a:ln>
            <a:noFill/>
          </a:ln>
        </p:spPr>
        <p:txBody>
          <a:bodyPr spcFirstLastPara="1" vert="horz" wrap="square" lIns="0" tIns="0" rIns="0" bIns="0" numCol="1" anchor="ctr" anchorCtr="0" compatLnSpc="1">
            <a:prstTxWarp prst="textNoShape">
              <a:avLst/>
            </a:prstTxWarp>
            <a:noAutofit/>
          </a:bodyPr>
          <a:lstStyle/>
          <a:p>
            <a:pPr>
              <a:buSzPts val="1500"/>
            </a:pPr>
            <a:r>
              <a:rPr lang="fr-FR" sz="1500">
                <a:solidFill>
                  <a:srgbClr val="008BA7"/>
                </a:solidFill>
                <a:latin typeface="Calibri" panose="020F0502020204030204" pitchFamily="34" charset="0"/>
                <a:cs typeface="Calibri" panose="020F0502020204030204" pitchFamily="34" charset="0"/>
              </a:rPr>
              <a:t>Business Goal</a:t>
            </a:r>
            <a:endParaRPr sz="1500">
              <a:solidFill>
                <a:srgbClr val="008BA7"/>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46707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382F2-330B-44A3-9F32-9D5BABCD1813}"/>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3DE382F2-330B-44A3-9F32-9D5BABCD1813}"/>
                          </a:ext>
                        </a:extLst>
                      </p:cNvPr>
                      <p:cNvPicPr/>
                      <p:nvPr/>
                    </p:nvPicPr>
                    <p:blipFill>
                      <a:blip r:embed="rId8"/>
                      <a:stretch>
                        <a:fillRect/>
                      </a:stretch>
                    </p:blipFill>
                    <p:spPr>
                      <a:xfrm>
                        <a:off x="1711" y="1621"/>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410494-6D5E-4CAD-A329-1DB08885B19A}"/>
              </a:ext>
            </a:extLst>
          </p:cNvPr>
          <p:cNvSpPr/>
          <p:nvPr>
            <p:custDataLst>
              <p:tags r:id="rId2"/>
            </p:custDataLst>
          </p:nvPr>
        </p:nvSpPr>
        <p:spPr>
          <a:xfrm>
            <a:off x="90" y="1"/>
            <a:ext cx="161974"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32962" fontAlgn="base">
              <a:spcBef>
                <a:spcPct val="0"/>
              </a:spcBef>
              <a:spcAft>
                <a:spcPct val="0"/>
              </a:spcAft>
              <a:defRPr/>
            </a:pPr>
            <a:endParaRPr lang="fr-FR" sz="2449" b="1" dirty="0">
              <a:solidFill>
                <a:srgbClr val="333333"/>
              </a:solidFill>
              <a:latin typeface="Arial Narrow" panose="020B0606020202030204" pitchFamily="34" charset="0"/>
              <a:ea typeface="ＭＳ Ｐゴシック" panose="020B0600070205080204" pitchFamily="34" charset="-128"/>
              <a:sym typeface="Arial Narrow" panose="020B0606020202030204" pitchFamily="34" charset="0"/>
            </a:endParaRPr>
          </a:p>
        </p:txBody>
      </p:sp>
      <p:sp>
        <p:nvSpPr>
          <p:cNvPr id="16" name="Rectangle 15">
            <a:extLst>
              <a:ext uri="{FF2B5EF4-FFF2-40B4-BE49-F238E27FC236}">
                <a16:creationId xmlns:a16="http://schemas.microsoft.com/office/drawing/2014/main" id="{5E1D1FB5-D053-4DA6-9614-B1F416AD8272}"/>
              </a:ext>
            </a:extLst>
          </p:cNvPr>
          <p:cNvSpPr>
            <a:spLocks/>
          </p:cNvSpPr>
          <p:nvPr/>
        </p:nvSpPr>
        <p:spPr>
          <a:xfrm>
            <a:off x="3034599" y="1399433"/>
            <a:ext cx="9157401" cy="531662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32962" fontAlgn="base">
              <a:spcBef>
                <a:spcPct val="0"/>
              </a:spcBef>
              <a:spcAft>
                <a:spcPct val="0"/>
              </a:spcAft>
              <a:defRPr/>
            </a:pPr>
            <a:endParaRPr lang="fr-FR" sz="1632" dirty="0" err="1">
              <a:solidFill>
                <a:srgbClr val="333333"/>
              </a:solidFill>
              <a:latin typeface="Arial Nova Light"/>
              <a:ea typeface="ＭＳ Ｐゴシック"/>
            </a:endParaRPr>
          </a:p>
        </p:txBody>
      </p:sp>
      <p:sp>
        <p:nvSpPr>
          <p:cNvPr id="33" name="TextBox 32">
            <a:extLst>
              <a:ext uri="{FF2B5EF4-FFF2-40B4-BE49-F238E27FC236}">
                <a16:creationId xmlns:a16="http://schemas.microsoft.com/office/drawing/2014/main" id="{678F8716-5A08-485F-BB97-F807E77206A7}"/>
              </a:ext>
            </a:extLst>
          </p:cNvPr>
          <p:cNvSpPr txBox="1">
            <a:spLocks/>
          </p:cNvSpPr>
          <p:nvPr/>
        </p:nvSpPr>
        <p:spPr>
          <a:xfrm>
            <a:off x="233344" y="1511593"/>
            <a:ext cx="2677966" cy="21981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defRPr/>
            </a:pPr>
            <a:r>
              <a:rPr lang="fr-FR" sz="1837" b="1" dirty="0">
                <a:solidFill>
                  <a:srgbClr val="149AC2"/>
                </a:solidFill>
                <a:latin typeface="Arial Narrow" panose="020B0606020202030204" pitchFamily="34" charset="0"/>
                <a:ea typeface="ＭＳ Ｐゴシック"/>
              </a:rPr>
              <a:t>Créer un socle commun </a:t>
            </a:r>
            <a:r>
              <a:rPr lang="fr-FR" sz="1428" dirty="0">
                <a:solidFill>
                  <a:srgbClr val="333333"/>
                </a:solidFill>
                <a:latin typeface="Arial Nova Light"/>
                <a:ea typeface="ＭＳ Ｐゴシック"/>
              </a:rPr>
              <a:t>pour les administrations constitué de </a:t>
            </a:r>
            <a:r>
              <a:rPr lang="fr-FR" sz="1837" b="1" dirty="0">
                <a:solidFill>
                  <a:srgbClr val="149AC2"/>
                </a:solidFill>
                <a:latin typeface="Arial Narrow" panose="020B0606020202030204" pitchFamily="34" charset="0"/>
                <a:ea typeface="ＭＳ Ｐゴシック"/>
              </a:rPr>
              <a:t>modules catalytiques </a:t>
            </a:r>
            <a:r>
              <a:rPr lang="fr-FR" sz="1428" dirty="0">
                <a:solidFill>
                  <a:srgbClr val="333333"/>
                </a:solidFill>
                <a:latin typeface="Arial Nova Light"/>
                <a:ea typeface="ＭＳ Ｐゴシック"/>
              </a:rPr>
              <a:t>leur permettant de </a:t>
            </a:r>
            <a:r>
              <a:rPr lang="fr-FR" sz="1837" b="1" dirty="0">
                <a:solidFill>
                  <a:srgbClr val="149AC2"/>
                </a:solidFill>
                <a:latin typeface="Arial Narrow" panose="020B0606020202030204" pitchFamily="34" charset="0"/>
                <a:ea typeface="ＭＳ Ｐゴシック"/>
              </a:rPr>
              <a:t>dématérialiser leurs services</a:t>
            </a:r>
            <a:r>
              <a:rPr lang="fr-FR" sz="1428" dirty="0">
                <a:solidFill>
                  <a:srgbClr val="333333"/>
                </a:solidFill>
                <a:latin typeface="Arial Nova Light"/>
                <a:ea typeface="ＭＳ Ｐゴシック"/>
              </a:rPr>
              <a:t>  publics</a:t>
            </a:r>
            <a:endParaRPr lang="fr-FR" sz="1837" b="1" dirty="0">
              <a:solidFill>
                <a:srgbClr val="149AC2"/>
              </a:solidFill>
              <a:latin typeface="Arial Narrow" panose="020B0606020202030204" pitchFamily="34" charset="0"/>
              <a:ea typeface="ＭＳ Ｐゴシック"/>
            </a:endParaRPr>
          </a:p>
        </p:txBody>
      </p:sp>
      <p:sp>
        <p:nvSpPr>
          <p:cNvPr id="21" name="TextBox 20">
            <a:extLst>
              <a:ext uri="{FF2B5EF4-FFF2-40B4-BE49-F238E27FC236}">
                <a16:creationId xmlns:a16="http://schemas.microsoft.com/office/drawing/2014/main" id="{16C059D2-661C-45B3-8CFD-48FA8BE34854}"/>
              </a:ext>
            </a:extLst>
          </p:cNvPr>
          <p:cNvSpPr txBox="1">
            <a:spLocks/>
          </p:cNvSpPr>
          <p:nvPr/>
        </p:nvSpPr>
        <p:spPr>
          <a:xfrm>
            <a:off x="3034509" y="1043336"/>
            <a:ext cx="8348677" cy="30550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96" fontAlgn="base">
              <a:defRPr/>
            </a:pPr>
            <a:r>
              <a:rPr lang="fr-FR" b="1" dirty="0">
                <a:solidFill>
                  <a:srgbClr val="4F388F"/>
                </a:solidFill>
                <a:latin typeface="Arial"/>
                <a:ea typeface="ＭＳ Ｐゴシック"/>
              </a:rPr>
              <a:t>… déclinée en plusieurs projets </a:t>
            </a:r>
          </a:p>
        </p:txBody>
      </p:sp>
      <p:cxnSp>
        <p:nvCxnSpPr>
          <p:cNvPr id="22" name="Straight Connector 21">
            <a:extLst>
              <a:ext uri="{FF2B5EF4-FFF2-40B4-BE49-F238E27FC236}">
                <a16:creationId xmlns:a16="http://schemas.microsoft.com/office/drawing/2014/main" id="{FFEF19EA-8599-43BD-A56F-8F547F5A5C82}"/>
              </a:ext>
            </a:extLst>
          </p:cNvPr>
          <p:cNvCxnSpPr>
            <a:cxnSpLocks/>
          </p:cNvCxnSpPr>
          <p:nvPr/>
        </p:nvCxnSpPr>
        <p:spPr bwMode="gray">
          <a:xfrm>
            <a:off x="3034510" y="1348845"/>
            <a:ext cx="0" cy="5316623"/>
          </a:xfrm>
          <a:prstGeom prst="line">
            <a:avLst/>
          </a:prstGeom>
          <a:ln w="57150" cap="flat">
            <a:solidFill>
              <a:schemeClr val="tx2"/>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1858566-4004-4FAC-84F0-92EA43A84B24}"/>
              </a:ext>
            </a:extLst>
          </p:cNvPr>
          <p:cNvSpPr txBox="1">
            <a:spLocks/>
          </p:cNvSpPr>
          <p:nvPr/>
        </p:nvSpPr>
        <p:spPr>
          <a:xfrm>
            <a:off x="233345" y="1102658"/>
            <a:ext cx="2677966" cy="2461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96" fontAlgn="base">
              <a:defRPr/>
            </a:pPr>
            <a:r>
              <a:rPr lang="fr-FR" b="1" dirty="0">
                <a:solidFill>
                  <a:srgbClr val="4F388F"/>
                </a:solidFill>
                <a:latin typeface="Arial"/>
                <a:ea typeface="ＭＳ Ｐゴシック"/>
              </a:rPr>
              <a:t>Ambition du chantier…</a:t>
            </a:r>
          </a:p>
        </p:txBody>
      </p:sp>
      <p:grpSp>
        <p:nvGrpSpPr>
          <p:cNvPr id="30" name="Group 29">
            <a:extLst>
              <a:ext uri="{FF2B5EF4-FFF2-40B4-BE49-F238E27FC236}">
                <a16:creationId xmlns:a16="http://schemas.microsoft.com/office/drawing/2014/main" id="{FD0281FB-EB06-471F-B36E-3B21144C2E70}"/>
              </a:ext>
            </a:extLst>
          </p:cNvPr>
          <p:cNvGrpSpPr/>
          <p:nvPr/>
        </p:nvGrpSpPr>
        <p:grpSpPr>
          <a:xfrm>
            <a:off x="176472" y="4057745"/>
            <a:ext cx="2689571" cy="1831140"/>
            <a:chOff x="6174882" y="1710489"/>
            <a:chExt cx="2359194" cy="1636441"/>
          </a:xfrm>
        </p:grpSpPr>
        <p:sp>
          <p:nvSpPr>
            <p:cNvPr id="31" name="Freeform: Shape 30">
              <a:extLst>
                <a:ext uri="{FF2B5EF4-FFF2-40B4-BE49-F238E27FC236}">
                  <a16:creationId xmlns:a16="http://schemas.microsoft.com/office/drawing/2014/main" id="{E7A83434-2166-4123-878B-CDFE2A8D404F}"/>
                </a:ext>
              </a:extLst>
            </p:cNvPr>
            <p:cNvSpPr/>
            <p:nvPr/>
          </p:nvSpPr>
          <p:spPr>
            <a:xfrm>
              <a:off x="6174882" y="1710489"/>
              <a:ext cx="2170475" cy="1636441"/>
            </a:xfrm>
            <a:custGeom>
              <a:avLst/>
              <a:gdLst>
                <a:gd name="connsiteX0" fmla="*/ 1523728 w 1641522"/>
                <a:gd name="connsiteY0" fmla="*/ 1080949 h 1103428"/>
                <a:gd name="connsiteX1" fmla="*/ 1639047 w 1641522"/>
                <a:gd name="connsiteY1" fmla="*/ 771427 h 1103428"/>
                <a:gd name="connsiteX2" fmla="*/ 1586104 w 1641522"/>
                <a:gd name="connsiteY2" fmla="*/ 484657 h 1103428"/>
                <a:gd name="connsiteX3" fmla="*/ 1340238 w 1641522"/>
                <a:gd name="connsiteY3" fmla="*/ 320556 h 1103428"/>
                <a:gd name="connsiteX4" fmla="*/ 1098035 w 1641522"/>
                <a:gd name="connsiteY4" fmla="*/ 80472 h 1103428"/>
                <a:gd name="connsiteX5" fmla="*/ 616232 w 1641522"/>
                <a:gd name="connsiteY5" fmla="*/ 10648 h 1103428"/>
                <a:gd name="connsiteX6" fmla="*/ 160424 w 1641522"/>
                <a:gd name="connsiteY6" fmla="*/ 166290 h 1103428"/>
                <a:gd name="connsiteX7" fmla="*/ 17499 w 1641522"/>
                <a:gd name="connsiteY7" fmla="*/ 611696 h 1103428"/>
                <a:gd name="connsiteX8" fmla="*/ 57687 w 1641522"/>
                <a:gd name="connsiteY8" fmla="*/ 974518 h 1103428"/>
                <a:gd name="connsiteX9" fmla="*/ 393699 w 1641522"/>
                <a:gd name="connsiteY9" fmla="*/ 1072557 h 1103428"/>
                <a:gd name="connsiteX10" fmla="*/ 892375 w 1641522"/>
                <a:gd name="connsiteY10" fmla="*/ 1076265 h 1103428"/>
                <a:gd name="connsiteX11" fmla="*/ 1329180 w 1641522"/>
                <a:gd name="connsiteY11" fmla="*/ 1079507 h 1103428"/>
                <a:gd name="connsiteX12" fmla="*/ 1523728 w 1641522"/>
                <a:gd name="connsiteY12" fmla="*/ 1080949 h 110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1522" h="1103428">
                  <a:moveTo>
                    <a:pt x="1523728" y="1080949"/>
                  </a:moveTo>
                  <a:cubicBezTo>
                    <a:pt x="1575372" y="1029603"/>
                    <a:pt x="1630723" y="886458"/>
                    <a:pt x="1639047" y="771427"/>
                  </a:cubicBezTo>
                  <a:cubicBezTo>
                    <a:pt x="1647372" y="656397"/>
                    <a:pt x="1635901" y="550965"/>
                    <a:pt x="1586104" y="484657"/>
                  </a:cubicBezTo>
                  <a:cubicBezTo>
                    <a:pt x="1536302" y="418349"/>
                    <a:pt x="1421993" y="374091"/>
                    <a:pt x="1340238" y="320556"/>
                  </a:cubicBezTo>
                  <a:cubicBezTo>
                    <a:pt x="1242449" y="256522"/>
                    <a:pt x="1178404" y="114875"/>
                    <a:pt x="1098035" y="80472"/>
                  </a:cubicBezTo>
                  <a:cubicBezTo>
                    <a:pt x="977363" y="28820"/>
                    <a:pt x="792825" y="-22847"/>
                    <a:pt x="616232" y="10648"/>
                  </a:cubicBezTo>
                  <a:cubicBezTo>
                    <a:pt x="498341" y="33008"/>
                    <a:pt x="258025" y="68310"/>
                    <a:pt x="160424" y="166290"/>
                  </a:cubicBezTo>
                  <a:cubicBezTo>
                    <a:pt x="60634" y="266465"/>
                    <a:pt x="52100" y="469779"/>
                    <a:pt x="17499" y="611696"/>
                  </a:cubicBezTo>
                  <a:cubicBezTo>
                    <a:pt x="-10734" y="727497"/>
                    <a:pt x="-9772" y="886145"/>
                    <a:pt x="57687" y="974518"/>
                  </a:cubicBezTo>
                  <a:cubicBezTo>
                    <a:pt x="147122" y="1091676"/>
                    <a:pt x="281390" y="1071725"/>
                    <a:pt x="393699" y="1072557"/>
                  </a:cubicBezTo>
                  <a:cubicBezTo>
                    <a:pt x="559925" y="1073793"/>
                    <a:pt x="726150" y="1075029"/>
                    <a:pt x="892375" y="1076265"/>
                  </a:cubicBezTo>
                  <a:cubicBezTo>
                    <a:pt x="1037979" y="1077341"/>
                    <a:pt x="1183577" y="1078424"/>
                    <a:pt x="1329180" y="1079507"/>
                  </a:cubicBezTo>
                  <a:cubicBezTo>
                    <a:pt x="1346009" y="1079630"/>
                    <a:pt x="1472083" y="1132296"/>
                    <a:pt x="1523728" y="1080949"/>
                  </a:cubicBezTo>
                  <a:close/>
                </a:path>
              </a:pathLst>
            </a:custGeom>
            <a:solidFill>
              <a:schemeClr val="bg2">
                <a:lumMod val="95000"/>
              </a:schemeClr>
            </a:solidFill>
            <a:ln w="652" cap="flat">
              <a:noFill/>
              <a:prstDash val="solid"/>
              <a:round/>
            </a:ln>
          </p:spPr>
          <p:txBody>
            <a:bodyPr rtlCol="0" anchor="ctr"/>
            <a:lstStyle/>
            <a:p>
              <a:pPr defTabSz="932962">
                <a:defRPr/>
              </a:pPr>
              <a:endParaRPr lang="en-US" sz="1020" dirty="0">
                <a:solidFill>
                  <a:srgbClr val="000000"/>
                </a:solidFill>
                <a:latin typeface="Arial"/>
                <a:ea typeface="ＭＳ Ｐゴシック"/>
              </a:endParaRPr>
            </a:p>
          </p:txBody>
        </p:sp>
        <p:pic>
          <p:nvPicPr>
            <p:cNvPr id="32" name="Graphic 31">
              <a:extLst>
                <a:ext uri="{FF2B5EF4-FFF2-40B4-BE49-F238E27FC236}">
                  <a16:creationId xmlns:a16="http://schemas.microsoft.com/office/drawing/2014/main" id="{E533EF7B-AAC6-43BF-B1C8-D6E35A4E802C}"/>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6211567" y="1710489"/>
              <a:ext cx="2322509" cy="1507356"/>
            </a:xfrm>
            <a:prstGeom prst="rect">
              <a:avLst/>
            </a:prstGeom>
          </p:spPr>
        </p:pic>
      </p:grpSp>
      <p:cxnSp>
        <p:nvCxnSpPr>
          <p:cNvPr id="39" name="Straight Connector 38">
            <a:extLst>
              <a:ext uri="{FF2B5EF4-FFF2-40B4-BE49-F238E27FC236}">
                <a16:creationId xmlns:a16="http://schemas.microsoft.com/office/drawing/2014/main" id="{95A11388-9990-4961-A1A1-9386C756FBB9}"/>
              </a:ext>
            </a:extLst>
          </p:cNvPr>
          <p:cNvCxnSpPr>
            <a:cxnSpLocks/>
          </p:cNvCxnSpPr>
          <p:nvPr/>
        </p:nvCxnSpPr>
        <p:spPr>
          <a:xfrm>
            <a:off x="3314490" y="3911765"/>
            <a:ext cx="8839199"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pic>
        <p:nvPicPr>
          <p:cNvPr id="44" name="CustomIcon">
            <a:extLst>
              <a:ext uri="{FF2B5EF4-FFF2-40B4-BE49-F238E27FC236}">
                <a16:creationId xmlns:a16="http://schemas.microsoft.com/office/drawing/2014/main" id="{E70B0912-8304-47A8-9621-C812015FFFF0}"/>
              </a:ext>
            </a:extLst>
          </p:cNvPr>
          <p:cNvPicPr>
            <a:picLocks/>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11236649" y="1488873"/>
            <a:ext cx="537019" cy="504351"/>
          </a:xfrm>
          <a:prstGeom prst="rect">
            <a:avLst/>
          </a:prstGeom>
        </p:spPr>
      </p:pic>
      <p:sp>
        <p:nvSpPr>
          <p:cNvPr id="34" name="TextBox 33">
            <a:extLst>
              <a:ext uri="{FF2B5EF4-FFF2-40B4-BE49-F238E27FC236}">
                <a16:creationId xmlns:a16="http://schemas.microsoft.com/office/drawing/2014/main" id="{625FE7FE-8CE8-4D82-8BB6-79C74DE34C8F}"/>
              </a:ext>
            </a:extLst>
          </p:cNvPr>
          <p:cNvSpPr txBox="1">
            <a:spLocks/>
          </p:cNvSpPr>
          <p:nvPr/>
        </p:nvSpPr>
        <p:spPr>
          <a:xfrm>
            <a:off x="3854644" y="1488873"/>
            <a:ext cx="7456100" cy="10046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defRPr/>
            </a:pPr>
            <a:r>
              <a:rPr lang="fr-FR" sz="1632" b="1" dirty="0">
                <a:solidFill>
                  <a:srgbClr val="149AC2"/>
                </a:solidFill>
                <a:latin typeface="Arial Nova Light"/>
                <a:ea typeface="ＭＳ Ｐゴシック"/>
              </a:rPr>
              <a:t>Module d’identification et d’</a:t>
            </a:r>
            <a:r>
              <a:rPr lang="fr-FR" sz="1632" b="1" dirty="0" err="1">
                <a:solidFill>
                  <a:srgbClr val="149AC2"/>
                </a:solidFill>
                <a:latin typeface="Arial Nova Light"/>
                <a:ea typeface="ＭＳ Ｐゴシック"/>
              </a:rPr>
              <a:t>authenitification</a:t>
            </a:r>
            <a:r>
              <a:rPr lang="fr-FR" sz="1632" b="1" dirty="0">
                <a:solidFill>
                  <a:srgbClr val="149AC2"/>
                </a:solidFill>
                <a:latin typeface="Arial Nova Light"/>
                <a:ea typeface="ＭＳ Ｐゴシック"/>
              </a:rPr>
              <a:t> permettant d’identifier </a:t>
            </a:r>
            <a:r>
              <a:rPr lang="fr-FR" sz="1632" dirty="0">
                <a:solidFill>
                  <a:srgbClr val="333333"/>
                </a:solidFill>
                <a:latin typeface="Arial Nova Light"/>
                <a:ea typeface="ＭＳ Ｐゴシック"/>
              </a:rPr>
              <a:t>(e.g. utiliser des données d’identification personnelle représentant de manière univoque une personne physique ou morale) et </a:t>
            </a:r>
            <a:r>
              <a:rPr lang="fr-FR" sz="1632" b="1" dirty="0">
                <a:solidFill>
                  <a:srgbClr val="149AC2"/>
                </a:solidFill>
                <a:latin typeface="Arial Nova Light"/>
                <a:ea typeface="ＭＳ Ｐゴシック"/>
              </a:rPr>
              <a:t>d’authentifier </a:t>
            </a:r>
            <a:r>
              <a:rPr lang="fr-FR" sz="1632" dirty="0">
                <a:solidFill>
                  <a:srgbClr val="333333"/>
                </a:solidFill>
                <a:latin typeface="Arial Nova Light"/>
                <a:ea typeface="ＭＳ Ｐゴシック"/>
              </a:rPr>
              <a:t>(confirmer l’identification électronique d’une personne physique ou morale)</a:t>
            </a:r>
            <a:r>
              <a:rPr lang="fr-FR" sz="1632" b="1" dirty="0">
                <a:solidFill>
                  <a:srgbClr val="149AC2"/>
                </a:solidFill>
                <a:latin typeface="Arial Nova Light"/>
                <a:ea typeface="ＭＳ Ｐゴシック"/>
              </a:rPr>
              <a:t> les usagers par les fournisseurs de services</a:t>
            </a:r>
          </a:p>
        </p:txBody>
      </p:sp>
      <p:sp>
        <p:nvSpPr>
          <p:cNvPr id="40" name="TextBox 39">
            <a:extLst>
              <a:ext uri="{FF2B5EF4-FFF2-40B4-BE49-F238E27FC236}">
                <a16:creationId xmlns:a16="http://schemas.microsoft.com/office/drawing/2014/main" id="{9050D1A4-BC95-4807-AFD0-84234CA33CEE}"/>
              </a:ext>
            </a:extLst>
          </p:cNvPr>
          <p:cNvSpPr txBox="1">
            <a:spLocks/>
          </p:cNvSpPr>
          <p:nvPr/>
        </p:nvSpPr>
        <p:spPr>
          <a:xfrm>
            <a:off x="3348549" y="1488872"/>
            <a:ext cx="382894" cy="5767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defRPr/>
            </a:pPr>
            <a:r>
              <a:rPr lang="fr-FR" sz="3673" b="1" dirty="0">
                <a:solidFill>
                  <a:srgbClr val="4F388F"/>
                </a:solidFill>
                <a:latin typeface="Arial Black" panose="020B0A04020102020204" pitchFamily="34" charset="0"/>
                <a:ea typeface="ＭＳ Ｐゴシック"/>
              </a:rPr>
              <a:t>1</a:t>
            </a:r>
          </a:p>
        </p:txBody>
      </p:sp>
      <p:sp>
        <p:nvSpPr>
          <p:cNvPr id="36" name="TextBox 35">
            <a:extLst>
              <a:ext uri="{FF2B5EF4-FFF2-40B4-BE49-F238E27FC236}">
                <a16:creationId xmlns:a16="http://schemas.microsoft.com/office/drawing/2014/main" id="{9B38AEE3-C140-4B9C-B19A-2A4CCA5D4504}"/>
              </a:ext>
            </a:extLst>
          </p:cNvPr>
          <p:cNvSpPr txBox="1">
            <a:spLocks/>
          </p:cNvSpPr>
          <p:nvPr/>
        </p:nvSpPr>
        <p:spPr>
          <a:xfrm>
            <a:off x="3966155" y="4074643"/>
            <a:ext cx="7456100" cy="7534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defRPr/>
            </a:pPr>
            <a:r>
              <a:rPr lang="fr-FR" sz="1632" b="1" dirty="0">
                <a:solidFill>
                  <a:srgbClr val="149AC2"/>
                </a:solidFill>
                <a:latin typeface="Arial Nova Light"/>
                <a:ea typeface="ＭＳ Ｐゴシック"/>
              </a:rPr>
              <a:t>Appuyer les administrations dans la dématérialisation interne de leurs procédures </a:t>
            </a:r>
            <a:r>
              <a:rPr lang="fr-FR" sz="1632" dirty="0">
                <a:solidFill>
                  <a:srgbClr val="333333"/>
                </a:solidFill>
                <a:latin typeface="Arial Nova Light"/>
                <a:ea typeface="ＭＳ Ｐゴシック"/>
              </a:rPr>
              <a:t>en développant des </a:t>
            </a:r>
            <a:r>
              <a:rPr lang="fr-FR" sz="1632" b="1" dirty="0">
                <a:solidFill>
                  <a:srgbClr val="149AC2"/>
                </a:solidFill>
                <a:latin typeface="Arial Nova Light"/>
                <a:ea typeface="ＭＳ Ｐゴシック"/>
              </a:rPr>
              <a:t>modules catalytiques de transactions </a:t>
            </a:r>
            <a:r>
              <a:rPr lang="fr-FR" sz="1632" dirty="0">
                <a:solidFill>
                  <a:srgbClr val="333333"/>
                </a:solidFill>
                <a:latin typeface="Arial Nova Light"/>
                <a:ea typeface="ＭＳ Ｐゴシック"/>
              </a:rPr>
              <a:t>(e.g. bureau d’ordre digital, prise de rdv..)</a:t>
            </a:r>
          </a:p>
        </p:txBody>
      </p:sp>
      <p:pic>
        <p:nvPicPr>
          <p:cNvPr id="47" name="CustomIcon">
            <a:extLst>
              <a:ext uri="{FF2B5EF4-FFF2-40B4-BE49-F238E27FC236}">
                <a16:creationId xmlns:a16="http://schemas.microsoft.com/office/drawing/2014/main" id="{7C5E03DC-42CF-4E89-80AC-29A3C6EFDB9B}"/>
              </a:ext>
            </a:extLst>
          </p:cNvPr>
          <p:cNvPicPr>
            <a:picLocks/>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11348161" y="4074643"/>
            <a:ext cx="537019" cy="504351"/>
          </a:xfrm>
          <a:prstGeom prst="rect">
            <a:avLst/>
          </a:prstGeom>
        </p:spPr>
      </p:pic>
      <p:sp>
        <p:nvSpPr>
          <p:cNvPr id="48" name="TextBox 47">
            <a:extLst>
              <a:ext uri="{FF2B5EF4-FFF2-40B4-BE49-F238E27FC236}">
                <a16:creationId xmlns:a16="http://schemas.microsoft.com/office/drawing/2014/main" id="{43D8FF1D-65F8-479F-A4FE-90E742E89AEB}"/>
              </a:ext>
            </a:extLst>
          </p:cNvPr>
          <p:cNvSpPr txBox="1">
            <a:spLocks/>
          </p:cNvSpPr>
          <p:nvPr/>
        </p:nvSpPr>
        <p:spPr>
          <a:xfrm>
            <a:off x="3460061" y="4074643"/>
            <a:ext cx="382894" cy="5767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1218095" fontAlgn="base">
              <a:spcBef>
                <a:spcPct val="0"/>
              </a:spcBef>
              <a:spcAft>
                <a:spcPct val="0"/>
              </a:spcAft>
              <a:buClr>
                <a:srgbClr val="149AC2"/>
              </a:buClr>
              <a:defRPr/>
            </a:pPr>
            <a:r>
              <a:rPr lang="fr-FR" sz="3673" b="1" dirty="0">
                <a:solidFill>
                  <a:srgbClr val="4F388F"/>
                </a:solidFill>
                <a:latin typeface="Arial Black" panose="020B0A04020102020204" pitchFamily="34" charset="0"/>
                <a:ea typeface="ＭＳ Ｐゴシック"/>
              </a:rPr>
              <a:t>2</a:t>
            </a:r>
          </a:p>
        </p:txBody>
      </p:sp>
      <p:sp>
        <p:nvSpPr>
          <p:cNvPr id="43" name="Title 1">
            <a:extLst>
              <a:ext uri="{FF2B5EF4-FFF2-40B4-BE49-F238E27FC236}">
                <a16:creationId xmlns:a16="http://schemas.microsoft.com/office/drawing/2014/main" id="{1469B405-6A59-4832-B8D5-F147685DB406}"/>
              </a:ext>
            </a:extLst>
          </p:cNvPr>
          <p:cNvSpPr txBox="1">
            <a:spLocks/>
          </p:cNvSpPr>
          <p:nvPr/>
        </p:nvSpPr>
        <p:spPr bwMode="gray">
          <a:xfrm>
            <a:off x="219569" y="306494"/>
            <a:ext cx="10514229" cy="376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95" rtl="0" eaLnBrk="1" fontAlgn="base" hangingPunct="1">
              <a:spcBef>
                <a:spcPct val="0"/>
              </a:spcBef>
              <a:spcAft>
                <a:spcPct val="0"/>
              </a:spcAft>
              <a:tabLst>
                <a:tab pos="456763" algn="l"/>
              </a:tabLst>
              <a:defRPr sz="2449" b="1" baseline="0">
                <a:solidFill>
                  <a:schemeClr val="tx2"/>
                </a:solidFill>
                <a:latin typeface="+mj-lt"/>
                <a:ea typeface="+mj-ea"/>
                <a:cs typeface="+mj-cs"/>
                <a:sym typeface="+mj-lt"/>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marL="544228"/>
            <a:r>
              <a:rPr lang="fr-FR" kern="0" dirty="0"/>
              <a:t>Modules communs catalyseurs de la transformation digitale</a:t>
            </a:r>
          </a:p>
        </p:txBody>
      </p:sp>
    </p:spTree>
    <p:extLst>
      <p:ext uri="{BB962C8B-B14F-4D97-AF65-F5344CB8AC3E}">
        <p14:creationId xmlns:p14="http://schemas.microsoft.com/office/powerpoint/2010/main" val="2612445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0" descr="23651.png">
            <a:extLst>
              <a:ext uri="{FF2B5EF4-FFF2-40B4-BE49-F238E27FC236}">
                <a16:creationId xmlns:a16="http://schemas.microsoft.com/office/drawing/2014/main" id="{BA4041E0-BA9C-6F71-1385-7199A9CFD462}"/>
              </a:ext>
            </a:extLst>
          </p:cNvPr>
          <p:cNvPicPr>
            <a:picLocks noChangeAspect="1"/>
          </p:cNvPicPr>
          <p:nvPr/>
        </p:nvPicPr>
        <p:blipFill>
          <a:blip r:embed="rId3"/>
          <a:stretch>
            <a:fillRect/>
          </a:stretch>
        </p:blipFill>
        <p:spPr>
          <a:xfrm>
            <a:off x="7784579" y="3012929"/>
            <a:ext cx="819805" cy="819805"/>
          </a:xfrm>
          <a:prstGeom prst="rect">
            <a:avLst/>
          </a:prstGeom>
          <a:noFill/>
          <a:ln cap="flat">
            <a:noFill/>
          </a:ln>
        </p:spPr>
      </p:pic>
      <p:pic>
        <p:nvPicPr>
          <p:cNvPr id="3" name="Image 1">
            <a:extLst>
              <a:ext uri="{FF2B5EF4-FFF2-40B4-BE49-F238E27FC236}">
                <a16:creationId xmlns:a16="http://schemas.microsoft.com/office/drawing/2014/main" id="{7C75EA4E-175A-3A14-E487-1E790F78F97F}"/>
              </a:ext>
            </a:extLst>
          </p:cNvPr>
          <p:cNvPicPr>
            <a:picLocks noChangeAspect="1"/>
          </p:cNvPicPr>
          <p:nvPr/>
        </p:nvPicPr>
        <p:blipFill>
          <a:blip r:embed="rId4"/>
          <a:stretch>
            <a:fillRect/>
          </a:stretch>
        </p:blipFill>
        <p:spPr>
          <a:xfrm>
            <a:off x="7776962" y="1780858"/>
            <a:ext cx="863998" cy="863998"/>
          </a:xfrm>
          <a:prstGeom prst="rect">
            <a:avLst/>
          </a:prstGeom>
          <a:noFill/>
          <a:ln cap="flat">
            <a:noFill/>
          </a:ln>
        </p:spPr>
      </p:pic>
      <p:cxnSp>
        <p:nvCxnSpPr>
          <p:cNvPr id="4" name="Connecteur droit avec flèche 4">
            <a:extLst>
              <a:ext uri="{FF2B5EF4-FFF2-40B4-BE49-F238E27FC236}">
                <a16:creationId xmlns:a16="http://schemas.microsoft.com/office/drawing/2014/main" id="{CD1C6CDF-8884-10C6-12EA-5C594C1F876B}"/>
              </a:ext>
            </a:extLst>
          </p:cNvPr>
          <p:cNvCxnSpPr/>
          <p:nvPr/>
        </p:nvCxnSpPr>
        <p:spPr>
          <a:xfrm flipV="1">
            <a:off x="2056887" y="3685653"/>
            <a:ext cx="1828800" cy="17090"/>
          </a:xfrm>
          <a:prstGeom prst="straightConnector1">
            <a:avLst/>
          </a:prstGeom>
          <a:noFill/>
          <a:ln w="28575" cap="flat">
            <a:solidFill>
              <a:srgbClr val="323232"/>
            </a:solidFill>
            <a:prstDash val="solid"/>
            <a:miter/>
            <a:headEnd type="arrow"/>
            <a:tailEnd type="arrow"/>
          </a:ln>
        </p:spPr>
      </p:cxnSp>
      <p:cxnSp>
        <p:nvCxnSpPr>
          <p:cNvPr id="5" name="Connecteur droit avec flèche 6">
            <a:extLst>
              <a:ext uri="{FF2B5EF4-FFF2-40B4-BE49-F238E27FC236}">
                <a16:creationId xmlns:a16="http://schemas.microsoft.com/office/drawing/2014/main" id="{7A41AD70-CBA9-38F2-2B7B-8901FF4007F5}"/>
              </a:ext>
            </a:extLst>
          </p:cNvPr>
          <p:cNvCxnSpPr/>
          <p:nvPr/>
        </p:nvCxnSpPr>
        <p:spPr>
          <a:xfrm>
            <a:off x="5552117" y="3462905"/>
            <a:ext cx="1999711" cy="0"/>
          </a:xfrm>
          <a:prstGeom prst="straightConnector1">
            <a:avLst/>
          </a:prstGeom>
          <a:noFill/>
          <a:ln w="28575" cap="flat">
            <a:solidFill>
              <a:srgbClr val="323232"/>
            </a:solidFill>
            <a:prstDash val="solid"/>
            <a:miter/>
            <a:headEnd type="arrow"/>
            <a:tailEnd type="arrow"/>
          </a:ln>
        </p:spPr>
      </p:cxnSp>
      <p:cxnSp>
        <p:nvCxnSpPr>
          <p:cNvPr id="6" name="Connecteur droit avec flèche 12">
            <a:extLst>
              <a:ext uri="{FF2B5EF4-FFF2-40B4-BE49-F238E27FC236}">
                <a16:creationId xmlns:a16="http://schemas.microsoft.com/office/drawing/2014/main" id="{29166838-714A-8234-56A1-5D1948CE0A36}"/>
              </a:ext>
            </a:extLst>
          </p:cNvPr>
          <p:cNvCxnSpPr/>
          <p:nvPr/>
        </p:nvCxnSpPr>
        <p:spPr>
          <a:xfrm flipV="1">
            <a:off x="5552117" y="2281263"/>
            <a:ext cx="2103404" cy="1096603"/>
          </a:xfrm>
          <a:prstGeom prst="straightConnector1">
            <a:avLst/>
          </a:prstGeom>
          <a:noFill/>
          <a:ln w="28575" cap="flat">
            <a:solidFill>
              <a:srgbClr val="323232"/>
            </a:solidFill>
            <a:prstDash val="solid"/>
            <a:miter/>
            <a:headEnd type="arrow"/>
            <a:tailEnd type="arrow"/>
          </a:ln>
        </p:spPr>
      </p:cxnSp>
      <p:cxnSp>
        <p:nvCxnSpPr>
          <p:cNvPr id="7" name="Connecteur droit avec flèche 14">
            <a:extLst>
              <a:ext uri="{FF2B5EF4-FFF2-40B4-BE49-F238E27FC236}">
                <a16:creationId xmlns:a16="http://schemas.microsoft.com/office/drawing/2014/main" id="{D64A1247-4205-4892-D827-ACA2172F7601}"/>
              </a:ext>
            </a:extLst>
          </p:cNvPr>
          <p:cNvCxnSpPr/>
          <p:nvPr/>
        </p:nvCxnSpPr>
        <p:spPr>
          <a:xfrm>
            <a:off x="5552117" y="3547926"/>
            <a:ext cx="1999711" cy="1062871"/>
          </a:xfrm>
          <a:prstGeom prst="straightConnector1">
            <a:avLst/>
          </a:prstGeom>
          <a:noFill/>
          <a:ln w="28575" cap="flat">
            <a:solidFill>
              <a:srgbClr val="323232"/>
            </a:solidFill>
            <a:prstDash val="solid"/>
            <a:miter/>
            <a:headEnd type="arrow"/>
            <a:tailEnd type="arrow"/>
          </a:ln>
        </p:spPr>
      </p:cxnSp>
      <p:sp>
        <p:nvSpPr>
          <p:cNvPr id="8" name="ZoneTexte 15">
            <a:extLst>
              <a:ext uri="{FF2B5EF4-FFF2-40B4-BE49-F238E27FC236}">
                <a16:creationId xmlns:a16="http://schemas.microsoft.com/office/drawing/2014/main" id="{4F1C27AA-999A-55C0-D825-C0065B6111CF}"/>
              </a:ext>
            </a:extLst>
          </p:cNvPr>
          <p:cNvSpPr txBox="1"/>
          <p:nvPr/>
        </p:nvSpPr>
        <p:spPr>
          <a:xfrm>
            <a:off x="8960461" y="3251112"/>
            <a:ext cx="2085170" cy="646334"/>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Banques, operateurs, …</a:t>
            </a:r>
            <a:endParaRPr lang="es-ES" sz="1800" b="0" i="0" u="none" strike="noStrike" kern="1200" cap="none" spc="0" baseline="0">
              <a:solidFill>
                <a:srgbClr val="191919"/>
              </a:solidFill>
              <a:uFillTx/>
              <a:latin typeface="Roboto" pitchFamily="2"/>
              <a:ea typeface="Roboto" pitchFamily="2"/>
            </a:endParaRPr>
          </a:p>
        </p:txBody>
      </p:sp>
      <p:sp>
        <p:nvSpPr>
          <p:cNvPr id="9" name="ZoneTexte 16">
            <a:extLst>
              <a:ext uri="{FF2B5EF4-FFF2-40B4-BE49-F238E27FC236}">
                <a16:creationId xmlns:a16="http://schemas.microsoft.com/office/drawing/2014/main" id="{C560991F-DC56-F98D-DF2E-4D1462D7B522}"/>
              </a:ext>
            </a:extLst>
          </p:cNvPr>
          <p:cNvSpPr txBox="1"/>
          <p:nvPr/>
        </p:nvSpPr>
        <p:spPr>
          <a:xfrm>
            <a:off x="8960461" y="4254456"/>
            <a:ext cx="2085170" cy="646334"/>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Sites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e-commerce, …</a:t>
            </a:r>
            <a:endParaRPr lang="es-ES" sz="1800" b="0" i="0" u="none" strike="noStrike" kern="1200" cap="none" spc="0" baseline="0">
              <a:solidFill>
                <a:srgbClr val="191919"/>
              </a:solidFill>
              <a:uFillTx/>
              <a:latin typeface="Roboto" pitchFamily="2"/>
              <a:ea typeface="Roboto" pitchFamily="2"/>
            </a:endParaRPr>
          </a:p>
        </p:txBody>
      </p:sp>
      <p:sp>
        <p:nvSpPr>
          <p:cNvPr id="10" name="ZoneTexte 17">
            <a:extLst>
              <a:ext uri="{FF2B5EF4-FFF2-40B4-BE49-F238E27FC236}">
                <a16:creationId xmlns:a16="http://schemas.microsoft.com/office/drawing/2014/main" id="{A78897A3-405D-8770-4EEF-E8536A879734}"/>
              </a:ext>
            </a:extLst>
          </p:cNvPr>
          <p:cNvSpPr txBox="1"/>
          <p:nvPr/>
        </p:nvSpPr>
        <p:spPr>
          <a:xfrm>
            <a:off x="8960461" y="1862248"/>
            <a:ext cx="2321661" cy="923333"/>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Services</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E-gouvernement</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0" i="0" u="none" strike="noStrike" kern="1200" cap="none" spc="0" baseline="0">
                <a:solidFill>
                  <a:srgbClr val="191919"/>
                </a:solidFill>
                <a:uFillTx/>
                <a:latin typeface="Roboto" pitchFamily="2"/>
                <a:ea typeface="Roboto" pitchFamily="2"/>
              </a:rPr>
              <a:t>(santé, impôts,…)</a:t>
            </a:r>
            <a:endParaRPr lang="es-ES" sz="1800" b="0" i="0" u="none" strike="noStrike" kern="1200" cap="none" spc="0" baseline="0">
              <a:solidFill>
                <a:srgbClr val="191919"/>
              </a:solidFill>
              <a:uFillTx/>
              <a:latin typeface="Roboto" pitchFamily="2"/>
              <a:ea typeface="Roboto" pitchFamily="2"/>
            </a:endParaRPr>
          </a:p>
        </p:txBody>
      </p:sp>
      <p:pic>
        <p:nvPicPr>
          <p:cNvPr id="11" name="Image 18">
            <a:extLst>
              <a:ext uri="{FF2B5EF4-FFF2-40B4-BE49-F238E27FC236}">
                <a16:creationId xmlns:a16="http://schemas.microsoft.com/office/drawing/2014/main" id="{B6BA3F24-D065-16B3-BF0F-B205F0693F36}"/>
              </a:ext>
            </a:extLst>
          </p:cNvPr>
          <p:cNvPicPr>
            <a:picLocks noChangeAspect="1"/>
          </p:cNvPicPr>
          <p:nvPr/>
        </p:nvPicPr>
        <p:blipFill>
          <a:blip r:embed="rId5"/>
          <a:stretch>
            <a:fillRect/>
          </a:stretch>
        </p:blipFill>
        <p:spPr>
          <a:xfrm>
            <a:off x="1858188" y="3207322"/>
            <a:ext cx="457200" cy="457200"/>
          </a:xfrm>
          <a:prstGeom prst="rect">
            <a:avLst/>
          </a:prstGeom>
          <a:noFill/>
          <a:ln cap="flat">
            <a:noFill/>
          </a:ln>
        </p:spPr>
      </p:pic>
      <p:sp>
        <p:nvSpPr>
          <p:cNvPr id="12" name="ZoneTexte 21">
            <a:extLst>
              <a:ext uri="{FF2B5EF4-FFF2-40B4-BE49-F238E27FC236}">
                <a16:creationId xmlns:a16="http://schemas.microsoft.com/office/drawing/2014/main" id="{05B545B5-AE10-89AF-708E-DEC85A953623}"/>
              </a:ext>
            </a:extLst>
          </p:cNvPr>
          <p:cNvSpPr txBox="1"/>
          <p:nvPr/>
        </p:nvSpPr>
        <p:spPr>
          <a:xfrm>
            <a:off x="492934" y="5470434"/>
            <a:ext cx="3328095" cy="1138775"/>
          </a:xfrm>
          <a:prstGeom prst="rect">
            <a:avLst/>
          </a:prstGeom>
          <a:solidFill>
            <a:srgbClr val="FFFFFF"/>
          </a:solidFill>
          <a:ln w="25402" cap="flat">
            <a:solidFill>
              <a:srgbClr val="2DA1BE"/>
            </a:solidFill>
            <a:prstDash val="solid"/>
            <a:miter/>
          </a:ln>
        </p:spPr>
        <p:txBody>
          <a:bodyPr vert="horz" wrap="square" lIns="91440" tIns="45720" rIns="91440" bIns="45720" anchor="t" anchorCtr="0" compatLnSpc="1">
            <a:spAutoFit/>
          </a:bodyPr>
          <a:lstStyle/>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Confiance</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Accessibilité</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Protection des données personnelles</a:t>
            </a:r>
          </a:p>
        </p:txBody>
      </p:sp>
      <p:sp>
        <p:nvSpPr>
          <p:cNvPr id="13" name="ZoneTexte 22">
            <a:extLst>
              <a:ext uri="{FF2B5EF4-FFF2-40B4-BE49-F238E27FC236}">
                <a16:creationId xmlns:a16="http://schemas.microsoft.com/office/drawing/2014/main" id="{923BDED7-037E-D105-D3A0-39921C997428}"/>
              </a:ext>
            </a:extLst>
          </p:cNvPr>
          <p:cNvSpPr txBox="1"/>
          <p:nvPr/>
        </p:nvSpPr>
        <p:spPr>
          <a:xfrm>
            <a:off x="7683163" y="5472437"/>
            <a:ext cx="4163226" cy="1138775"/>
          </a:xfrm>
          <a:prstGeom prst="rect">
            <a:avLst/>
          </a:prstGeom>
          <a:solidFill>
            <a:srgbClr val="FFFFFF"/>
          </a:solidFill>
          <a:ln w="25402" cap="flat">
            <a:solidFill>
              <a:srgbClr val="2DA1BE"/>
            </a:solidFill>
            <a:prstDash val="solid"/>
            <a:miter/>
          </a:ln>
        </p:spPr>
        <p:txBody>
          <a:bodyPr vert="horz" wrap="square" lIns="91440" tIns="45720" rIns="91440" bIns="45720" anchor="t" anchorCtr="0" compatLnSpc="1">
            <a:spAutoFit/>
          </a:bodyPr>
          <a:lstStyle/>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Diminution</a:t>
            </a:r>
            <a:r>
              <a:rPr lang="es-ES" sz="1700" b="0" i="0" u="none" strike="noStrike" kern="1200" cap="none" spc="0" baseline="0">
                <a:solidFill>
                  <a:srgbClr val="333333"/>
                </a:solidFill>
                <a:uFillTx/>
                <a:latin typeface="Roboto" pitchFamily="2"/>
                <a:ea typeface="Roboto" pitchFamily="2"/>
              </a:rPr>
              <a:t> des fraudes</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Réduction des coûts</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Promotion des services en ligne</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Lutte contre la cybercriminalité</a:t>
            </a:r>
            <a:endParaRPr lang="es-ES" sz="1700" b="0" i="0" u="none" strike="noStrike" kern="1200" cap="none" spc="0" baseline="0">
              <a:solidFill>
                <a:srgbClr val="333333"/>
              </a:solidFill>
              <a:uFillTx/>
              <a:latin typeface="Roboto" pitchFamily="2"/>
              <a:ea typeface="Roboto" pitchFamily="2"/>
            </a:endParaRPr>
          </a:p>
        </p:txBody>
      </p:sp>
      <p:sp>
        <p:nvSpPr>
          <p:cNvPr id="14" name="ZoneTexte 23">
            <a:extLst>
              <a:ext uri="{FF2B5EF4-FFF2-40B4-BE49-F238E27FC236}">
                <a16:creationId xmlns:a16="http://schemas.microsoft.com/office/drawing/2014/main" id="{BF92FB00-5E85-D483-5E47-B4950DE3CE65}"/>
              </a:ext>
            </a:extLst>
          </p:cNvPr>
          <p:cNvSpPr txBox="1"/>
          <p:nvPr/>
        </p:nvSpPr>
        <p:spPr>
          <a:xfrm>
            <a:off x="3998323" y="5470434"/>
            <a:ext cx="3507537" cy="1138775"/>
          </a:xfrm>
          <a:prstGeom prst="rect">
            <a:avLst/>
          </a:prstGeom>
          <a:solidFill>
            <a:srgbClr val="FFFFFF"/>
          </a:solidFill>
          <a:ln w="25402" cap="flat">
            <a:solidFill>
              <a:srgbClr val="2DA1BE"/>
            </a:solidFill>
            <a:prstDash val="solid"/>
            <a:miter/>
          </a:ln>
        </p:spPr>
        <p:txBody>
          <a:bodyPr vert="horz" wrap="square" lIns="91440" tIns="45720" rIns="91440" bIns="45720" anchor="t" anchorCtr="0" compatLnSpc="1">
            <a:spAutoFit/>
          </a:bodyPr>
          <a:lstStyle/>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Unicité</a:t>
            </a:r>
            <a:r>
              <a:rPr lang="es-ES" sz="1700" b="0" i="0" u="none" strike="noStrike" kern="1200" cap="none" spc="0" baseline="0">
                <a:solidFill>
                  <a:srgbClr val="333333"/>
                </a:solidFill>
                <a:uFillTx/>
                <a:latin typeface="Roboto" pitchFamily="2"/>
                <a:ea typeface="Roboto" pitchFamily="2"/>
              </a:rPr>
              <a:t> des </a:t>
            </a:r>
            <a:r>
              <a:rPr lang="fr-FR" sz="1700" b="0" i="0" u="none" strike="noStrike" kern="1200" cap="none" spc="0" baseline="0">
                <a:solidFill>
                  <a:srgbClr val="333333"/>
                </a:solidFill>
                <a:uFillTx/>
                <a:latin typeface="Roboto" pitchFamily="2"/>
                <a:ea typeface="Roboto" pitchFamily="2"/>
              </a:rPr>
              <a:t>procédures</a:t>
            </a:r>
            <a:r>
              <a:rPr lang="es-ES" sz="1700" b="0" i="0" u="none" strike="noStrike" kern="1200" cap="none" spc="0" baseline="0">
                <a:solidFill>
                  <a:srgbClr val="333333"/>
                </a:solidFill>
                <a:uFillTx/>
                <a:latin typeface="Roboto" pitchFamily="2"/>
                <a:ea typeface="Roboto" pitchFamily="2"/>
              </a:rPr>
              <a:t>                          et des protocoles</a:t>
            </a:r>
          </a:p>
          <a:p>
            <a:pPr marL="285750" marR="0" lvl="0" indent="-285750" algn="l" defTabSz="914400" rtl="0" fontAlgn="auto" hangingPunct="1">
              <a:lnSpc>
                <a:spcPct val="100000"/>
              </a:lnSpc>
              <a:spcBef>
                <a:spcPts val="0"/>
              </a:spcBef>
              <a:spcAft>
                <a:spcPts val="0"/>
              </a:spcAft>
              <a:buSzPct val="100000"/>
              <a:buFont typeface="Arial" pitchFamily="34"/>
              <a:buChar char="•"/>
              <a:tabLst/>
              <a:defRPr sz="1800" b="0" i="0" u="none" strike="noStrike" kern="0" cap="none" spc="0" baseline="0">
                <a:solidFill>
                  <a:srgbClr val="000000"/>
                </a:solidFill>
                <a:uFillTx/>
              </a:defRPr>
            </a:pPr>
            <a:r>
              <a:rPr lang="fr-FR" sz="1700" b="0" i="0" u="none" strike="noStrike" kern="1200" cap="none" spc="0" baseline="0">
                <a:solidFill>
                  <a:srgbClr val="333333"/>
                </a:solidFill>
                <a:uFillTx/>
                <a:latin typeface="Roboto" pitchFamily="2"/>
                <a:ea typeface="Roboto" pitchFamily="2"/>
              </a:rPr>
              <a:t>Révocation</a:t>
            </a:r>
            <a:r>
              <a:rPr lang="es-ES" sz="1700" b="0" i="0" u="none" strike="noStrike" kern="1200" cap="none" spc="0" baseline="0">
                <a:solidFill>
                  <a:srgbClr val="333333"/>
                </a:solidFill>
                <a:uFillTx/>
                <a:latin typeface="Roboto" pitchFamily="2"/>
                <a:ea typeface="Roboto" pitchFamily="2"/>
              </a:rPr>
              <a:t> des </a:t>
            </a:r>
            <a:r>
              <a:rPr lang="fr-FR" sz="1700" b="0" i="0" u="none" strike="noStrike" kern="1200" cap="none" spc="0" baseline="0">
                <a:solidFill>
                  <a:srgbClr val="333333"/>
                </a:solidFill>
                <a:uFillTx/>
                <a:latin typeface="Roboto" pitchFamily="2"/>
                <a:ea typeface="Roboto" pitchFamily="2"/>
              </a:rPr>
              <a:t>cartes</a:t>
            </a:r>
            <a:r>
              <a:rPr lang="es-ES" sz="1700" b="0" i="0" u="none" strike="noStrike" kern="1200" cap="none" spc="0" baseline="0">
                <a:solidFill>
                  <a:srgbClr val="333333"/>
                </a:solidFill>
                <a:uFillTx/>
                <a:latin typeface="Roboto" pitchFamily="2"/>
                <a:ea typeface="Roboto" pitchFamily="2"/>
              </a:rPr>
              <a:t> </a:t>
            </a:r>
            <a:r>
              <a:rPr lang="fr-FR" sz="1700" b="0" i="0" u="none" strike="noStrike" kern="1200" cap="none" spc="0" baseline="0">
                <a:solidFill>
                  <a:srgbClr val="333333"/>
                </a:solidFill>
                <a:uFillTx/>
                <a:latin typeface="Roboto" pitchFamily="2"/>
                <a:ea typeface="Roboto" pitchFamily="2"/>
              </a:rPr>
              <a:t>volées</a:t>
            </a:r>
            <a:r>
              <a:rPr lang="es-ES" sz="1700" b="0" i="0" u="none" strike="noStrike" kern="1200" cap="none" spc="0" baseline="0">
                <a:solidFill>
                  <a:srgbClr val="333333"/>
                </a:solidFill>
                <a:uFillTx/>
                <a:latin typeface="Roboto" pitchFamily="2"/>
                <a:ea typeface="Roboto" pitchFamily="2"/>
              </a:rPr>
              <a:t> </a:t>
            </a:r>
            <a:r>
              <a:rPr lang="fr-FR" sz="1700" b="0" i="0" u="none" strike="noStrike" kern="1200" cap="none" spc="0" baseline="0">
                <a:solidFill>
                  <a:srgbClr val="333333"/>
                </a:solidFill>
                <a:uFillTx/>
                <a:latin typeface="Roboto" pitchFamily="2"/>
                <a:ea typeface="Roboto" pitchFamily="2"/>
              </a:rPr>
              <a:t>ou</a:t>
            </a:r>
            <a:r>
              <a:rPr lang="es-ES" sz="1700" b="0" i="0" u="none" strike="noStrike" kern="1200" cap="none" spc="0" baseline="0">
                <a:solidFill>
                  <a:srgbClr val="333333"/>
                </a:solidFill>
                <a:uFillTx/>
                <a:latin typeface="Roboto" pitchFamily="2"/>
                <a:ea typeface="Roboto" pitchFamily="2"/>
              </a:rPr>
              <a:t> </a:t>
            </a:r>
            <a:r>
              <a:rPr lang="fr-FR" sz="1700" b="0" i="0" u="none" strike="noStrike" kern="1200" cap="none" spc="0" baseline="0">
                <a:solidFill>
                  <a:srgbClr val="333333"/>
                </a:solidFill>
                <a:uFillTx/>
                <a:latin typeface="Roboto" pitchFamily="2"/>
                <a:ea typeface="Roboto" pitchFamily="2"/>
              </a:rPr>
              <a:t>perdues</a:t>
            </a:r>
          </a:p>
        </p:txBody>
      </p:sp>
      <p:sp>
        <p:nvSpPr>
          <p:cNvPr id="15" name="ZoneTexte 26">
            <a:extLst>
              <a:ext uri="{FF2B5EF4-FFF2-40B4-BE49-F238E27FC236}">
                <a16:creationId xmlns:a16="http://schemas.microsoft.com/office/drawing/2014/main" id="{63AB9BD4-3D95-49DE-A391-68B6D022F3F9}"/>
              </a:ext>
            </a:extLst>
          </p:cNvPr>
          <p:cNvSpPr txBox="1"/>
          <p:nvPr/>
        </p:nvSpPr>
        <p:spPr>
          <a:xfrm>
            <a:off x="929633" y="2791251"/>
            <a:ext cx="1282263" cy="369335"/>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1" i="0" u="none" strike="noStrike" kern="1200" cap="none" spc="0" baseline="0">
                <a:solidFill>
                  <a:srgbClr val="333333"/>
                </a:solidFill>
                <a:uFillTx/>
                <a:latin typeface="Roboto" pitchFamily="2"/>
                <a:ea typeface="Roboto" pitchFamily="2"/>
                <a:cs typeface="Arial" pitchFamily="34"/>
              </a:rPr>
              <a:t>Citoyen</a:t>
            </a:r>
            <a:endParaRPr lang="es-ES" sz="1800" b="1" i="0" u="none" strike="noStrike" kern="1200" cap="none" spc="0" baseline="0">
              <a:solidFill>
                <a:srgbClr val="333333"/>
              </a:solidFill>
              <a:uFillTx/>
              <a:latin typeface="Roboto" pitchFamily="2"/>
              <a:ea typeface="Roboto" pitchFamily="2"/>
              <a:cs typeface="Arial" pitchFamily="34"/>
            </a:endParaRPr>
          </a:p>
        </p:txBody>
      </p:sp>
      <p:sp>
        <p:nvSpPr>
          <p:cNvPr id="16" name="ZoneTexte 27">
            <a:extLst>
              <a:ext uri="{FF2B5EF4-FFF2-40B4-BE49-F238E27FC236}">
                <a16:creationId xmlns:a16="http://schemas.microsoft.com/office/drawing/2014/main" id="{28B74D54-03A7-A60A-408C-509DC47CEB40}"/>
              </a:ext>
            </a:extLst>
          </p:cNvPr>
          <p:cNvSpPr txBox="1"/>
          <p:nvPr/>
        </p:nvSpPr>
        <p:spPr>
          <a:xfrm>
            <a:off x="3515703" y="1651461"/>
            <a:ext cx="2443843" cy="369335"/>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1" i="0" u="none" strike="noStrike" kern="1200" cap="none" spc="0" baseline="0">
                <a:solidFill>
                  <a:srgbClr val="333333"/>
                </a:solidFill>
                <a:uFillTx/>
                <a:latin typeface="Roboto" pitchFamily="2"/>
                <a:ea typeface="Roboto" pitchFamily="2"/>
                <a:cs typeface="Arial" pitchFamily="34"/>
              </a:rPr>
              <a:t>Tiers de confiance</a:t>
            </a:r>
            <a:endParaRPr lang="es-ES" sz="1800" b="1" i="0" u="none" strike="noStrike" kern="1200" cap="none" spc="0" baseline="0">
              <a:solidFill>
                <a:srgbClr val="333333"/>
              </a:solidFill>
              <a:uFillTx/>
              <a:latin typeface="Roboto" pitchFamily="2"/>
              <a:ea typeface="Roboto" pitchFamily="2"/>
              <a:cs typeface="Arial" pitchFamily="34"/>
            </a:endParaRPr>
          </a:p>
        </p:txBody>
      </p:sp>
      <p:sp>
        <p:nvSpPr>
          <p:cNvPr id="17" name="ZoneTexte 28">
            <a:extLst>
              <a:ext uri="{FF2B5EF4-FFF2-40B4-BE49-F238E27FC236}">
                <a16:creationId xmlns:a16="http://schemas.microsoft.com/office/drawing/2014/main" id="{114951B8-3788-D786-A907-A9C77C672280}"/>
              </a:ext>
            </a:extLst>
          </p:cNvPr>
          <p:cNvSpPr txBox="1"/>
          <p:nvPr/>
        </p:nvSpPr>
        <p:spPr>
          <a:xfrm>
            <a:off x="6850629" y="1285500"/>
            <a:ext cx="2716682" cy="369335"/>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800" b="1" i="0" u="none" strike="noStrike" kern="1200" cap="none" spc="0" baseline="0">
                <a:solidFill>
                  <a:srgbClr val="333333"/>
                </a:solidFill>
                <a:uFillTx/>
                <a:latin typeface="Roboto" pitchFamily="2"/>
                <a:ea typeface="Roboto" pitchFamily="2"/>
                <a:cs typeface="Arial" pitchFamily="34"/>
              </a:rPr>
              <a:t>Fournisseurs de service</a:t>
            </a:r>
            <a:endParaRPr lang="es-ES" sz="1800" b="1" i="0" u="none" strike="noStrike" kern="1200" cap="none" spc="0" baseline="0">
              <a:solidFill>
                <a:srgbClr val="333333"/>
              </a:solidFill>
              <a:uFillTx/>
              <a:latin typeface="Roboto" pitchFamily="2"/>
              <a:ea typeface="Roboto" pitchFamily="2"/>
              <a:cs typeface="Arial" pitchFamily="34"/>
            </a:endParaRPr>
          </a:p>
        </p:txBody>
      </p:sp>
      <p:sp>
        <p:nvSpPr>
          <p:cNvPr id="18" name="ZoneTexte 24">
            <a:extLst>
              <a:ext uri="{FF2B5EF4-FFF2-40B4-BE49-F238E27FC236}">
                <a16:creationId xmlns:a16="http://schemas.microsoft.com/office/drawing/2014/main" id="{1886EA82-DC29-275A-16AB-BBF20F05BAB4}"/>
              </a:ext>
            </a:extLst>
          </p:cNvPr>
          <p:cNvSpPr txBox="1"/>
          <p:nvPr/>
        </p:nvSpPr>
        <p:spPr>
          <a:xfrm>
            <a:off x="3060030" y="4438451"/>
            <a:ext cx="3257833" cy="338556"/>
          </a:xfrm>
          <a:prstGeom prst="rect">
            <a:avLst/>
          </a:prstGeom>
          <a:solidFill>
            <a:srgbClr val="FFFFFF"/>
          </a:solidFill>
          <a:ln w="25402" cap="flat">
            <a:solidFill>
              <a:srgbClr val="2DA1BE"/>
            </a:solidFill>
            <a:prstDash val="solid"/>
            <a:miter/>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600" b="0" i="0" u="none" strike="noStrike" kern="1200" cap="none" spc="0" baseline="0">
                <a:solidFill>
                  <a:srgbClr val="333333"/>
                </a:solidFill>
                <a:uFillTx/>
                <a:latin typeface="Roboto" pitchFamily="2"/>
                <a:ea typeface="Roboto" pitchFamily="2"/>
              </a:rPr>
              <a:t>Pas de stockage des données</a:t>
            </a:r>
          </a:p>
        </p:txBody>
      </p:sp>
      <p:sp>
        <p:nvSpPr>
          <p:cNvPr id="19" name="Titre 13">
            <a:extLst>
              <a:ext uri="{FF2B5EF4-FFF2-40B4-BE49-F238E27FC236}">
                <a16:creationId xmlns:a16="http://schemas.microsoft.com/office/drawing/2014/main" id="{0B9B37A2-8EAA-B381-7DBF-7BC42B0BA898}"/>
              </a:ext>
            </a:extLst>
          </p:cNvPr>
          <p:cNvSpPr txBox="1">
            <a:spLocks noGrp="1"/>
          </p:cNvSpPr>
          <p:nvPr>
            <p:ph type="title"/>
          </p:nvPr>
        </p:nvSpPr>
        <p:spPr>
          <a:xfrm>
            <a:off x="2566812" y="335017"/>
            <a:ext cx="7309603" cy="745940"/>
          </a:xfrm>
        </p:spPr>
        <p:txBody>
          <a:bodyPr anchorCtr="1"/>
          <a:lstStyle/>
          <a:p>
            <a:pPr lvl="0" algn="ctr"/>
            <a:r>
              <a:rPr lang="fr-MA">
                <a:latin typeface="Roboto" pitchFamily="2"/>
                <a:ea typeface="Roboto" pitchFamily="2"/>
              </a:rPr>
              <a:t>Plateforme d’Authentification et d’Identification des Usagers des Services Numériques </a:t>
            </a:r>
            <a:endParaRPr lang="en-CA">
              <a:latin typeface="Roboto" pitchFamily="2"/>
              <a:ea typeface="Roboto" pitchFamily="2"/>
            </a:endParaRPr>
          </a:p>
        </p:txBody>
      </p:sp>
      <p:pic>
        <p:nvPicPr>
          <p:cNvPr id="20" name="Graphic 55" descr="Universal access with solid fill">
            <a:extLst>
              <a:ext uri="{FF2B5EF4-FFF2-40B4-BE49-F238E27FC236}">
                <a16:creationId xmlns:a16="http://schemas.microsoft.com/office/drawing/2014/main" id="{4EBCFDA1-CEAB-954D-7DA3-90C06E9675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288" y="3053913"/>
            <a:ext cx="947665" cy="947665"/>
          </a:xfrm>
          <a:prstGeom prst="rect">
            <a:avLst/>
          </a:prstGeom>
          <a:noFill/>
          <a:ln cap="flat">
            <a:noFill/>
          </a:ln>
        </p:spPr>
      </p:pic>
      <p:sp>
        <p:nvSpPr>
          <p:cNvPr id="21" name="ZoneTexte 29">
            <a:extLst>
              <a:ext uri="{FF2B5EF4-FFF2-40B4-BE49-F238E27FC236}">
                <a16:creationId xmlns:a16="http://schemas.microsoft.com/office/drawing/2014/main" id="{D46EA255-3647-8293-B2F3-34FF4AA2AE8F}"/>
              </a:ext>
            </a:extLst>
          </p:cNvPr>
          <p:cNvSpPr txBox="1"/>
          <p:nvPr/>
        </p:nvSpPr>
        <p:spPr>
          <a:xfrm>
            <a:off x="170352" y="5012493"/>
            <a:ext cx="3328095" cy="400114"/>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000" b="0" i="0" u="none" strike="noStrike" kern="1200" cap="none" spc="0" baseline="0">
                <a:solidFill>
                  <a:srgbClr val="333333"/>
                </a:solidFill>
                <a:uFillTx/>
                <a:latin typeface="Roboto" pitchFamily="2"/>
                <a:ea typeface="Roboto" pitchFamily="2"/>
              </a:rPr>
              <a:t>Bénéfices attendues :</a:t>
            </a:r>
          </a:p>
        </p:txBody>
      </p:sp>
      <p:pic>
        <p:nvPicPr>
          <p:cNvPr id="22" name="Image 3">
            <a:extLst>
              <a:ext uri="{FF2B5EF4-FFF2-40B4-BE49-F238E27FC236}">
                <a16:creationId xmlns:a16="http://schemas.microsoft.com/office/drawing/2014/main" id="{1FCC4F48-1996-A29B-1BE9-36B2FA650AF3}"/>
              </a:ext>
            </a:extLst>
          </p:cNvPr>
          <p:cNvPicPr>
            <a:picLocks noChangeAspect="1"/>
          </p:cNvPicPr>
          <p:nvPr/>
        </p:nvPicPr>
        <p:blipFill>
          <a:blip r:embed="rId8"/>
          <a:stretch>
            <a:fillRect/>
          </a:stretch>
        </p:blipFill>
        <p:spPr>
          <a:xfrm>
            <a:off x="4197434" y="2791288"/>
            <a:ext cx="1154996" cy="1583996"/>
          </a:xfrm>
          <a:prstGeom prst="rect">
            <a:avLst/>
          </a:prstGeom>
          <a:noFill/>
          <a:ln cap="flat">
            <a:noFill/>
          </a:ln>
        </p:spPr>
      </p:pic>
      <p:pic>
        <p:nvPicPr>
          <p:cNvPr id="23" name="Image 5">
            <a:extLst>
              <a:ext uri="{FF2B5EF4-FFF2-40B4-BE49-F238E27FC236}">
                <a16:creationId xmlns:a16="http://schemas.microsoft.com/office/drawing/2014/main" id="{78A9BB01-2FD0-A32D-B755-1B9ABB69D70F}"/>
              </a:ext>
            </a:extLst>
          </p:cNvPr>
          <p:cNvPicPr>
            <a:picLocks noChangeAspect="1"/>
          </p:cNvPicPr>
          <p:nvPr/>
        </p:nvPicPr>
        <p:blipFill>
          <a:blip r:embed="rId9"/>
          <a:stretch>
            <a:fillRect/>
          </a:stretch>
        </p:blipFill>
        <p:spPr>
          <a:xfrm>
            <a:off x="7655521" y="4130015"/>
            <a:ext cx="1106890" cy="791998"/>
          </a:xfrm>
          <a:prstGeom prst="rect">
            <a:avLst/>
          </a:prstGeom>
          <a:noFill/>
          <a:ln cap="flat">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anim calcmode="lin" valueType="num">
                                      <p:cBhvr>
                                        <p:cTn id="23" dur="1000" fill="hold"/>
                                        <p:tgtEl>
                                          <p:spTgt spid="21"/>
                                        </p:tgtEl>
                                        <p:attrNameLst>
                                          <p:attrName>ppt_x</p:attrName>
                                        </p:attrNameLst>
                                      </p:cBhvr>
                                      <p:tavLst>
                                        <p:tav tm="0">
                                          <p:val>
                                            <p:strVal val="#ppt_x"/>
                                          </p:val>
                                        </p:tav>
                                        <p:tav tm="100000">
                                          <p:val>
                                            <p:strVal val="#ppt_x"/>
                                          </p:val>
                                        </p:tav>
                                      </p:tavLst>
                                    </p:anim>
                                    <p:anim calcmode="lin" valueType="num">
                                      <p:cBhvr>
                                        <p:cTn id="24"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2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64AA2896-8019-E785-1935-D908C7755FE9}"/>
              </a:ext>
            </a:extLst>
          </p:cNvPr>
          <p:cNvSpPr>
            <a:spLocks noGrp="1"/>
          </p:cNvSpPr>
          <p:nvPr>
            <p:ph type="title"/>
          </p:nvPr>
        </p:nvSpPr>
        <p:spPr/>
        <p:txBody>
          <a:bodyPr/>
          <a:lstStyle/>
          <a:p>
            <a:r>
              <a:rPr lang="en-US" dirty="0"/>
              <a:t>Modules </a:t>
            </a:r>
            <a:r>
              <a:rPr lang="en-US" dirty="0" err="1"/>
              <a:t>catalytiques</a:t>
            </a:r>
            <a:r>
              <a:rPr lang="en-US" dirty="0"/>
              <a:t> de la transformation </a:t>
            </a:r>
            <a:r>
              <a:rPr lang="en-US" dirty="0" err="1"/>
              <a:t>digitale</a:t>
            </a:r>
            <a:endParaRPr lang="en-US" dirty="0"/>
          </a:p>
        </p:txBody>
      </p:sp>
      <p:grpSp>
        <p:nvGrpSpPr>
          <p:cNvPr id="7" name="Group 2">
            <a:extLst>
              <a:ext uri="{FF2B5EF4-FFF2-40B4-BE49-F238E27FC236}">
                <a16:creationId xmlns:a16="http://schemas.microsoft.com/office/drawing/2014/main" id="{828CCFCD-52D7-A165-5B90-B58A837A6630}"/>
              </a:ext>
            </a:extLst>
          </p:cNvPr>
          <p:cNvGrpSpPr/>
          <p:nvPr/>
        </p:nvGrpSpPr>
        <p:grpSpPr>
          <a:xfrm>
            <a:off x="1485582" y="3285210"/>
            <a:ext cx="783184" cy="942472"/>
            <a:chOff x="1304180" y="3056610"/>
            <a:chExt cx="783184" cy="942472"/>
          </a:xfrm>
        </p:grpSpPr>
        <p:grpSp>
          <p:nvGrpSpPr>
            <p:cNvPr id="8" name="Group 3">
              <a:extLst>
                <a:ext uri="{FF2B5EF4-FFF2-40B4-BE49-F238E27FC236}">
                  <a16:creationId xmlns:a16="http://schemas.microsoft.com/office/drawing/2014/main" id="{88DDE8A1-0E13-A5A5-4271-25DBE15770E5}"/>
                </a:ext>
              </a:extLst>
            </p:cNvPr>
            <p:cNvGrpSpPr/>
            <p:nvPr/>
          </p:nvGrpSpPr>
          <p:grpSpPr>
            <a:xfrm>
              <a:off x="1304180" y="3056610"/>
              <a:ext cx="783184" cy="912525"/>
              <a:chOff x="1304180" y="3056610"/>
              <a:chExt cx="783184" cy="912525"/>
            </a:xfrm>
          </p:grpSpPr>
          <p:sp>
            <p:nvSpPr>
              <p:cNvPr id="10" name="Oval 5">
                <a:extLst>
                  <a:ext uri="{FF2B5EF4-FFF2-40B4-BE49-F238E27FC236}">
                    <a16:creationId xmlns:a16="http://schemas.microsoft.com/office/drawing/2014/main" id="{EA704323-268F-D51D-2852-21D616CDCC01}"/>
                  </a:ext>
                </a:extLst>
              </p:cNvPr>
              <p:cNvSpPr/>
              <p:nvPr/>
            </p:nvSpPr>
            <p:spPr>
              <a:xfrm rot="15300001">
                <a:off x="1634791" y="3041943"/>
                <a:ext cx="437906" cy="46724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CADFE6"/>
              </a:solidFill>
              <a:ln cap="flat">
                <a:noFill/>
                <a:prstDash val="solid"/>
              </a:ln>
            </p:spPr>
            <p:txBody>
              <a:bodyPr vert="horz" wrap="square" lIns="93296" tIns="46652" rIns="93296" bIns="46652"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24" b="0" i="0" u="none" strike="noStrike" kern="1200" cap="none" spc="0" baseline="0">
                  <a:solidFill>
                    <a:srgbClr val="333333"/>
                  </a:solidFill>
                  <a:uFillTx/>
                  <a:latin typeface="Arial Nova Light"/>
                  <a:ea typeface="ＭＳ Ｐゴシック"/>
                </a:endParaRPr>
              </a:p>
            </p:txBody>
          </p:sp>
          <p:sp>
            <p:nvSpPr>
              <p:cNvPr id="11" name="Oval 6">
                <a:extLst>
                  <a:ext uri="{FF2B5EF4-FFF2-40B4-BE49-F238E27FC236}">
                    <a16:creationId xmlns:a16="http://schemas.microsoft.com/office/drawing/2014/main" id="{520D7294-F70B-F599-185C-1B15954CB975}"/>
                  </a:ext>
                </a:extLst>
              </p:cNvPr>
              <p:cNvSpPr/>
              <p:nvPr/>
            </p:nvSpPr>
            <p:spPr>
              <a:xfrm rot="15300001">
                <a:off x="1327081" y="3262620"/>
                <a:ext cx="683614" cy="72941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D9D2ED"/>
              </a:solidFill>
              <a:ln cap="flat">
                <a:noFill/>
                <a:prstDash val="solid"/>
              </a:ln>
            </p:spPr>
            <p:txBody>
              <a:bodyPr vert="horz" wrap="square" lIns="91440" tIns="45720" rIns="91440" bIns="45720"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24" b="0" i="0" u="none" strike="noStrike" kern="1200" cap="none" spc="0" baseline="0">
                  <a:solidFill>
                    <a:srgbClr val="333333"/>
                  </a:solidFill>
                  <a:uFillTx/>
                  <a:latin typeface="Arial Nova Light"/>
                  <a:ea typeface="ＭＳ Ｐゴシック"/>
                </a:endParaRPr>
              </a:p>
            </p:txBody>
          </p:sp>
        </p:grpSp>
        <p:pic>
          <p:nvPicPr>
            <p:cNvPr id="9" name="Graphic 4">
              <a:extLst>
                <a:ext uri="{FF2B5EF4-FFF2-40B4-BE49-F238E27FC236}">
                  <a16:creationId xmlns:a16="http://schemas.microsoft.com/office/drawing/2014/main" id="{392EC5D8-ACEC-1CE7-E6CC-4E8EC36994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9266" y="3285146"/>
              <a:ext cx="476374" cy="713936"/>
            </a:xfrm>
            <a:prstGeom prst="rect">
              <a:avLst/>
            </a:prstGeom>
            <a:noFill/>
            <a:ln cap="flat">
              <a:noFill/>
            </a:ln>
          </p:spPr>
        </p:pic>
      </p:grpSp>
      <p:grpSp>
        <p:nvGrpSpPr>
          <p:cNvPr id="12" name="Group 12">
            <a:extLst>
              <a:ext uri="{FF2B5EF4-FFF2-40B4-BE49-F238E27FC236}">
                <a16:creationId xmlns:a16="http://schemas.microsoft.com/office/drawing/2014/main" id="{0FBB230C-B4A4-E0E1-C514-BDE92DA6C60A}"/>
              </a:ext>
            </a:extLst>
          </p:cNvPr>
          <p:cNvGrpSpPr/>
          <p:nvPr/>
        </p:nvGrpSpPr>
        <p:grpSpPr>
          <a:xfrm>
            <a:off x="1461351" y="2260735"/>
            <a:ext cx="909828" cy="813431"/>
            <a:chOff x="1279949" y="2032135"/>
            <a:chExt cx="909828" cy="813431"/>
          </a:xfrm>
        </p:grpSpPr>
        <p:grpSp>
          <p:nvGrpSpPr>
            <p:cNvPr id="23" name="Group 13">
              <a:extLst>
                <a:ext uri="{FF2B5EF4-FFF2-40B4-BE49-F238E27FC236}">
                  <a16:creationId xmlns:a16="http://schemas.microsoft.com/office/drawing/2014/main" id="{46E7E5B2-4E69-D17A-32FD-7B1AAF9A67B4}"/>
                </a:ext>
              </a:extLst>
            </p:cNvPr>
            <p:cNvGrpSpPr/>
            <p:nvPr/>
          </p:nvGrpSpPr>
          <p:grpSpPr>
            <a:xfrm>
              <a:off x="1279949" y="2032135"/>
              <a:ext cx="909828" cy="813431"/>
              <a:chOff x="1279949" y="2032135"/>
              <a:chExt cx="909828" cy="813431"/>
            </a:xfrm>
          </p:grpSpPr>
          <p:sp>
            <p:nvSpPr>
              <p:cNvPr id="25" name="Oval 15">
                <a:extLst>
                  <a:ext uri="{FF2B5EF4-FFF2-40B4-BE49-F238E27FC236}">
                    <a16:creationId xmlns:a16="http://schemas.microsoft.com/office/drawing/2014/main" id="{8850A687-4762-AF1A-660A-FDE795716708}"/>
                  </a:ext>
                </a:extLst>
              </p:cNvPr>
              <p:cNvSpPr/>
              <p:nvPr/>
            </p:nvSpPr>
            <p:spPr>
              <a:xfrm>
                <a:off x="1722537" y="2407660"/>
                <a:ext cx="467240" cy="43790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D9D2ED"/>
              </a:solidFill>
              <a:ln cap="flat">
                <a:noFill/>
                <a:prstDash val="solid"/>
              </a:ln>
            </p:spPr>
            <p:txBody>
              <a:bodyPr vert="horz" wrap="square" lIns="91440" tIns="45720" rIns="91440" bIns="45720"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24" b="0" i="0" u="none" strike="noStrike" kern="1200" cap="none" spc="0" baseline="0">
                  <a:solidFill>
                    <a:srgbClr val="333333"/>
                  </a:solidFill>
                  <a:uFillTx/>
                  <a:latin typeface="Arial Nova Light"/>
                  <a:ea typeface="ＭＳ Ｐゴシック"/>
                </a:endParaRPr>
              </a:p>
            </p:txBody>
          </p:sp>
          <p:sp>
            <p:nvSpPr>
              <p:cNvPr id="26" name="Oval 16">
                <a:extLst>
                  <a:ext uri="{FF2B5EF4-FFF2-40B4-BE49-F238E27FC236}">
                    <a16:creationId xmlns:a16="http://schemas.microsoft.com/office/drawing/2014/main" id="{25C3410C-995F-5321-716A-E06B96CD996D}"/>
                  </a:ext>
                </a:extLst>
              </p:cNvPr>
              <p:cNvSpPr/>
              <p:nvPr/>
            </p:nvSpPr>
            <p:spPr>
              <a:xfrm>
                <a:off x="1279949" y="2032135"/>
                <a:ext cx="729416" cy="68361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CADFE6"/>
              </a:solidFill>
              <a:ln cap="flat">
                <a:noFill/>
                <a:prstDash val="solid"/>
              </a:ln>
            </p:spPr>
            <p:txBody>
              <a:bodyPr vert="horz" wrap="square" lIns="91440" tIns="45720" rIns="91440" bIns="45720"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24" b="0" i="0" u="none" strike="noStrike" kern="1200" cap="none" spc="0" baseline="0">
                  <a:solidFill>
                    <a:srgbClr val="333333"/>
                  </a:solidFill>
                  <a:uFillTx/>
                  <a:latin typeface="Arial Nova Light"/>
                  <a:ea typeface="ＭＳ Ｐゴシック"/>
                </a:endParaRPr>
              </a:p>
            </p:txBody>
          </p:sp>
        </p:grpSp>
        <p:pic>
          <p:nvPicPr>
            <p:cNvPr id="24" name="Graphic 14">
              <a:extLst>
                <a:ext uri="{FF2B5EF4-FFF2-40B4-BE49-F238E27FC236}">
                  <a16:creationId xmlns:a16="http://schemas.microsoft.com/office/drawing/2014/main" id="{6AC2E6EA-2637-9649-7EA9-7A2AE5665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93298" y="2155981"/>
              <a:ext cx="683120" cy="565739"/>
            </a:xfrm>
            <a:prstGeom prst="rect">
              <a:avLst/>
            </a:prstGeom>
            <a:noFill/>
            <a:ln cap="flat">
              <a:noFill/>
            </a:ln>
          </p:spPr>
        </p:pic>
      </p:grpSp>
      <p:sp>
        <p:nvSpPr>
          <p:cNvPr id="28" name="Rectangle 31">
            <a:extLst>
              <a:ext uri="{FF2B5EF4-FFF2-40B4-BE49-F238E27FC236}">
                <a16:creationId xmlns:a16="http://schemas.microsoft.com/office/drawing/2014/main" id="{3457D85D-B2B7-95FD-6B35-9FBFFAB1266E}"/>
              </a:ext>
            </a:extLst>
          </p:cNvPr>
          <p:cNvSpPr/>
          <p:nvPr/>
        </p:nvSpPr>
        <p:spPr>
          <a:xfrm>
            <a:off x="6500390" y="2329488"/>
            <a:ext cx="1820168" cy="833027"/>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1000</a:t>
            </a:r>
            <a:r>
              <a:rPr lang="fr-FR" sz="1800" b="0" i="0" u="none" strike="noStrike" kern="1200" cap="none" spc="0" baseline="0">
                <a:solidFill>
                  <a:srgbClr val="333333"/>
                </a:solidFill>
                <a:uFillTx/>
                <a:latin typeface="Arial Nova Light"/>
                <a:ea typeface="ＭＳ Ｐゴシック"/>
              </a:rPr>
              <a:t> </a:t>
            </a:r>
            <a:r>
              <a:rPr lang="fr-FR" sz="1224" b="0" i="0" u="none" strike="noStrike" kern="1200" cap="none" spc="0" baseline="0">
                <a:solidFill>
                  <a:srgbClr val="333333"/>
                </a:solidFill>
                <a:uFillTx/>
                <a:latin typeface="Arial Nova Light"/>
                <a:ea typeface="ＭＳ Ｐゴシック"/>
              </a:rPr>
              <a:t>organismes publics</a:t>
            </a:r>
            <a:br>
              <a:rPr lang="fr-FR" sz="1224" b="0" i="0" u="none" strike="noStrike" kern="1200" cap="none" spc="0" baseline="0">
                <a:solidFill>
                  <a:srgbClr val="333333"/>
                </a:solidFill>
                <a:uFillTx/>
                <a:latin typeface="Arial Nova Light"/>
                <a:ea typeface="ＭＳ Ｐゴシック"/>
              </a:rPr>
            </a:br>
            <a:endParaRPr lang="fr-FR" sz="1224" b="0" i="0" u="none" strike="noStrike" kern="1200" cap="none" spc="0" baseline="0">
              <a:solidFill>
                <a:srgbClr val="333333"/>
              </a:solidFill>
              <a:uFillTx/>
              <a:latin typeface="Arial Nova Light"/>
              <a:ea typeface="ＭＳ Ｐゴシック"/>
            </a:endParaRPr>
          </a:p>
        </p:txBody>
      </p:sp>
      <p:sp>
        <p:nvSpPr>
          <p:cNvPr id="29" name="Rectangle 32">
            <a:extLst>
              <a:ext uri="{FF2B5EF4-FFF2-40B4-BE49-F238E27FC236}">
                <a16:creationId xmlns:a16="http://schemas.microsoft.com/office/drawing/2014/main" id="{ED673E58-89BF-CCA8-E7D6-3CFB4AEABBAF}"/>
              </a:ext>
            </a:extLst>
          </p:cNvPr>
          <p:cNvSpPr/>
          <p:nvPr/>
        </p:nvSpPr>
        <p:spPr>
          <a:xfrm>
            <a:off x="8808766" y="2329488"/>
            <a:ext cx="1982336" cy="448604"/>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2,2 M </a:t>
            </a:r>
            <a:r>
              <a:rPr lang="fr-FR" sz="1224" b="0" i="0" u="none" strike="noStrike" kern="1200" cap="none" spc="0" baseline="0">
                <a:solidFill>
                  <a:srgbClr val="333333"/>
                </a:solidFill>
                <a:uFillTx/>
                <a:latin typeface="Arial Nova Light"/>
                <a:ea typeface="ＭＳ Ｐゴシック"/>
              </a:rPr>
              <a:t>courriers</a:t>
            </a:r>
          </a:p>
        </p:txBody>
      </p:sp>
      <p:sp>
        <p:nvSpPr>
          <p:cNvPr id="30" name="Rectangle 34">
            <a:extLst>
              <a:ext uri="{FF2B5EF4-FFF2-40B4-BE49-F238E27FC236}">
                <a16:creationId xmlns:a16="http://schemas.microsoft.com/office/drawing/2014/main" id="{D740EE26-0968-4F3D-49A2-D4FBBFA38119}"/>
              </a:ext>
            </a:extLst>
          </p:cNvPr>
          <p:cNvSpPr/>
          <p:nvPr/>
        </p:nvSpPr>
        <p:spPr>
          <a:xfrm>
            <a:off x="6500390" y="3359697"/>
            <a:ext cx="1959577" cy="628055"/>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28 </a:t>
            </a:r>
          </a:p>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0" i="0" u="none" strike="noStrike" kern="1200" cap="none" spc="0" baseline="0">
                <a:solidFill>
                  <a:srgbClr val="333333"/>
                </a:solidFill>
                <a:uFillTx/>
                <a:latin typeface="Arial Nova Light"/>
                <a:ea typeface="ＭＳ Ｐゴシック"/>
              </a:rPr>
              <a:t>organismes publics</a:t>
            </a:r>
          </a:p>
        </p:txBody>
      </p:sp>
      <p:sp>
        <p:nvSpPr>
          <p:cNvPr id="31" name="Rectangle 35">
            <a:extLst>
              <a:ext uri="{FF2B5EF4-FFF2-40B4-BE49-F238E27FC236}">
                <a16:creationId xmlns:a16="http://schemas.microsoft.com/office/drawing/2014/main" id="{7A4F91A2-A2ED-0CD3-EC6F-3F55ABE34A1B}"/>
              </a:ext>
            </a:extLst>
          </p:cNvPr>
          <p:cNvSpPr/>
          <p:nvPr/>
        </p:nvSpPr>
        <p:spPr>
          <a:xfrm>
            <a:off x="8808766" y="3359697"/>
            <a:ext cx="2336484" cy="448604"/>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290 K </a:t>
            </a:r>
            <a:r>
              <a:rPr lang="fr-FR" sz="1224" b="0" i="0" u="none" strike="noStrike" kern="1200" cap="none" spc="0" baseline="0">
                <a:solidFill>
                  <a:srgbClr val="333333"/>
                </a:solidFill>
                <a:uFillTx/>
                <a:latin typeface="Arial Nova Light"/>
                <a:ea typeface="ＭＳ Ｐゴシック"/>
              </a:rPr>
              <a:t>rendez-vous</a:t>
            </a:r>
          </a:p>
        </p:txBody>
      </p:sp>
      <p:cxnSp>
        <p:nvCxnSpPr>
          <p:cNvPr id="32" name="HorizontalLine 10">
            <a:extLst>
              <a:ext uri="{FF2B5EF4-FFF2-40B4-BE49-F238E27FC236}">
                <a16:creationId xmlns:a16="http://schemas.microsoft.com/office/drawing/2014/main" id="{78BA89ED-E815-909F-0E0B-7FFF37E0C2AD}"/>
              </a:ext>
            </a:extLst>
          </p:cNvPr>
          <p:cNvCxnSpPr/>
          <p:nvPr/>
        </p:nvCxnSpPr>
        <p:spPr>
          <a:xfrm flipV="1">
            <a:off x="3411602" y="3238621"/>
            <a:ext cx="7517374" cy="10909"/>
          </a:xfrm>
          <a:prstGeom prst="straightConnector1">
            <a:avLst/>
          </a:prstGeom>
          <a:noFill/>
          <a:ln w="12701" cap="flat">
            <a:solidFill>
              <a:srgbClr val="149AC2"/>
            </a:solidFill>
            <a:prstDash val="solid"/>
            <a:miter/>
          </a:ln>
        </p:spPr>
      </p:cxnSp>
      <p:sp>
        <p:nvSpPr>
          <p:cNvPr id="33" name="TextBox 40">
            <a:extLst>
              <a:ext uri="{FF2B5EF4-FFF2-40B4-BE49-F238E27FC236}">
                <a16:creationId xmlns:a16="http://schemas.microsoft.com/office/drawing/2014/main" id="{550E7093-D61E-7506-A584-53C21CF779CA}"/>
              </a:ext>
            </a:extLst>
          </p:cNvPr>
          <p:cNvSpPr txBox="1"/>
          <p:nvPr/>
        </p:nvSpPr>
        <p:spPr>
          <a:xfrm>
            <a:off x="6501798" y="1708986"/>
            <a:ext cx="1958169" cy="359660"/>
          </a:xfrm>
          <a:prstGeom prst="rect">
            <a:avLst/>
          </a:prstGeom>
          <a:noFill/>
          <a:ln cap="flat">
            <a:noFill/>
          </a:ln>
        </p:spPr>
        <p:txBody>
          <a:bodyPr vert="horz" wrap="square" lIns="0" tIns="0" rIns="0" bIns="0" anchor="t" anchorCtr="0" compatLnSpc="1">
            <a:no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1" i="0" u="none" strike="noStrike" kern="1200" cap="none" spc="0" baseline="0">
                <a:solidFill>
                  <a:srgbClr val="333333"/>
                </a:solidFill>
                <a:uFillTx/>
                <a:latin typeface="Arial Nova Light"/>
                <a:ea typeface="ＭＳ Ｐゴシック"/>
              </a:rPr>
              <a:t>Nombre d’organismes ayant utilisé l’application</a:t>
            </a:r>
          </a:p>
        </p:txBody>
      </p:sp>
      <p:sp>
        <p:nvSpPr>
          <p:cNvPr id="34" name="TextBox 41">
            <a:extLst>
              <a:ext uri="{FF2B5EF4-FFF2-40B4-BE49-F238E27FC236}">
                <a16:creationId xmlns:a16="http://schemas.microsoft.com/office/drawing/2014/main" id="{332A951A-49EB-E8E0-FA1F-44674235078A}"/>
              </a:ext>
            </a:extLst>
          </p:cNvPr>
          <p:cNvSpPr txBox="1"/>
          <p:nvPr/>
        </p:nvSpPr>
        <p:spPr>
          <a:xfrm>
            <a:off x="8808766" y="1698927"/>
            <a:ext cx="1763731" cy="450506"/>
          </a:xfrm>
          <a:prstGeom prst="rect">
            <a:avLst/>
          </a:prstGeom>
          <a:noFill/>
          <a:ln cap="flat">
            <a:noFill/>
          </a:ln>
        </p:spPr>
        <p:txBody>
          <a:bodyPr vert="horz" wrap="square" lIns="0" tIns="0" rIns="0" bIns="0" anchor="t" anchorCtr="0" compatLnSpc="1">
            <a:no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1" i="0" u="none" strike="noStrike" kern="1200" cap="none" spc="0" baseline="0">
                <a:solidFill>
                  <a:srgbClr val="333333"/>
                </a:solidFill>
                <a:uFillTx/>
                <a:latin typeface="Arial Nova Light"/>
                <a:ea typeface="ＭＳ Ｐゴシック"/>
              </a:rPr>
              <a:t>Nombre de traitements / plateforme depuis 2020</a:t>
            </a:r>
          </a:p>
        </p:txBody>
      </p:sp>
      <p:cxnSp>
        <p:nvCxnSpPr>
          <p:cNvPr id="37" name="Straight Connector 42">
            <a:extLst>
              <a:ext uri="{FF2B5EF4-FFF2-40B4-BE49-F238E27FC236}">
                <a16:creationId xmlns:a16="http://schemas.microsoft.com/office/drawing/2014/main" id="{F770ACD0-88AB-4FB2-5864-22D74BA1D0D6}"/>
              </a:ext>
            </a:extLst>
          </p:cNvPr>
          <p:cNvCxnSpPr/>
          <p:nvPr/>
        </p:nvCxnSpPr>
        <p:spPr>
          <a:xfrm>
            <a:off x="1181380" y="2163772"/>
            <a:ext cx="9747596" cy="14593"/>
          </a:xfrm>
          <a:prstGeom prst="straightConnector1">
            <a:avLst/>
          </a:prstGeom>
          <a:noFill/>
          <a:ln w="12701" cap="flat">
            <a:solidFill>
              <a:srgbClr val="149AC2"/>
            </a:solidFill>
            <a:prstDash val="solid"/>
            <a:miter/>
          </a:ln>
        </p:spPr>
      </p:cxnSp>
      <p:sp>
        <p:nvSpPr>
          <p:cNvPr id="42" name="Rectangle 45">
            <a:extLst>
              <a:ext uri="{FF2B5EF4-FFF2-40B4-BE49-F238E27FC236}">
                <a16:creationId xmlns:a16="http://schemas.microsoft.com/office/drawing/2014/main" id="{F08E91CF-C513-00B2-5D3D-95541B6C91FC}"/>
              </a:ext>
            </a:extLst>
          </p:cNvPr>
          <p:cNvSpPr/>
          <p:nvPr/>
        </p:nvSpPr>
        <p:spPr>
          <a:xfrm>
            <a:off x="3040054" y="2299798"/>
            <a:ext cx="3230438" cy="576629"/>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1" i="0" u="none" strike="noStrike" kern="1200" cap="none" spc="0" baseline="0">
                <a:solidFill>
                  <a:srgbClr val="149AC2"/>
                </a:solidFill>
                <a:uFillTx/>
                <a:latin typeface="Arial Nova Light"/>
                <a:ea typeface="ＭＳ Ｐゴシック"/>
              </a:rPr>
              <a:t>Bureau d’ordre digital / parapheur</a:t>
            </a:r>
          </a:p>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0" i="0" u="none" strike="noStrike" kern="1200" cap="none" spc="0" baseline="0">
                <a:solidFill>
                  <a:srgbClr val="333333"/>
                </a:solidFill>
                <a:uFillTx/>
                <a:latin typeface="Arial Nova Light"/>
                <a:ea typeface="ＭＳ Ｐゴシック"/>
              </a:rPr>
              <a:t>Application de dématérialisation du traitement du courrier des administrations</a:t>
            </a:r>
          </a:p>
        </p:txBody>
      </p:sp>
      <p:sp>
        <p:nvSpPr>
          <p:cNvPr id="43" name="Rectangle 47">
            <a:extLst>
              <a:ext uri="{FF2B5EF4-FFF2-40B4-BE49-F238E27FC236}">
                <a16:creationId xmlns:a16="http://schemas.microsoft.com/office/drawing/2014/main" id="{1BE93417-78D5-801C-F9A0-0CA1BBB4C85D}"/>
              </a:ext>
            </a:extLst>
          </p:cNvPr>
          <p:cNvSpPr/>
          <p:nvPr/>
        </p:nvSpPr>
        <p:spPr>
          <a:xfrm>
            <a:off x="3040054" y="3329997"/>
            <a:ext cx="3230438" cy="768845"/>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1" i="0" u="none" strike="noStrike" kern="1200" cap="none" spc="0" baseline="0">
                <a:solidFill>
                  <a:srgbClr val="149AC2"/>
                </a:solidFill>
                <a:uFillTx/>
                <a:latin typeface="Arial Nova Light"/>
                <a:ea typeface="ＭＳ Ｐゴシック"/>
              </a:rPr>
              <a:t>Gestion des Rendez-vous</a:t>
            </a:r>
          </a:p>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0" i="0" u="none" strike="noStrike" kern="1200" cap="none" spc="0" baseline="0">
                <a:solidFill>
                  <a:srgbClr val="333333"/>
                </a:solidFill>
                <a:uFillTx/>
                <a:latin typeface="Arial Nova Light"/>
                <a:ea typeface="ＭＳ Ｐゴシック"/>
              </a:rPr>
              <a:t>Application permettant la prise de rendez-vous pour les citoyens et optimisant la gestion des rendez-vous au niveau des administrations</a:t>
            </a:r>
          </a:p>
        </p:txBody>
      </p:sp>
      <p:grpSp>
        <p:nvGrpSpPr>
          <p:cNvPr id="59" name="Group 17">
            <a:extLst>
              <a:ext uri="{FF2B5EF4-FFF2-40B4-BE49-F238E27FC236}">
                <a16:creationId xmlns:a16="http://schemas.microsoft.com/office/drawing/2014/main" id="{72331684-4DE2-F354-EAD2-D38B06FA9BF5}"/>
              </a:ext>
            </a:extLst>
          </p:cNvPr>
          <p:cNvGrpSpPr/>
          <p:nvPr/>
        </p:nvGrpSpPr>
        <p:grpSpPr>
          <a:xfrm>
            <a:off x="1414020" y="4430706"/>
            <a:ext cx="1090503" cy="1082997"/>
            <a:chOff x="2010875" y="1762569"/>
            <a:chExt cx="1090503" cy="1082997"/>
          </a:xfrm>
        </p:grpSpPr>
        <p:grpSp>
          <p:nvGrpSpPr>
            <p:cNvPr id="60" name="Group 18">
              <a:extLst>
                <a:ext uri="{FF2B5EF4-FFF2-40B4-BE49-F238E27FC236}">
                  <a16:creationId xmlns:a16="http://schemas.microsoft.com/office/drawing/2014/main" id="{244CF125-2B5E-91D2-4AE2-0D5DE9964EB1}"/>
                </a:ext>
              </a:extLst>
            </p:cNvPr>
            <p:cNvGrpSpPr/>
            <p:nvPr/>
          </p:nvGrpSpPr>
          <p:grpSpPr>
            <a:xfrm>
              <a:off x="2010875" y="1762569"/>
              <a:ext cx="1090503" cy="1082997"/>
              <a:chOff x="2010875" y="1762569"/>
              <a:chExt cx="1090503" cy="1082997"/>
            </a:xfrm>
          </p:grpSpPr>
          <p:sp>
            <p:nvSpPr>
              <p:cNvPr id="62" name="Oval 20">
                <a:extLst>
                  <a:ext uri="{FF2B5EF4-FFF2-40B4-BE49-F238E27FC236}">
                    <a16:creationId xmlns:a16="http://schemas.microsoft.com/office/drawing/2014/main" id="{B3CC82EE-E2F4-69CE-994E-1F20635523D3}"/>
                  </a:ext>
                </a:extLst>
              </p:cNvPr>
              <p:cNvSpPr/>
              <p:nvPr/>
            </p:nvSpPr>
            <p:spPr>
              <a:xfrm rot="10799991">
                <a:off x="2010875" y="1762569"/>
                <a:ext cx="560024" cy="58302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D9D2ED"/>
              </a:solidFill>
              <a:ln cap="flat">
                <a:noFill/>
                <a:prstDash val="solid"/>
              </a:ln>
            </p:spPr>
            <p:txBody>
              <a:bodyPr vert="horz" wrap="square" lIns="91440" tIns="45720" rIns="91440" bIns="45720"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37" b="0" i="0" u="none" strike="noStrike" kern="1200" cap="none" spc="0" baseline="0">
                  <a:solidFill>
                    <a:srgbClr val="333333"/>
                  </a:solidFill>
                  <a:uFillTx/>
                  <a:latin typeface="Arial Nova Light"/>
                  <a:ea typeface="ＭＳ Ｐゴシック"/>
                </a:endParaRPr>
              </a:p>
            </p:txBody>
          </p:sp>
          <p:sp>
            <p:nvSpPr>
              <p:cNvPr id="63" name="Oval 21">
                <a:extLst>
                  <a:ext uri="{FF2B5EF4-FFF2-40B4-BE49-F238E27FC236}">
                    <a16:creationId xmlns:a16="http://schemas.microsoft.com/office/drawing/2014/main" id="{54A2975C-C38F-B806-83CD-BF8C395ED277}"/>
                  </a:ext>
                </a:extLst>
              </p:cNvPr>
              <p:cNvSpPr/>
              <p:nvPr/>
            </p:nvSpPr>
            <p:spPr>
              <a:xfrm rot="10799991">
                <a:off x="2227121" y="1935400"/>
                <a:ext cx="874257" cy="91016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CADFE6"/>
              </a:solidFill>
              <a:ln cap="flat">
                <a:noFill/>
                <a:prstDash val="solid"/>
              </a:ln>
            </p:spPr>
            <p:txBody>
              <a:bodyPr vert="horz" wrap="square" lIns="91440" tIns="45720" rIns="91440" bIns="45720" anchor="ctr" anchorCtr="1" compatLnSpc="1">
                <a:noAutofit/>
              </a:bodyPr>
              <a:lstStyle/>
              <a:p>
                <a:pPr marL="0" marR="0" lvl="0" indent="0" algn="ctr"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37" b="0" i="0" u="none" strike="noStrike" kern="1200" cap="none" spc="0" baseline="0">
                  <a:solidFill>
                    <a:srgbClr val="333333"/>
                  </a:solidFill>
                  <a:uFillTx/>
                  <a:latin typeface="Arial Nova Light"/>
                  <a:ea typeface="ＭＳ Ｐゴシック"/>
                </a:endParaRPr>
              </a:p>
            </p:txBody>
          </p:sp>
        </p:grpSp>
        <p:pic>
          <p:nvPicPr>
            <p:cNvPr id="61" name="Graphic 19">
              <a:extLst>
                <a:ext uri="{FF2B5EF4-FFF2-40B4-BE49-F238E27FC236}">
                  <a16:creationId xmlns:a16="http://schemas.microsoft.com/office/drawing/2014/main" id="{BEEE5B7F-C600-D59D-19D8-646B7B994A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70647" y="1828809"/>
              <a:ext cx="570969" cy="950537"/>
            </a:xfrm>
            <a:prstGeom prst="rect">
              <a:avLst/>
            </a:prstGeom>
            <a:noFill/>
            <a:ln cap="flat">
              <a:noFill/>
            </a:ln>
          </p:spPr>
        </p:pic>
      </p:grpSp>
      <p:sp>
        <p:nvSpPr>
          <p:cNvPr id="66" name="Rectangle 29">
            <a:extLst>
              <a:ext uri="{FF2B5EF4-FFF2-40B4-BE49-F238E27FC236}">
                <a16:creationId xmlns:a16="http://schemas.microsoft.com/office/drawing/2014/main" id="{8B229D09-C91F-C760-558B-AF46045922DD}"/>
              </a:ext>
            </a:extLst>
          </p:cNvPr>
          <p:cNvSpPr/>
          <p:nvPr/>
        </p:nvSpPr>
        <p:spPr>
          <a:xfrm>
            <a:off x="6128852" y="4579092"/>
            <a:ext cx="2088261" cy="628055"/>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1800 </a:t>
            </a:r>
            <a:r>
              <a:rPr lang="fr-FR" sz="1224" b="0" i="0" u="none" strike="noStrike" kern="1200" cap="none" spc="0" baseline="0">
                <a:solidFill>
                  <a:srgbClr val="333333"/>
                </a:solidFill>
                <a:uFillTx/>
                <a:latin typeface="Arial Nova Light"/>
                <a:ea typeface="ＭＳ Ｐゴシック"/>
              </a:rPr>
              <a:t>organismes publics</a:t>
            </a:r>
          </a:p>
        </p:txBody>
      </p:sp>
      <p:sp>
        <p:nvSpPr>
          <p:cNvPr id="71" name="Rectangle 30">
            <a:extLst>
              <a:ext uri="{FF2B5EF4-FFF2-40B4-BE49-F238E27FC236}">
                <a16:creationId xmlns:a16="http://schemas.microsoft.com/office/drawing/2014/main" id="{FEBCDBE0-9D32-D2E4-93C6-EEEE3FBD3CBB}"/>
              </a:ext>
            </a:extLst>
          </p:cNvPr>
          <p:cNvSpPr/>
          <p:nvPr/>
        </p:nvSpPr>
        <p:spPr>
          <a:xfrm>
            <a:off x="8437227" y="4579092"/>
            <a:ext cx="1982336" cy="448604"/>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857" b="1" i="0" u="none" strike="noStrike" kern="1200" cap="none" spc="0" baseline="0">
                <a:solidFill>
                  <a:srgbClr val="149AC2"/>
                </a:solidFill>
                <a:uFillTx/>
                <a:latin typeface="Arial Nova" pitchFamily="34"/>
                <a:ea typeface="ＭＳ Ｐゴシック"/>
              </a:rPr>
              <a:t>+2 M </a:t>
            </a:r>
            <a:r>
              <a:rPr lang="fr-FR" sz="1224" b="0" i="0" u="none" strike="noStrike" kern="1200" cap="none" spc="0" baseline="0">
                <a:solidFill>
                  <a:srgbClr val="333333"/>
                </a:solidFill>
                <a:uFillTx/>
                <a:latin typeface="Arial Nova Light"/>
                <a:ea typeface="ＭＳ Ｐゴシック"/>
              </a:rPr>
              <a:t>demandes</a:t>
            </a:r>
          </a:p>
        </p:txBody>
      </p:sp>
      <p:sp>
        <p:nvSpPr>
          <p:cNvPr id="76" name="Rectangle 44">
            <a:extLst>
              <a:ext uri="{FF2B5EF4-FFF2-40B4-BE49-F238E27FC236}">
                <a16:creationId xmlns:a16="http://schemas.microsoft.com/office/drawing/2014/main" id="{713E5AB9-D7D1-2A3B-C8AE-067D32DB8D4B}"/>
              </a:ext>
            </a:extLst>
          </p:cNvPr>
          <p:cNvSpPr/>
          <p:nvPr/>
        </p:nvSpPr>
        <p:spPr>
          <a:xfrm>
            <a:off x="3040054" y="4473031"/>
            <a:ext cx="2858880" cy="768845"/>
          </a:xfrm>
          <a:prstGeom prst="rect">
            <a:avLst/>
          </a:prstGeom>
          <a:noFill/>
          <a:ln cap="flat">
            <a:noFill/>
            <a:prstDash val="solid"/>
          </a:ln>
        </p:spPr>
        <p:txBody>
          <a:bodyPr vert="horz" wrap="square" lIns="0" tIns="0" rIns="0" bIns="0" anchor="t" anchorCtr="0" compatLnSpc="1">
            <a:spAutoFit/>
          </a:bodyPr>
          <a:lstStyle/>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1" i="0" u="none" strike="noStrike" kern="1200" cap="none" spc="0" baseline="0">
                <a:solidFill>
                  <a:srgbClr val="149AC2"/>
                </a:solidFill>
                <a:uFillTx/>
                <a:latin typeface="Arial Nova Light"/>
                <a:ea typeface="ＭＳ Ｐゴシック"/>
              </a:rPr>
              <a:t>Chikaya</a:t>
            </a:r>
          </a:p>
          <a:p>
            <a:pPr marL="0" marR="0" lvl="0" indent="0" algn="l" defTabSz="932953"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24" b="0" i="0" u="none" strike="noStrike" kern="1200" cap="none" spc="0" baseline="0">
                <a:solidFill>
                  <a:srgbClr val="333333"/>
                </a:solidFill>
                <a:uFillTx/>
                <a:latin typeface="Arial Nova Light"/>
                <a:ea typeface="ＭＳ Ｐゴシック"/>
              </a:rPr>
              <a:t>Application de gestion des requêtes et des réclamations des usagers des administrations publiques</a:t>
            </a:r>
          </a:p>
        </p:txBody>
      </p:sp>
      <p:cxnSp>
        <p:nvCxnSpPr>
          <p:cNvPr id="77" name="HorizontalLine 10">
            <a:extLst>
              <a:ext uri="{FF2B5EF4-FFF2-40B4-BE49-F238E27FC236}">
                <a16:creationId xmlns:a16="http://schemas.microsoft.com/office/drawing/2014/main" id="{8AACC25F-C9D5-8BFF-D517-DE565C779F9A}"/>
              </a:ext>
            </a:extLst>
          </p:cNvPr>
          <p:cNvCxnSpPr/>
          <p:nvPr/>
        </p:nvCxnSpPr>
        <p:spPr>
          <a:xfrm flipV="1">
            <a:off x="3411602" y="5518837"/>
            <a:ext cx="7517374" cy="10909"/>
          </a:xfrm>
          <a:prstGeom prst="straightConnector1">
            <a:avLst/>
          </a:prstGeom>
          <a:noFill/>
          <a:ln w="12701" cap="flat">
            <a:solidFill>
              <a:srgbClr val="149AC2"/>
            </a:solidFill>
            <a:prstDash val="solid"/>
            <a:miter/>
          </a:ln>
        </p:spPr>
      </p:cxnSp>
      <p:cxnSp>
        <p:nvCxnSpPr>
          <p:cNvPr id="86" name="HorizontalLine 10">
            <a:extLst>
              <a:ext uri="{FF2B5EF4-FFF2-40B4-BE49-F238E27FC236}">
                <a16:creationId xmlns:a16="http://schemas.microsoft.com/office/drawing/2014/main" id="{73F2F478-159E-3C4F-072B-D7D7DF0E13C2}"/>
              </a:ext>
            </a:extLst>
          </p:cNvPr>
          <p:cNvCxnSpPr/>
          <p:nvPr/>
        </p:nvCxnSpPr>
        <p:spPr>
          <a:xfrm flipV="1">
            <a:off x="3411602" y="4312271"/>
            <a:ext cx="7517374" cy="10909"/>
          </a:xfrm>
          <a:prstGeom prst="straightConnector1">
            <a:avLst/>
          </a:prstGeom>
          <a:noFill/>
          <a:ln w="12701" cap="flat">
            <a:solidFill>
              <a:srgbClr val="149AC2"/>
            </a:solidFill>
            <a:prstDash val="solid"/>
            <a:miter/>
          </a:ln>
        </p:spPr>
      </p:cxnSp>
    </p:spTree>
    <p:extLst>
      <p:ext uri="{BB962C8B-B14F-4D97-AF65-F5344CB8AC3E}">
        <p14:creationId xmlns:p14="http://schemas.microsoft.com/office/powerpoint/2010/main" val="35384763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142" name="Google Shape;142;p26"/>
          <p:cNvSpPr txBox="1">
            <a:spLocks noGrp="1"/>
          </p:cNvSpPr>
          <p:nvPr>
            <p:ph type="sldNum" idx="12"/>
          </p:nvPr>
        </p:nvSpPr>
        <p:spPr>
          <a:xfrm>
            <a:off x="4" y="6333200"/>
            <a:ext cx="422800" cy="524800"/>
          </a:xfrm>
          <a:prstGeom prst="rect">
            <a:avLst/>
          </a:prstGeom>
        </p:spPr>
        <p:txBody>
          <a:bodyPr spcFirstLastPara="1" wrap="square" lIns="121900" tIns="121900" rIns="121900" bIns="121900" anchor="ctr" anchorCtr="0">
            <a:normAutofit fontScale="62500" lnSpcReduction="20000"/>
          </a:bodyPr>
          <a:lstStyle/>
          <a:p>
            <a:pPr algn="r"/>
            <a:fld id="{00000000-1234-1234-1234-123412341234}" type="slidenum">
              <a:rPr lang="fr">
                <a:ea typeface="Helvetica Neue"/>
                <a:cs typeface="Helvetica Neue"/>
                <a:sym typeface="Helvetica Neue"/>
              </a:rPr>
              <a:pPr algn="r"/>
              <a:t>16</a:t>
            </a:fld>
            <a:endParaRPr dirty="0">
              <a:ea typeface="Helvetica Neue"/>
              <a:cs typeface="Helvetica Neue"/>
              <a:sym typeface="Helvetica Neue"/>
            </a:endParaRPr>
          </a:p>
        </p:txBody>
      </p:sp>
      <p:pic>
        <p:nvPicPr>
          <p:cNvPr id="149" name="Google Shape;149;p26"/>
          <p:cNvPicPr preferRelativeResize="0"/>
          <p:nvPr/>
        </p:nvPicPr>
        <p:blipFill>
          <a:blip r:embed="rId3">
            <a:alphaModFix/>
          </a:blip>
          <a:stretch>
            <a:fillRect/>
          </a:stretch>
        </p:blipFill>
        <p:spPr>
          <a:xfrm>
            <a:off x="10928941" y="6291200"/>
            <a:ext cx="1161459" cy="465200"/>
          </a:xfrm>
          <a:prstGeom prst="rect">
            <a:avLst/>
          </a:prstGeom>
          <a:noFill/>
          <a:ln>
            <a:noFill/>
          </a:ln>
        </p:spPr>
      </p:pic>
      <p:sp>
        <p:nvSpPr>
          <p:cNvPr id="150" name="Google Shape;150;p26"/>
          <p:cNvSpPr txBox="1"/>
          <p:nvPr/>
        </p:nvSpPr>
        <p:spPr>
          <a:xfrm>
            <a:off x="240739" y="785098"/>
            <a:ext cx="11660719" cy="1492676"/>
          </a:xfrm>
          <a:prstGeom prst="rect">
            <a:avLst/>
          </a:prstGeom>
          <a:noFill/>
          <a:ln>
            <a:noFill/>
          </a:ln>
        </p:spPr>
        <p:txBody>
          <a:bodyPr spcFirstLastPara="1" wrap="square" lIns="121900" tIns="121900" rIns="121900" bIns="121900" anchor="t" anchorCtr="0">
            <a:spAutoFit/>
          </a:bodyPr>
          <a:lstStyle/>
          <a:p>
            <a:pPr algn="just">
              <a:buClr>
                <a:srgbClr val="3F0400"/>
              </a:buClr>
              <a:defRPr/>
            </a:pPr>
            <a:endParaRPr lang="fr-FR" sz="1300" b="1" dirty="0">
              <a:ea typeface="ＭＳ Ｐゴシック"/>
              <a:cs typeface="Arial" panose="020B0604020202020204" pitchFamily="34" charset="0"/>
            </a:endParaRPr>
          </a:p>
          <a:p>
            <a:pPr algn="just">
              <a:buClr>
                <a:srgbClr val="3F0400"/>
              </a:buClr>
              <a:defRPr/>
            </a:pPr>
            <a:r>
              <a:rPr lang="fr-FR" sz="1700" dirty="0">
                <a:ea typeface="ＭＳ Ｐゴシック"/>
                <a:cs typeface="Arial" panose="020B0604020202020204" pitchFamily="34" charset="0"/>
              </a:rPr>
              <a:t>Le chantier Open Data consiste à exposer, en accès libre et gratuit, des données produites par les administrations, les établissements publics et les collectivités territoriales, au niveau du portail national de l’ouverture de données et/ou les portails des organismes et institutions concernés en utilisant des formats ouverts, standards et documentés pour faciliter l’exploitation et la réutilisation de ces données. </a:t>
            </a:r>
          </a:p>
        </p:txBody>
      </p:sp>
      <p:sp>
        <p:nvSpPr>
          <p:cNvPr id="18" name="Titre 1">
            <a:extLst>
              <a:ext uri="{FF2B5EF4-FFF2-40B4-BE49-F238E27FC236}">
                <a16:creationId xmlns:a16="http://schemas.microsoft.com/office/drawing/2014/main" id="{B7D8523F-5A03-477B-B27F-F5A5B2822331}"/>
              </a:ext>
            </a:extLst>
          </p:cNvPr>
          <p:cNvSpPr>
            <a:spLocks noGrp="1"/>
          </p:cNvSpPr>
          <p:nvPr>
            <p:ph type="title"/>
          </p:nvPr>
        </p:nvSpPr>
        <p:spPr>
          <a:xfrm>
            <a:off x="294214" y="122853"/>
            <a:ext cx="7635135" cy="375781"/>
          </a:xfrm>
        </p:spPr>
        <p:txBody>
          <a:bodyPr>
            <a:noAutofit/>
          </a:bodyPr>
          <a:lstStyle/>
          <a:p>
            <a:pPr>
              <a:spcBef>
                <a:spcPct val="0"/>
              </a:spcBef>
              <a:spcAft>
                <a:spcPct val="0"/>
              </a:spcAft>
            </a:pPr>
            <a:r>
              <a:rPr lang="fr-FR" sz="2450" dirty="0">
                <a:latin typeface="+mn-lt"/>
              </a:rPr>
              <a:t>Open Data</a:t>
            </a:r>
            <a:endParaRPr lang="fr-MA" sz="2450" dirty="0">
              <a:latin typeface="+mn-lt"/>
            </a:endParaRPr>
          </a:p>
        </p:txBody>
      </p:sp>
      <p:sp>
        <p:nvSpPr>
          <p:cNvPr id="15" name="Google Shape;1103;p37">
            <a:extLst>
              <a:ext uri="{FF2B5EF4-FFF2-40B4-BE49-F238E27FC236}">
                <a16:creationId xmlns:a16="http://schemas.microsoft.com/office/drawing/2014/main" id="{BF114ED0-9EC1-09BF-91BC-35B57E8E1060}"/>
              </a:ext>
            </a:extLst>
          </p:cNvPr>
          <p:cNvSpPr/>
          <p:nvPr/>
        </p:nvSpPr>
        <p:spPr>
          <a:xfrm>
            <a:off x="2619102" y="3077165"/>
            <a:ext cx="3029100" cy="3029100"/>
          </a:xfrm>
          <a:prstGeom prst="arc">
            <a:avLst>
              <a:gd name="adj1" fmla="val 17723843"/>
              <a:gd name="adj2" fmla="val 3940005"/>
            </a:avLst>
          </a:prstGeom>
          <a:noFill/>
          <a:ln w="19050"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6" name="Google Shape;1104;p37">
            <a:extLst>
              <a:ext uri="{FF2B5EF4-FFF2-40B4-BE49-F238E27FC236}">
                <a16:creationId xmlns:a16="http://schemas.microsoft.com/office/drawing/2014/main" id="{83E21FB3-BD36-8F2A-38DF-C894A6743C88}"/>
              </a:ext>
            </a:extLst>
          </p:cNvPr>
          <p:cNvGrpSpPr/>
          <p:nvPr/>
        </p:nvGrpSpPr>
        <p:grpSpPr>
          <a:xfrm>
            <a:off x="4625071" y="2983230"/>
            <a:ext cx="6942639" cy="632280"/>
            <a:chOff x="3339126" y="1262545"/>
            <a:chExt cx="5147718" cy="632280"/>
          </a:xfrm>
        </p:grpSpPr>
        <p:cxnSp>
          <p:nvCxnSpPr>
            <p:cNvPr id="17" name="Google Shape;1105;p37">
              <a:extLst>
                <a:ext uri="{FF2B5EF4-FFF2-40B4-BE49-F238E27FC236}">
                  <a16:creationId xmlns:a16="http://schemas.microsoft.com/office/drawing/2014/main" id="{308E64E9-C2FE-ED02-346C-F0E8187D0B9C}"/>
                </a:ext>
              </a:extLst>
            </p:cNvPr>
            <p:cNvCxnSpPr/>
            <p:nvPr/>
          </p:nvCxnSpPr>
          <p:spPr>
            <a:xfrm>
              <a:off x="3678288" y="1479075"/>
              <a:ext cx="1590000" cy="0"/>
            </a:xfrm>
            <a:prstGeom prst="straightConnector1">
              <a:avLst/>
            </a:prstGeom>
            <a:noFill/>
            <a:ln w="9525" cap="flat" cmpd="sng">
              <a:solidFill>
                <a:schemeClr val="accent1"/>
              </a:solidFill>
              <a:prstDash val="solid"/>
              <a:round/>
              <a:headEnd type="none" w="med" len="med"/>
              <a:tailEnd type="oval" w="med" len="med"/>
            </a:ln>
          </p:spPr>
        </p:cxnSp>
        <p:sp>
          <p:nvSpPr>
            <p:cNvPr id="19" name="Google Shape;1106;p37">
              <a:extLst>
                <a:ext uri="{FF2B5EF4-FFF2-40B4-BE49-F238E27FC236}">
                  <a16:creationId xmlns:a16="http://schemas.microsoft.com/office/drawing/2014/main" id="{D9B55042-D8E1-AA90-01FC-86301BA62C39}"/>
                </a:ext>
              </a:extLst>
            </p:cNvPr>
            <p:cNvSpPr/>
            <p:nvPr/>
          </p:nvSpPr>
          <p:spPr>
            <a:xfrm>
              <a:off x="3339126" y="1277383"/>
              <a:ext cx="403691" cy="403384"/>
            </a:xfrm>
            <a:custGeom>
              <a:avLst/>
              <a:gdLst/>
              <a:ahLst/>
              <a:cxnLst/>
              <a:rect l="l" t="t" r="r" b="b"/>
              <a:pathLst>
                <a:path w="14146" h="14134" extrusionOk="0">
                  <a:moveTo>
                    <a:pt x="7073" y="0"/>
                  </a:moveTo>
                  <a:cubicBezTo>
                    <a:pt x="3168" y="0"/>
                    <a:pt x="1" y="3167"/>
                    <a:pt x="1" y="7073"/>
                  </a:cubicBezTo>
                  <a:cubicBezTo>
                    <a:pt x="1" y="10978"/>
                    <a:pt x="3168" y="14133"/>
                    <a:pt x="7073" y="14133"/>
                  </a:cubicBezTo>
                  <a:cubicBezTo>
                    <a:pt x="10978" y="14133"/>
                    <a:pt x="14145" y="10978"/>
                    <a:pt x="14145" y="7073"/>
                  </a:cubicBezTo>
                  <a:cubicBezTo>
                    <a:pt x="14145" y="3167"/>
                    <a:pt x="10978" y="0"/>
                    <a:pt x="7073" y="0"/>
                  </a:cubicBezTo>
                  <a:close/>
                </a:path>
              </a:pathLst>
            </a:custGeom>
            <a:solidFill>
              <a:schemeClr val="accent1">
                <a:lumMod val="75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700" dirty="0">
                  <a:solidFill>
                    <a:srgbClr val="FFFFFF"/>
                  </a:solidFill>
                  <a:ea typeface="Fira Sans Extra Condensed Medium"/>
                  <a:cs typeface="Fira Sans Extra Condensed Medium"/>
                  <a:sym typeface="Fira Sans Extra Condensed Medium"/>
                </a:rPr>
                <a:t>1</a:t>
              </a:r>
              <a:endParaRPr dirty="0">
                <a:solidFill>
                  <a:srgbClr val="FFFFFF"/>
                </a:solidFill>
              </a:endParaRPr>
            </a:p>
          </p:txBody>
        </p:sp>
        <p:sp>
          <p:nvSpPr>
            <p:cNvPr id="23" name="Google Shape;1109;p37">
              <a:extLst>
                <a:ext uri="{FF2B5EF4-FFF2-40B4-BE49-F238E27FC236}">
                  <a16:creationId xmlns:a16="http://schemas.microsoft.com/office/drawing/2014/main" id="{C74F3000-6601-9147-3A48-65977716D19C}"/>
                </a:ext>
              </a:extLst>
            </p:cNvPr>
            <p:cNvSpPr txBox="1"/>
            <p:nvPr/>
          </p:nvSpPr>
          <p:spPr>
            <a:xfrm>
              <a:off x="5475224" y="1262545"/>
              <a:ext cx="3011620" cy="63228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fr-FR" sz="1700" dirty="0">
                  <a:solidFill>
                    <a:schemeClr val="accent1">
                      <a:lumMod val="50000"/>
                    </a:schemeClr>
                  </a:solidFill>
                  <a:ea typeface="Roboto"/>
                  <a:cs typeface="Roboto"/>
                  <a:sym typeface="Roboto"/>
                </a:rPr>
                <a:t>Renforcer </a:t>
              </a:r>
              <a:r>
                <a:rPr lang="fr-FR" sz="1700" b="1" dirty="0">
                  <a:solidFill>
                    <a:schemeClr val="tx2"/>
                  </a:solidFill>
                  <a:ea typeface="Roboto"/>
                  <a:cs typeface="Roboto"/>
                  <a:sym typeface="Roboto"/>
                </a:rPr>
                <a:t>la transparence </a:t>
              </a:r>
              <a:r>
                <a:rPr lang="fr-FR" sz="1700" dirty="0">
                  <a:solidFill>
                    <a:schemeClr val="accent1">
                      <a:lumMod val="50000"/>
                    </a:schemeClr>
                  </a:solidFill>
                  <a:ea typeface="Roboto"/>
                  <a:cs typeface="Roboto"/>
                  <a:sym typeface="Roboto"/>
                </a:rPr>
                <a:t>de l’action publique et l’ouverture au niveau de l’Administration (administrations, établissements et entreprises publics, collectivités territoriales, etc.);</a:t>
              </a:r>
            </a:p>
          </p:txBody>
        </p:sp>
      </p:grpSp>
      <p:grpSp>
        <p:nvGrpSpPr>
          <p:cNvPr id="24" name="Google Shape;1110;p37">
            <a:extLst>
              <a:ext uri="{FF2B5EF4-FFF2-40B4-BE49-F238E27FC236}">
                <a16:creationId xmlns:a16="http://schemas.microsoft.com/office/drawing/2014/main" id="{371316F1-CA9B-E1F1-C508-D151A5F46794}"/>
              </a:ext>
            </a:extLst>
          </p:cNvPr>
          <p:cNvGrpSpPr/>
          <p:nvPr/>
        </p:nvGrpSpPr>
        <p:grpSpPr>
          <a:xfrm>
            <a:off x="4625071" y="5828125"/>
            <a:ext cx="6104533" cy="640938"/>
            <a:chOff x="3339120" y="3994838"/>
            <a:chExt cx="5254494" cy="640938"/>
          </a:xfrm>
        </p:grpSpPr>
        <p:cxnSp>
          <p:nvCxnSpPr>
            <p:cNvPr id="25" name="Google Shape;1111;p37">
              <a:extLst>
                <a:ext uri="{FF2B5EF4-FFF2-40B4-BE49-F238E27FC236}">
                  <a16:creationId xmlns:a16="http://schemas.microsoft.com/office/drawing/2014/main" id="{B79BA824-0D43-8AB7-D81A-04D69859A328}"/>
                </a:ext>
              </a:extLst>
            </p:cNvPr>
            <p:cNvCxnSpPr/>
            <p:nvPr/>
          </p:nvCxnSpPr>
          <p:spPr>
            <a:xfrm>
              <a:off x="3678288" y="4196707"/>
              <a:ext cx="1590000" cy="0"/>
            </a:xfrm>
            <a:prstGeom prst="straightConnector1">
              <a:avLst/>
            </a:prstGeom>
            <a:noFill/>
            <a:ln w="9525" cap="flat" cmpd="sng">
              <a:solidFill>
                <a:schemeClr val="accent6"/>
              </a:solidFill>
              <a:prstDash val="solid"/>
              <a:round/>
              <a:headEnd type="none" w="med" len="med"/>
              <a:tailEnd type="oval" w="med" len="med"/>
            </a:ln>
          </p:spPr>
        </p:cxnSp>
        <p:sp>
          <p:nvSpPr>
            <p:cNvPr id="26" name="Google Shape;1112;p37">
              <a:extLst>
                <a:ext uri="{FF2B5EF4-FFF2-40B4-BE49-F238E27FC236}">
                  <a16:creationId xmlns:a16="http://schemas.microsoft.com/office/drawing/2014/main" id="{D1AF64BE-7AD0-B3D4-BD38-42910AD683BA}"/>
                </a:ext>
              </a:extLst>
            </p:cNvPr>
            <p:cNvSpPr/>
            <p:nvPr/>
          </p:nvSpPr>
          <p:spPr>
            <a:xfrm>
              <a:off x="3339120" y="3994838"/>
              <a:ext cx="403702" cy="403738"/>
            </a:xfrm>
            <a:custGeom>
              <a:avLst/>
              <a:gdLst/>
              <a:ahLst/>
              <a:cxnLst/>
              <a:rect l="l" t="t" r="r" b="b"/>
              <a:pathLst>
                <a:path w="14134" h="14134" extrusionOk="0">
                  <a:moveTo>
                    <a:pt x="7073" y="0"/>
                  </a:moveTo>
                  <a:cubicBezTo>
                    <a:pt x="3168" y="0"/>
                    <a:pt x="1" y="3168"/>
                    <a:pt x="1" y="7061"/>
                  </a:cubicBezTo>
                  <a:cubicBezTo>
                    <a:pt x="1" y="10966"/>
                    <a:pt x="3168" y="14133"/>
                    <a:pt x="7073" y="14133"/>
                  </a:cubicBezTo>
                  <a:cubicBezTo>
                    <a:pt x="10978" y="14133"/>
                    <a:pt x="14133" y="10966"/>
                    <a:pt x="14133" y="7061"/>
                  </a:cubicBezTo>
                  <a:cubicBezTo>
                    <a:pt x="14133" y="3168"/>
                    <a:pt x="10978" y="0"/>
                    <a:pt x="7073"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700" dirty="0">
                  <a:solidFill>
                    <a:srgbClr val="FFFFFF"/>
                  </a:solidFill>
                  <a:ea typeface="Fira Sans Extra Condensed Medium"/>
                  <a:cs typeface="Fira Sans Extra Condensed Medium"/>
                  <a:sym typeface="Fira Sans Extra Condensed Medium"/>
                </a:rPr>
                <a:t>3</a:t>
              </a:r>
              <a:endParaRPr dirty="0">
                <a:solidFill>
                  <a:srgbClr val="FFFFFF"/>
                </a:solidFill>
              </a:endParaRPr>
            </a:p>
          </p:txBody>
        </p:sp>
        <p:sp>
          <p:nvSpPr>
            <p:cNvPr id="29" name="Google Shape;1115;p37">
              <a:extLst>
                <a:ext uri="{FF2B5EF4-FFF2-40B4-BE49-F238E27FC236}">
                  <a16:creationId xmlns:a16="http://schemas.microsoft.com/office/drawing/2014/main" id="{F3AD9803-4ADB-0CC7-80DF-1C5C4F768218}"/>
                </a:ext>
              </a:extLst>
            </p:cNvPr>
            <p:cNvSpPr txBox="1"/>
            <p:nvPr/>
          </p:nvSpPr>
          <p:spPr>
            <a:xfrm>
              <a:off x="5467633" y="4089776"/>
              <a:ext cx="3125981" cy="5460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fr-FR" sz="1700" dirty="0">
                  <a:solidFill>
                    <a:schemeClr val="accent6"/>
                  </a:solidFill>
                  <a:sym typeface="Roboto"/>
                </a:rPr>
                <a:t>Proposer de nouvelles ressources pour </a:t>
              </a:r>
              <a:r>
                <a:rPr lang="fr-FR" sz="1700" b="1" dirty="0">
                  <a:solidFill>
                    <a:schemeClr val="tx2"/>
                  </a:solidFill>
                  <a:sym typeface="Roboto"/>
                </a:rPr>
                <a:t>l'innovation économique et sociale</a:t>
              </a:r>
              <a:r>
                <a:rPr lang="fr-FR" sz="1700" dirty="0">
                  <a:solidFill>
                    <a:schemeClr val="accent6"/>
                  </a:solidFill>
                  <a:sym typeface="Roboto"/>
                </a:rPr>
                <a:t> et créer de la valeur économique pour les entreprises.</a:t>
              </a:r>
            </a:p>
          </p:txBody>
        </p:sp>
      </p:grpSp>
      <p:grpSp>
        <p:nvGrpSpPr>
          <p:cNvPr id="30" name="Google Shape;1116;p37">
            <a:extLst>
              <a:ext uri="{FF2B5EF4-FFF2-40B4-BE49-F238E27FC236}">
                <a16:creationId xmlns:a16="http://schemas.microsoft.com/office/drawing/2014/main" id="{51983427-68A8-4AB8-2DBB-409FFE9E0FC3}"/>
              </a:ext>
            </a:extLst>
          </p:cNvPr>
          <p:cNvGrpSpPr/>
          <p:nvPr/>
        </p:nvGrpSpPr>
        <p:grpSpPr>
          <a:xfrm>
            <a:off x="5412690" y="4346364"/>
            <a:ext cx="4422402" cy="628282"/>
            <a:chOff x="4178804" y="3084519"/>
            <a:chExt cx="4422402" cy="628282"/>
          </a:xfrm>
        </p:grpSpPr>
        <p:cxnSp>
          <p:nvCxnSpPr>
            <p:cNvPr id="31" name="Google Shape;1117;p37">
              <a:extLst>
                <a:ext uri="{FF2B5EF4-FFF2-40B4-BE49-F238E27FC236}">
                  <a16:creationId xmlns:a16="http://schemas.microsoft.com/office/drawing/2014/main" id="{25DBB4C3-EEC8-C5E6-9973-73DBF8FA20AF}"/>
                </a:ext>
              </a:extLst>
            </p:cNvPr>
            <p:cNvCxnSpPr/>
            <p:nvPr/>
          </p:nvCxnSpPr>
          <p:spPr>
            <a:xfrm>
              <a:off x="4406113" y="3286391"/>
              <a:ext cx="862200" cy="0"/>
            </a:xfrm>
            <a:prstGeom prst="straightConnector1">
              <a:avLst/>
            </a:prstGeom>
            <a:noFill/>
            <a:ln w="9525" cap="flat" cmpd="sng">
              <a:solidFill>
                <a:schemeClr val="accent5"/>
              </a:solidFill>
              <a:prstDash val="solid"/>
              <a:round/>
              <a:headEnd type="none" w="med" len="med"/>
              <a:tailEnd type="oval" w="med" len="med"/>
            </a:ln>
          </p:spPr>
        </p:cxnSp>
        <p:sp>
          <p:nvSpPr>
            <p:cNvPr id="32" name="Google Shape;1118;p37">
              <a:extLst>
                <a:ext uri="{FF2B5EF4-FFF2-40B4-BE49-F238E27FC236}">
                  <a16:creationId xmlns:a16="http://schemas.microsoft.com/office/drawing/2014/main" id="{6390C665-C555-DB4A-A898-D25677181475}"/>
                </a:ext>
              </a:extLst>
            </p:cNvPr>
            <p:cNvSpPr/>
            <p:nvPr/>
          </p:nvSpPr>
          <p:spPr>
            <a:xfrm>
              <a:off x="4178804" y="3084519"/>
              <a:ext cx="403709" cy="403744"/>
            </a:xfrm>
            <a:custGeom>
              <a:avLst/>
              <a:gdLst/>
              <a:ahLst/>
              <a:cxnLst/>
              <a:rect l="l" t="t" r="r" b="b"/>
              <a:pathLst>
                <a:path w="14133" h="14133" extrusionOk="0">
                  <a:moveTo>
                    <a:pt x="7072" y="0"/>
                  </a:moveTo>
                  <a:cubicBezTo>
                    <a:pt x="3167" y="0"/>
                    <a:pt x="0" y="3167"/>
                    <a:pt x="0" y="7060"/>
                  </a:cubicBezTo>
                  <a:cubicBezTo>
                    <a:pt x="0" y="10966"/>
                    <a:pt x="3167" y="14133"/>
                    <a:pt x="7072" y="14133"/>
                  </a:cubicBezTo>
                  <a:cubicBezTo>
                    <a:pt x="10978" y="14133"/>
                    <a:pt x="14133" y="10966"/>
                    <a:pt x="14133" y="7060"/>
                  </a:cubicBezTo>
                  <a:cubicBezTo>
                    <a:pt x="14133" y="3167"/>
                    <a:pt x="10978" y="0"/>
                    <a:pt x="7072" y="0"/>
                  </a:cubicBezTo>
                  <a:close/>
                </a:path>
              </a:pathLst>
            </a:custGeom>
            <a:solidFill>
              <a:schemeClr val="accent5">
                <a:alpha val="98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700" dirty="0">
                  <a:solidFill>
                    <a:srgbClr val="FFFFFF"/>
                  </a:solidFill>
                  <a:ea typeface="Fira Sans Extra Condensed Medium"/>
                  <a:cs typeface="Fira Sans Extra Condensed Medium"/>
                  <a:sym typeface="Fira Sans Extra Condensed Medium"/>
                </a:rPr>
                <a:t>2</a:t>
              </a:r>
              <a:endParaRPr dirty="0">
                <a:solidFill>
                  <a:srgbClr val="FFFFFF"/>
                </a:solidFill>
              </a:endParaRPr>
            </a:p>
          </p:txBody>
        </p:sp>
        <p:sp>
          <p:nvSpPr>
            <p:cNvPr id="35" name="Google Shape;1121;p37">
              <a:extLst>
                <a:ext uri="{FF2B5EF4-FFF2-40B4-BE49-F238E27FC236}">
                  <a16:creationId xmlns:a16="http://schemas.microsoft.com/office/drawing/2014/main" id="{18F57D6E-AB00-0159-9949-BDBE0875FCBB}"/>
                </a:ext>
              </a:extLst>
            </p:cNvPr>
            <p:cNvSpPr txBox="1"/>
            <p:nvPr/>
          </p:nvSpPr>
          <p:spPr>
            <a:xfrm>
              <a:off x="5475225" y="3166801"/>
              <a:ext cx="3125981" cy="546000"/>
            </a:xfrm>
            <a:prstGeom prst="rect">
              <a:avLst/>
            </a:prstGeom>
            <a:noFill/>
            <a:ln>
              <a:noFill/>
            </a:ln>
          </p:spPr>
          <p:txBody>
            <a:bodyPr spcFirstLastPara="1" wrap="square" lIns="91425" tIns="91425" rIns="91425" bIns="91425" anchor="ctr" anchorCtr="0">
              <a:noAutofit/>
            </a:bodyPr>
            <a:lstStyle/>
            <a:p>
              <a:pPr marL="0" lvl="0" indent="0" algn="just" rtl="0">
                <a:spcBef>
                  <a:spcPts val="0"/>
                </a:spcBef>
                <a:spcAft>
                  <a:spcPts val="0"/>
                </a:spcAft>
                <a:buNone/>
              </a:pPr>
              <a:r>
                <a:rPr lang="fr-FR" sz="1700" b="1" dirty="0">
                  <a:solidFill>
                    <a:schemeClr val="tx2"/>
                  </a:solidFill>
                  <a:sym typeface="Roboto"/>
                </a:rPr>
                <a:t>Faciliter l’accès </a:t>
              </a:r>
              <a:r>
                <a:rPr lang="fr-FR" sz="1700" dirty="0">
                  <a:solidFill>
                    <a:schemeClr val="accent5"/>
                  </a:solidFill>
                  <a:sym typeface="Roboto"/>
                </a:rPr>
                <a:t>aux données publiques par les citoyens et les entreprises;</a:t>
              </a:r>
            </a:p>
          </p:txBody>
        </p:sp>
      </p:grpSp>
      <p:grpSp>
        <p:nvGrpSpPr>
          <p:cNvPr id="42" name="Google Shape;1128;p37">
            <a:extLst>
              <a:ext uri="{FF2B5EF4-FFF2-40B4-BE49-F238E27FC236}">
                <a16:creationId xmlns:a16="http://schemas.microsoft.com/office/drawing/2014/main" id="{08CCD66E-4A27-169F-905F-133519A87645}"/>
              </a:ext>
            </a:extLst>
          </p:cNvPr>
          <p:cNvGrpSpPr/>
          <p:nvPr/>
        </p:nvGrpSpPr>
        <p:grpSpPr>
          <a:xfrm flipH="1">
            <a:off x="1702961" y="3391830"/>
            <a:ext cx="3032603" cy="3032378"/>
            <a:chOff x="1208297" y="1700397"/>
            <a:chExt cx="3032603" cy="3032378"/>
          </a:xfrm>
        </p:grpSpPr>
        <p:sp>
          <p:nvSpPr>
            <p:cNvPr id="43" name="Google Shape;1129;p37">
              <a:extLst>
                <a:ext uri="{FF2B5EF4-FFF2-40B4-BE49-F238E27FC236}">
                  <a16:creationId xmlns:a16="http://schemas.microsoft.com/office/drawing/2014/main" id="{5B0D51D8-DBF7-5E7D-7669-C57AB86D6949}"/>
                </a:ext>
              </a:extLst>
            </p:cNvPr>
            <p:cNvSpPr/>
            <p:nvPr/>
          </p:nvSpPr>
          <p:spPr>
            <a:xfrm>
              <a:off x="1208297" y="1700397"/>
              <a:ext cx="2385188" cy="2385179"/>
            </a:xfrm>
            <a:custGeom>
              <a:avLst/>
              <a:gdLst/>
              <a:ahLst/>
              <a:cxnLst/>
              <a:rect l="l" t="t" r="r" b="b"/>
              <a:pathLst>
                <a:path w="267773" h="267772" extrusionOk="0">
                  <a:moveTo>
                    <a:pt x="133887" y="1"/>
                  </a:moveTo>
                  <a:cubicBezTo>
                    <a:pt x="98370" y="1"/>
                    <a:pt x="64318" y="14110"/>
                    <a:pt x="39208" y="39208"/>
                  </a:cubicBezTo>
                  <a:cubicBezTo>
                    <a:pt x="14110" y="64318"/>
                    <a:pt x="1" y="98370"/>
                    <a:pt x="1" y="133886"/>
                  </a:cubicBezTo>
                  <a:cubicBezTo>
                    <a:pt x="1" y="169391"/>
                    <a:pt x="14110" y="203443"/>
                    <a:pt x="39208" y="228553"/>
                  </a:cubicBezTo>
                  <a:cubicBezTo>
                    <a:pt x="64318" y="253663"/>
                    <a:pt x="98370" y="267772"/>
                    <a:pt x="133887" y="267772"/>
                  </a:cubicBezTo>
                  <a:cubicBezTo>
                    <a:pt x="169391" y="267772"/>
                    <a:pt x="203443" y="253663"/>
                    <a:pt x="228553" y="228553"/>
                  </a:cubicBezTo>
                  <a:cubicBezTo>
                    <a:pt x="253664" y="203443"/>
                    <a:pt x="267772" y="169391"/>
                    <a:pt x="267772" y="133886"/>
                  </a:cubicBezTo>
                  <a:cubicBezTo>
                    <a:pt x="267772" y="98370"/>
                    <a:pt x="253664" y="64318"/>
                    <a:pt x="228553" y="39208"/>
                  </a:cubicBezTo>
                  <a:cubicBezTo>
                    <a:pt x="203443" y="14110"/>
                    <a:pt x="169391" y="1"/>
                    <a:pt x="133887" y="1"/>
                  </a:cubicBezTo>
                  <a:close/>
                </a:path>
              </a:pathLst>
            </a:custGeom>
            <a:solidFill>
              <a:srgbClr val="CCCC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 name="Google Shape;1130;p37">
              <a:extLst>
                <a:ext uri="{FF2B5EF4-FFF2-40B4-BE49-F238E27FC236}">
                  <a16:creationId xmlns:a16="http://schemas.microsoft.com/office/drawing/2014/main" id="{652A71EA-EF81-1127-4AFC-C65924F9E14A}"/>
                </a:ext>
              </a:extLst>
            </p:cNvPr>
            <p:cNvSpPr/>
            <p:nvPr/>
          </p:nvSpPr>
          <p:spPr>
            <a:xfrm>
              <a:off x="1575998" y="2068098"/>
              <a:ext cx="1649696" cy="1649696"/>
            </a:xfrm>
            <a:custGeom>
              <a:avLst/>
              <a:gdLst/>
              <a:ahLst/>
              <a:cxnLst/>
              <a:rect l="l" t="t" r="r" b="b"/>
              <a:pathLst>
                <a:path w="185203" h="185203" extrusionOk="0">
                  <a:moveTo>
                    <a:pt x="92608" y="1"/>
                  </a:moveTo>
                  <a:cubicBezTo>
                    <a:pt x="68045" y="1"/>
                    <a:pt x="44494" y="9764"/>
                    <a:pt x="27123" y="27123"/>
                  </a:cubicBezTo>
                  <a:cubicBezTo>
                    <a:pt x="9764" y="44494"/>
                    <a:pt x="1" y="68045"/>
                    <a:pt x="1" y="92607"/>
                  </a:cubicBezTo>
                  <a:cubicBezTo>
                    <a:pt x="1" y="117158"/>
                    <a:pt x="9764" y="140721"/>
                    <a:pt x="27123" y="158080"/>
                  </a:cubicBezTo>
                  <a:cubicBezTo>
                    <a:pt x="44494" y="175451"/>
                    <a:pt x="68045" y="185202"/>
                    <a:pt x="92608" y="185202"/>
                  </a:cubicBezTo>
                  <a:cubicBezTo>
                    <a:pt x="117170" y="185202"/>
                    <a:pt x="140721" y="175451"/>
                    <a:pt x="158080" y="158080"/>
                  </a:cubicBezTo>
                  <a:cubicBezTo>
                    <a:pt x="175451" y="140721"/>
                    <a:pt x="185203" y="117158"/>
                    <a:pt x="185203" y="92607"/>
                  </a:cubicBezTo>
                  <a:cubicBezTo>
                    <a:pt x="185203" y="68045"/>
                    <a:pt x="175451" y="44494"/>
                    <a:pt x="158080" y="27123"/>
                  </a:cubicBezTo>
                  <a:cubicBezTo>
                    <a:pt x="140721" y="9764"/>
                    <a:pt x="117170" y="1"/>
                    <a:pt x="92608"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 name="Google Shape;1131;p37">
              <a:extLst>
                <a:ext uri="{FF2B5EF4-FFF2-40B4-BE49-F238E27FC236}">
                  <a16:creationId xmlns:a16="http://schemas.microsoft.com/office/drawing/2014/main" id="{0911D51E-9E0D-AAE1-2BEF-9C1C19E480E5}"/>
                </a:ext>
              </a:extLst>
            </p:cNvPr>
            <p:cNvSpPr/>
            <p:nvPr/>
          </p:nvSpPr>
          <p:spPr>
            <a:xfrm>
              <a:off x="1975303" y="2467402"/>
              <a:ext cx="851103" cy="851103"/>
            </a:xfrm>
            <a:custGeom>
              <a:avLst/>
              <a:gdLst/>
              <a:ahLst/>
              <a:cxnLst/>
              <a:rect l="l" t="t" r="r" b="b"/>
              <a:pathLst>
                <a:path w="95549" h="95549" extrusionOk="0">
                  <a:moveTo>
                    <a:pt x="47781" y="1"/>
                  </a:moveTo>
                  <a:cubicBezTo>
                    <a:pt x="21396" y="1"/>
                    <a:pt x="1" y="21396"/>
                    <a:pt x="1" y="47780"/>
                  </a:cubicBezTo>
                  <a:cubicBezTo>
                    <a:pt x="1" y="74165"/>
                    <a:pt x="21396" y="95548"/>
                    <a:pt x="47781" y="95548"/>
                  </a:cubicBezTo>
                  <a:cubicBezTo>
                    <a:pt x="74165" y="95548"/>
                    <a:pt x="95549" y="74165"/>
                    <a:pt x="95549" y="47780"/>
                  </a:cubicBezTo>
                  <a:cubicBezTo>
                    <a:pt x="95549" y="21396"/>
                    <a:pt x="74165" y="1"/>
                    <a:pt x="47781" y="1"/>
                  </a:cubicBezTo>
                  <a:close/>
                </a:path>
              </a:pathLst>
            </a:custGeom>
            <a:solidFill>
              <a:srgbClr val="CCCC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132;p37">
              <a:extLst>
                <a:ext uri="{FF2B5EF4-FFF2-40B4-BE49-F238E27FC236}">
                  <a16:creationId xmlns:a16="http://schemas.microsoft.com/office/drawing/2014/main" id="{DB0DEC86-D6B0-CA51-05C0-BFF84777AB15}"/>
                </a:ext>
              </a:extLst>
            </p:cNvPr>
            <p:cNvSpPr/>
            <p:nvPr/>
          </p:nvSpPr>
          <p:spPr>
            <a:xfrm>
              <a:off x="3581646" y="4135892"/>
              <a:ext cx="363782" cy="596883"/>
            </a:xfrm>
            <a:custGeom>
              <a:avLst/>
              <a:gdLst/>
              <a:ahLst/>
              <a:cxnLst/>
              <a:rect l="l" t="t" r="r" b="b"/>
              <a:pathLst>
                <a:path w="40840" h="67009" extrusionOk="0">
                  <a:moveTo>
                    <a:pt x="7014" y="1"/>
                  </a:moveTo>
                  <a:lnTo>
                    <a:pt x="1" y="26159"/>
                  </a:lnTo>
                  <a:lnTo>
                    <a:pt x="40839" y="67009"/>
                  </a:lnTo>
                  <a:lnTo>
                    <a:pt x="40839" y="33838"/>
                  </a:lnTo>
                  <a:lnTo>
                    <a:pt x="7014"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133;p37">
              <a:extLst>
                <a:ext uri="{FF2B5EF4-FFF2-40B4-BE49-F238E27FC236}">
                  <a16:creationId xmlns:a16="http://schemas.microsoft.com/office/drawing/2014/main" id="{AA061D49-08C0-FFBA-5CA0-DFC79686F770}"/>
                </a:ext>
              </a:extLst>
            </p:cNvPr>
            <p:cNvSpPr/>
            <p:nvPr/>
          </p:nvSpPr>
          <p:spPr>
            <a:xfrm>
              <a:off x="3644115" y="4073423"/>
              <a:ext cx="596785" cy="363880"/>
            </a:xfrm>
            <a:custGeom>
              <a:avLst/>
              <a:gdLst/>
              <a:ahLst/>
              <a:cxnLst/>
              <a:rect l="l" t="t" r="r" b="b"/>
              <a:pathLst>
                <a:path w="66998" h="40851" extrusionOk="0">
                  <a:moveTo>
                    <a:pt x="26159" y="1"/>
                  </a:moveTo>
                  <a:lnTo>
                    <a:pt x="1" y="7014"/>
                  </a:lnTo>
                  <a:lnTo>
                    <a:pt x="33826" y="40851"/>
                  </a:lnTo>
                  <a:lnTo>
                    <a:pt x="66997" y="40851"/>
                  </a:lnTo>
                  <a:lnTo>
                    <a:pt x="2615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1134;p37">
              <a:extLst>
                <a:ext uri="{FF2B5EF4-FFF2-40B4-BE49-F238E27FC236}">
                  <a16:creationId xmlns:a16="http://schemas.microsoft.com/office/drawing/2014/main" id="{DC01BC36-27AF-8A42-0CD4-61131BC7114A}"/>
                </a:ext>
              </a:extLst>
            </p:cNvPr>
            <p:cNvSpPr/>
            <p:nvPr/>
          </p:nvSpPr>
          <p:spPr>
            <a:xfrm>
              <a:off x="2492867" y="2989233"/>
              <a:ext cx="1524438" cy="1515397"/>
            </a:xfrm>
            <a:custGeom>
              <a:avLst/>
              <a:gdLst/>
              <a:ahLst/>
              <a:cxnLst/>
              <a:rect l="l" t="t" r="r" b="b"/>
              <a:pathLst>
                <a:path w="171141" h="170126" extrusionOk="0">
                  <a:moveTo>
                    <a:pt x="5759" y="0"/>
                  </a:moveTo>
                  <a:cubicBezTo>
                    <a:pt x="4415" y="0"/>
                    <a:pt x="3072" y="515"/>
                    <a:pt x="2048" y="1545"/>
                  </a:cubicBezTo>
                  <a:cubicBezTo>
                    <a:pt x="0" y="3593"/>
                    <a:pt x="0" y="6915"/>
                    <a:pt x="2048" y="8963"/>
                  </a:cubicBezTo>
                  <a:lnTo>
                    <a:pt x="161675" y="168590"/>
                  </a:lnTo>
                  <a:cubicBezTo>
                    <a:pt x="162699" y="169614"/>
                    <a:pt x="164033" y="170125"/>
                    <a:pt x="165378" y="170125"/>
                  </a:cubicBezTo>
                  <a:cubicBezTo>
                    <a:pt x="166724" y="170125"/>
                    <a:pt x="168069" y="169614"/>
                    <a:pt x="169093" y="168590"/>
                  </a:cubicBezTo>
                  <a:cubicBezTo>
                    <a:pt x="171141" y="166530"/>
                    <a:pt x="171141" y="163208"/>
                    <a:pt x="169093" y="161160"/>
                  </a:cubicBezTo>
                  <a:lnTo>
                    <a:pt x="9478" y="1545"/>
                  </a:lnTo>
                  <a:cubicBezTo>
                    <a:pt x="8448" y="515"/>
                    <a:pt x="7102" y="0"/>
                    <a:pt x="5759"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1135;p37">
              <a:extLst>
                <a:ext uri="{FF2B5EF4-FFF2-40B4-BE49-F238E27FC236}">
                  <a16:creationId xmlns:a16="http://schemas.microsoft.com/office/drawing/2014/main" id="{1A771871-2028-6991-EAFC-1B884EB42EE2}"/>
                </a:ext>
              </a:extLst>
            </p:cNvPr>
            <p:cNvSpPr/>
            <p:nvPr/>
          </p:nvSpPr>
          <p:spPr>
            <a:xfrm>
              <a:off x="2400913" y="2892691"/>
              <a:ext cx="363773" cy="559551"/>
            </a:xfrm>
            <a:custGeom>
              <a:avLst/>
              <a:gdLst/>
              <a:ahLst/>
              <a:cxnLst/>
              <a:rect l="l" t="t" r="r" b="b"/>
              <a:pathLst>
                <a:path w="40839" h="62818" extrusionOk="0">
                  <a:moveTo>
                    <a:pt x="1" y="1"/>
                  </a:moveTo>
                  <a:lnTo>
                    <a:pt x="27540" y="62818"/>
                  </a:lnTo>
                  <a:lnTo>
                    <a:pt x="40839" y="40851"/>
                  </a:lnTo>
                  <a:lnTo>
                    <a:pt x="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136;p37">
              <a:extLst>
                <a:ext uri="{FF2B5EF4-FFF2-40B4-BE49-F238E27FC236}">
                  <a16:creationId xmlns:a16="http://schemas.microsoft.com/office/drawing/2014/main" id="{1BD3DCF2-EB3A-EFB0-F44A-323B255FF58C}"/>
                </a:ext>
              </a:extLst>
            </p:cNvPr>
            <p:cNvSpPr/>
            <p:nvPr/>
          </p:nvSpPr>
          <p:spPr>
            <a:xfrm>
              <a:off x="2400913" y="2892691"/>
              <a:ext cx="559453" cy="363880"/>
            </a:xfrm>
            <a:custGeom>
              <a:avLst/>
              <a:gdLst/>
              <a:ahLst/>
              <a:cxnLst/>
              <a:rect l="l" t="t" r="r" b="b"/>
              <a:pathLst>
                <a:path w="62807" h="40851" extrusionOk="0">
                  <a:moveTo>
                    <a:pt x="1" y="1"/>
                  </a:moveTo>
                  <a:lnTo>
                    <a:pt x="40839" y="40851"/>
                  </a:lnTo>
                  <a:lnTo>
                    <a:pt x="62806" y="27540"/>
                  </a:lnTo>
                  <a:lnTo>
                    <a:pt x="1"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1" name="Google Shape;137;p26">
            <a:extLst>
              <a:ext uri="{FF2B5EF4-FFF2-40B4-BE49-F238E27FC236}">
                <a16:creationId xmlns:a16="http://schemas.microsoft.com/office/drawing/2014/main" id="{3DE223C4-452B-2393-9F17-D2AF86D1B563}"/>
              </a:ext>
            </a:extLst>
          </p:cNvPr>
          <p:cNvSpPr/>
          <p:nvPr/>
        </p:nvSpPr>
        <p:spPr>
          <a:xfrm>
            <a:off x="357056" y="2613152"/>
            <a:ext cx="4053663" cy="532517"/>
          </a:xfrm>
          <a:prstGeom prst="roundRect">
            <a:avLst>
              <a:gd name="adj" fmla="val 16667"/>
            </a:avLst>
          </a:prstGeom>
          <a:solidFill>
            <a:schemeClr val="bg1"/>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r>
              <a:rPr lang="fr" sz="2000" b="1" u="sng" dirty="0">
                <a:solidFill>
                  <a:srgbClr val="7030A0"/>
                </a:solidFill>
                <a:sym typeface="Helvetica Neue"/>
              </a:rPr>
              <a:t>Objectifs</a:t>
            </a:r>
            <a:endParaRPr sz="2000" b="1" u="sng" dirty="0">
              <a:solidFill>
                <a:srgbClr val="7030A0"/>
              </a:solidFill>
              <a:sym typeface="Helvetica Neue"/>
            </a:endParaRPr>
          </a:p>
        </p:txBody>
      </p:sp>
    </p:spTree>
    <p:extLst>
      <p:ext uri="{BB962C8B-B14F-4D97-AF65-F5344CB8AC3E}">
        <p14:creationId xmlns:p14="http://schemas.microsoft.com/office/powerpoint/2010/main" val="1902064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40CFA6C-70CA-8B48-9696-1B3285A2A4C5}"/>
              </a:ext>
            </a:extLst>
          </p:cNvPr>
          <p:cNvSpPr/>
          <p:nvPr/>
        </p:nvSpPr>
        <p:spPr>
          <a:xfrm>
            <a:off x="1376065" y="508288"/>
            <a:ext cx="4219362" cy="736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24" name="TextBox 23">
            <a:extLst>
              <a:ext uri="{FF2B5EF4-FFF2-40B4-BE49-F238E27FC236}">
                <a16:creationId xmlns:a16="http://schemas.microsoft.com/office/drawing/2014/main" id="{5D692141-F45F-854B-878B-37F964982015}"/>
              </a:ext>
            </a:extLst>
          </p:cNvPr>
          <p:cNvSpPr txBox="1"/>
          <p:nvPr/>
        </p:nvSpPr>
        <p:spPr>
          <a:xfrm>
            <a:off x="384340" y="196904"/>
            <a:ext cx="6280887" cy="502766"/>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2667" b="1" kern="0" dirty="0" err="1">
                <a:solidFill>
                  <a:srgbClr val="149AC2"/>
                </a:solidFill>
                <a:latin typeface="Helvetica Neue"/>
              </a:rPr>
              <a:t>Portail</a:t>
            </a:r>
            <a:r>
              <a:rPr lang="en-US" sz="2667" b="1" kern="0" dirty="0">
                <a:solidFill>
                  <a:srgbClr val="149AC2"/>
                </a:solidFill>
                <a:latin typeface="Helvetica Neue"/>
              </a:rPr>
              <a:t> national Open Data </a:t>
            </a:r>
            <a:r>
              <a:rPr lang="en-US" sz="2667" b="1" kern="0" dirty="0" err="1">
                <a:solidFill>
                  <a:srgbClr val="149AC2"/>
                </a:solidFill>
                <a:latin typeface="Helvetica Neue"/>
              </a:rPr>
              <a:t>en</a:t>
            </a:r>
            <a:r>
              <a:rPr lang="en-US" sz="2667" b="1" kern="0" dirty="0">
                <a:solidFill>
                  <a:srgbClr val="149AC2"/>
                </a:solidFill>
                <a:latin typeface="Helvetica Neue"/>
              </a:rPr>
              <a:t> chiffres</a:t>
            </a:r>
          </a:p>
        </p:txBody>
      </p:sp>
      <p:sp>
        <p:nvSpPr>
          <p:cNvPr id="39" name="Freeform 1071">
            <a:extLst>
              <a:ext uri="{FF2B5EF4-FFF2-40B4-BE49-F238E27FC236}">
                <a16:creationId xmlns:a16="http://schemas.microsoft.com/office/drawing/2014/main" id="{07F91525-7985-9142-9D8D-28580C06A592}"/>
              </a:ext>
            </a:extLst>
          </p:cNvPr>
          <p:cNvSpPr>
            <a:spLocks noChangeAspect="1" noChangeArrowheads="1"/>
          </p:cNvSpPr>
          <p:nvPr/>
        </p:nvSpPr>
        <p:spPr bwMode="auto">
          <a:xfrm>
            <a:off x="5742955" y="1597833"/>
            <a:ext cx="468525" cy="469941"/>
          </a:xfrm>
          <a:custGeom>
            <a:avLst/>
            <a:gdLst>
              <a:gd name="T0" fmla="*/ 28633 w 290153"/>
              <a:gd name="T1" fmla="*/ 935604 h 290153"/>
              <a:gd name="T2" fmla="*/ 932776 w 290153"/>
              <a:gd name="T3" fmla="*/ 652147 h 290153"/>
              <a:gd name="T4" fmla="*/ 666782 w 290153"/>
              <a:gd name="T5" fmla="*/ 782514 h 290153"/>
              <a:gd name="T6" fmla="*/ 306552 w 290153"/>
              <a:gd name="T7" fmla="*/ 789693 h 290153"/>
              <a:gd name="T8" fmla="*/ 201586 w 290153"/>
              <a:gd name="T9" fmla="*/ 652147 h 290153"/>
              <a:gd name="T10" fmla="*/ 375737 w 290153"/>
              <a:gd name="T11" fmla="*/ 599525 h 290153"/>
              <a:gd name="T12" fmla="*/ 313709 w 290153"/>
              <a:gd name="T13" fmla="*/ 759792 h 290153"/>
              <a:gd name="T14" fmla="*/ 690636 w 290153"/>
              <a:gd name="T15" fmla="*/ 699991 h 290153"/>
              <a:gd name="T16" fmla="*/ 490247 w 290153"/>
              <a:gd name="T17" fmla="*/ 691621 h 290153"/>
              <a:gd name="T18" fmla="*/ 471162 w 290153"/>
              <a:gd name="T19" fmla="*/ 691621 h 290153"/>
              <a:gd name="T20" fmla="*/ 836158 w 290153"/>
              <a:gd name="T21" fmla="*/ 360327 h 290153"/>
              <a:gd name="T22" fmla="*/ 707337 w 290153"/>
              <a:gd name="T23" fmla="*/ 677265 h 290153"/>
              <a:gd name="T24" fmla="*/ 753856 w 290153"/>
              <a:gd name="T25" fmla="*/ 623447 h 290153"/>
              <a:gd name="T26" fmla="*/ 836158 w 290153"/>
              <a:gd name="T27" fmla="*/ 360327 h 290153"/>
              <a:gd name="T28" fmla="*/ 126436 w 290153"/>
              <a:gd name="T29" fmla="*/ 623447 h 290153"/>
              <a:gd name="T30" fmla="*/ 220672 w 290153"/>
              <a:gd name="T31" fmla="*/ 629425 h 290153"/>
              <a:gd name="T32" fmla="*/ 354268 w 290153"/>
              <a:gd name="T33" fmla="*/ 579193 h 290153"/>
              <a:gd name="T34" fmla="*/ 112122 w 290153"/>
              <a:gd name="T35" fmla="*/ 311282 h 290153"/>
              <a:gd name="T36" fmla="*/ 341144 w 290153"/>
              <a:gd name="T37" fmla="*/ 325641 h 290153"/>
              <a:gd name="T38" fmla="*/ 147912 w 290153"/>
              <a:gd name="T39" fmla="*/ 341188 h 290153"/>
              <a:gd name="T40" fmla="*/ 813497 w 290153"/>
              <a:gd name="T41" fmla="*/ 341188 h 290153"/>
              <a:gd name="T42" fmla="*/ 621457 w 290153"/>
              <a:gd name="T43" fmla="*/ 325641 h 290153"/>
              <a:gd name="T44" fmla="*/ 850474 w 290153"/>
              <a:gd name="T45" fmla="*/ 311282 h 290153"/>
              <a:gd name="T46" fmla="*/ 865977 w 290153"/>
              <a:gd name="T47" fmla="*/ 623447 h 290153"/>
              <a:gd name="T48" fmla="*/ 961402 w 290153"/>
              <a:gd name="T49" fmla="*/ 637797 h 290153"/>
              <a:gd name="T50" fmla="*/ 948283 w 290153"/>
              <a:gd name="T51" fmla="*/ 964307 h 290153"/>
              <a:gd name="T52" fmla="*/ 0 w 290153"/>
              <a:gd name="T53" fmla="*/ 949961 h 290153"/>
              <a:gd name="T54" fmla="*/ 15511 w 290153"/>
              <a:gd name="T55" fmla="*/ 623447 h 290153"/>
              <a:gd name="T56" fmla="*/ 97815 w 290153"/>
              <a:gd name="T57" fmla="*/ 325641 h 290153"/>
              <a:gd name="T58" fmla="*/ 424706 w 290153"/>
              <a:gd name="T59" fmla="*/ 0 h 290153"/>
              <a:gd name="T60" fmla="*/ 439065 w 290153"/>
              <a:gd name="T61" fmla="*/ 248963 h 290153"/>
              <a:gd name="T62" fmla="*/ 382838 w 290153"/>
              <a:gd name="T63" fmla="*/ 264603 h 290153"/>
              <a:gd name="T64" fmla="*/ 582635 w 290153"/>
              <a:gd name="T65" fmla="*/ 264603 h 290153"/>
              <a:gd name="T66" fmla="*/ 527599 w 290153"/>
              <a:gd name="T67" fmla="*/ 248963 h 290153"/>
              <a:gd name="T68" fmla="*/ 540758 w 290153"/>
              <a:gd name="T69" fmla="*/ 0 h 290153"/>
              <a:gd name="T70" fmla="*/ 555117 w 290153"/>
              <a:gd name="T71" fmla="*/ 234541 h 290153"/>
              <a:gd name="T72" fmla="*/ 632886 w 290153"/>
              <a:gd name="T73" fmla="*/ 244150 h 290153"/>
              <a:gd name="T74" fmla="*/ 491711 w 290153"/>
              <a:gd name="T75" fmla="*/ 392096 h 290153"/>
              <a:gd name="T76" fmla="*/ 472565 w 290153"/>
              <a:gd name="T77" fmla="*/ 392096 h 290153"/>
              <a:gd name="T78" fmla="*/ 332587 w 290153"/>
              <a:gd name="T79" fmla="*/ 244150 h 290153"/>
              <a:gd name="T80" fmla="*/ 409155 w 290153"/>
              <a:gd name="T81" fmla="*/ 234541 h 290153"/>
              <a:gd name="T82" fmla="*/ 424706 w 290153"/>
              <a:gd name="T83" fmla="*/ 0 h 2901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0153" h="290153">
                <a:moveTo>
                  <a:pt x="8640" y="196227"/>
                </a:moveTo>
                <a:lnTo>
                  <a:pt x="8640" y="281516"/>
                </a:lnTo>
                <a:lnTo>
                  <a:pt x="281513" y="281516"/>
                </a:lnTo>
                <a:lnTo>
                  <a:pt x="281513" y="196227"/>
                </a:lnTo>
                <a:lnTo>
                  <a:pt x="229675" y="196227"/>
                </a:lnTo>
                <a:lnTo>
                  <a:pt x="201235" y="235453"/>
                </a:lnTo>
                <a:cubicBezTo>
                  <a:pt x="200875" y="236892"/>
                  <a:pt x="199435" y="237612"/>
                  <a:pt x="197995" y="237612"/>
                </a:cubicBezTo>
                <a:lnTo>
                  <a:pt x="92518" y="237612"/>
                </a:lnTo>
                <a:cubicBezTo>
                  <a:pt x="91078" y="237612"/>
                  <a:pt x="89278" y="236892"/>
                  <a:pt x="88918" y="235453"/>
                </a:cubicBezTo>
                <a:lnTo>
                  <a:pt x="60838" y="196227"/>
                </a:lnTo>
                <a:lnTo>
                  <a:pt x="8640" y="196227"/>
                </a:lnTo>
                <a:close/>
                <a:moveTo>
                  <a:pt x="113398" y="180392"/>
                </a:moveTo>
                <a:lnTo>
                  <a:pt x="81718" y="210622"/>
                </a:lnTo>
                <a:lnTo>
                  <a:pt x="94677" y="228615"/>
                </a:lnTo>
                <a:lnTo>
                  <a:pt x="195836" y="228615"/>
                </a:lnTo>
                <a:lnTo>
                  <a:pt x="208435" y="210622"/>
                </a:lnTo>
                <a:lnTo>
                  <a:pt x="177116" y="180392"/>
                </a:lnTo>
                <a:lnTo>
                  <a:pt x="147957" y="208103"/>
                </a:lnTo>
                <a:cubicBezTo>
                  <a:pt x="147597" y="208462"/>
                  <a:pt x="146517" y="209542"/>
                  <a:pt x="145077" y="209542"/>
                </a:cubicBezTo>
                <a:cubicBezTo>
                  <a:pt x="143997" y="209542"/>
                  <a:pt x="142917" y="208462"/>
                  <a:pt x="142197" y="208103"/>
                </a:cubicBezTo>
                <a:lnTo>
                  <a:pt x="113398" y="180392"/>
                </a:lnTo>
                <a:close/>
                <a:moveTo>
                  <a:pt x="252354" y="108418"/>
                </a:moveTo>
                <a:lnTo>
                  <a:pt x="183596" y="174275"/>
                </a:lnTo>
                <a:lnTo>
                  <a:pt x="213475" y="203784"/>
                </a:lnTo>
                <a:lnTo>
                  <a:pt x="223915" y="189389"/>
                </a:lnTo>
                <a:cubicBezTo>
                  <a:pt x="224635" y="188310"/>
                  <a:pt x="225715" y="187590"/>
                  <a:pt x="227515" y="187590"/>
                </a:cubicBezTo>
                <a:lnTo>
                  <a:pt x="252354" y="187590"/>
                </a:lnTo>
                <a:lnTo>
                  <a:pt x="252354" y="108418"/>
                </a:lnTo>
                <a:close/>
                <a:moveTo>
                  <a:pt x="38159" y="108418"/>
                </a:moveTo>
                <a:lnTo>
                  <a:pt x="38159" y="187590"/>
                </a:lnTo>
                <a:lnTo>
                  <a:pt x="62998" y="187590"/>
                </a:lnTo>
                <a:cubicBezTo>
                  <a:pt x="64438" y="187590"/>
                  <a:pt x="65878" y="188310"/>
                  <a:pt x="66598" y="189389"/>
                </a:cubicBezTo>
                <a:lnTo>
                  <a:pt x="76678" y="203784"/>
                </a:lnTo>
                <a:lnTo>
                  <a:pt x="106918" y="174275"/>
                </a:lnTo>
                <a:lnTo>
                  <a:pt x="38159" y="108418"/>
                </a:lnTo>
                <a:close/>
                <a:moveTo>
                  <a:pt x="33839" y="93663"/>
                </a:moveTo>
                <a:lnTo>
                  <a:pt x="98277" y="93663"/>
                </a:lnTo>
                <a:cubicBezTo>
                  <a:pt x="100798" y="93663"/>
                  <a:pt x="102958" y="95822"/>
                  <a:pt x="102958" y="97982"/>
                </a:cubicBezTo>
                <a:cubicBezTo>
                  <a:pt x="102958" y="100861"/>
                  <a:pt x="100798" y="102660"/>
                  <a:pt x="98277" y="102660"/>
                </a:cubicBezTo>
                <a:lnTo>
                  <a:pt x="44639" y="102660"/>
                </a:lnTo>
                <a:lnTo>
                  <a:pt x="145077" y="198746"/>
                </a:lnTo>
                <a:lnTo>
                  <a:pt x="245514" y="102660"/>
                </a:lnTo>
                <a:lnTo>
                  <a:pt x="191876" y="102660"/>
                </a:lnTo>
                <a:cubicBezTo>
                  <a:pt x="189716" y="102660"/>
                  <a:pt x="187556" y="100861"/>
                  <a:pt x="187556" y="97982"/>
                </a:cubicBezTo>
                <a:cubicBezTo>
                  <a:pt x="187556" y="95822"/>
                  <a:pt x="189716" y="93663"/>
                  <a:pt x="191876" y="93663"/>
                </a:cubicBezTo>
                <a:lnTo>
                  <a:pt x="256674" y="93663"/>
                </a:lnTo>
                <a:cubicBezTo>
                  <a:pt x="258834" y="93663"/>
                  <a:pt x="261354" y="95822"/>
                  <a:pt x="261354" y="97982"/>
                </a:cubicBezTo>
                <a:lnTo>
                  <a:pt x="261354" y="187590"/>
                </a:lnTo>
                <a:lnTo>
                  <a:pt x="286193" y="187590"/>
                </a:lnTo>
                <a:cubicBezTo>
                  <a:pt x="288713" y="187590"/>
                  <a:pt x="290153" y="189389"/>
                  <a:pt x="290153" y="191908"/>
                </a:cubicBezTo>
                <a:lnTo>
                  <a:pt x="290153" y="285835"/>
                </a:lnTo>
                <a:cubicBezTo>
                  <a:pt x="290153" y="287994"/>
                  <a:pt x="288713" y="290153"/>
                  <a:pt x="286193" y="290153"/>
                </a:cubicBezTo>
                <a:lnTo>
                  <a:pt x="4680" y="290153"/>
                </a:lnTo>
                <a:cubicBezTo>
                  <a:pt x="1800" y="290153"/>
                  <a:pt x="0" y="287994"/>
                  <a:pt x="0" y="285835"/>
                </a:cubicBezTo>
                <a:lnTo>
                  <a:pt x="0" y="191908"/>
                </a:lnTo>
                <a:cubicBezTo>
                  <a:pt x="0" y="189389"/>
                  <a:pt x="1800" y="187590"/>
                  <a:pt x="4680" y="187590"/>
                </a:cubicBezTo>
                <a:lnTo>
                  <a:pt x="29519" y="187590"/>
                </a:lnTo>
                <a:lnTo>
                  <a:pt x="29519" y="97982"/>
                </a:lnTo>
                <a:cubicBezTo>
                  <a:pt x="29519" y="95822"/>
                  <a:pt x="30959" y="93663"/>
                  <a:pt x="33839" y="93663"/>
                </a:cubicBezTo>
                <a:close/>
                <a:moveTo>
                  <a:pt x="128177" y="0"/>
                </a:moveTo>
                <a:cubicBezTo>
                  <a:pt x="130344" y="0"/>
                  <a:pt x="132510" y="1810"/>
                  <a:pt x="132510" y="3981"/>
                </a:cubicBezTo>
                <a:lnTo>
                  <a:pt x="132510" y="74912"/>
                </a:lnTo>
                <a:cubicBezTo>
                  <a:pt x="132510" y="77445"/>
                  <a:pt x="130344" y="79617"/>
                  <a:pt x="128177" y="79617"/>
                </a:cubicBezTo>
                <a:lnTo>
                  <a:pt x="115540" y="79617"/>
                </a:lnTo>
                <a:lnTo>
                  <a:pt x="145509" y="108568"/>
                </a:lnTo>
                <a:lnTo>
                  <a:pt x="175840" y="79617"/>
                </a:lnTo>
                <a:lnTo>
                  <a:pt x="163202" y="79617"/>
                </a:lnTo>
                <a:cubicBezTo>
                  <a:pt x="160674" y="79617"/>
                  <a:pt x="159230" y="77445"/>
                  <a:pt x="159230" y="74912"/>
                </a:cubicBezTo>
                <a:lnTo>
                  <a:pt x="159230" y="3981"/>
                </a:lnTo>
                <a:cubicBezTo>
                  <a:pt x="159230" y="1810"/>
                  <a:pt x="160674" y="0"/>
                  <a:pt x="163202" y="0"/>
                </a:cubicBezTo>
                <a:cubicBezTo>
                  <a:pt x="165730" y="0"/>
                  <a:pt x="167535" y="1810"/>
                  <a:pt x="167535" y="3981"/>
                </a:cubicBezTo>
                <a:lnTo>
                  <a:pt x="167535" y="70570"/>
                </a:lnTo>
                <a:lnTo>
                  <a:pt x="187033" y="70570"/>
                </a:lnTo>
                <a:cubicBezTo>
                  <a:pt x="188477" y="70570"/>
                  <a:pt x="190283" y="71655"/>
                  <a:pt x="191005" y="73465"/>
                </a:cubicBezTo>
                <a:cubicBezTo>
                  <a:pt x="191727" y="74912"/>
                  <a:pt x="191005" y="77084"/>
                  <a:pt x="189922" y="78169"/>
                </a:cubicBezTo>
                <a:lnTo>
                  <a:pt x="148398" y="117978"/>
                </a:lnTo>
                <a:cubicBezTo>
                  <a:pt x="147676" y="118339"/>
                  <a:pt x="146953" y="118701"/>
                  <a:pt x="145509" y="118701"/>
                </a:cubicBezTo>
                <a:cubicBezTo>
                  <a:pt x="144426" y="118701"/>
                  <a:pt x="143343" y="118339"/>
                  <a:pt x="142621" y="117978"/>
                </a:cubicBezTo>
                <a:lnTo>
                  <a:pt x="101458" y="78169"/>
                </a:lnTo>
                <a:cubicBezTo>
                  <a:pt x="100374" y="77084"/>
                  <a:pt x="100013" y="74912"/>
                  <a:pt x="100374" y="73465"/>
                </a:cubicBezTo>
                <a:cubicBezTo>
                  <a:pt x="101096" y="71655"/>
                  <a:pt x="102541" y="70570"/>
                  <a:pt x="104346" y="70570"/>
                </a:cubicBezTo>
                <a:lnTo>
                  <a:pt x="123483" y="70570"/>
                </a:lnTo>
                <a:lnTo>
                  <a:pt x="123483" y="3981"/>
                </a:lnTo>
                <a:cubicBezTo>
                  <a:pt x="123483" y="1810"/>
                  <a:pt x="125650" y="0"/>
                  <a:pt x="128177"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41" name="Freeform 970">
            <a:extLst>
              <a:ext uri="{FF2B5EF4-FFF2-40B4-BE49-F238E27FC236}">
                <a16:creationId xmlns:a16="http://schemas.microsoft.com/office/drawing/2014/main" id="{EB3BB6DC-F409-5F41-8A1A-55BFC1C05313}"/>
              </a:ext>
            </a:extLst>
          </p:cNvPr>
          <p:cNvSpPr>
            <a:spLocks noChangeAspect="1" noChangeArrowheads="1"/>
          </p:cNvSpPr>
          <p:nvPr/>
        </p:nvSpPr>
        <p:spPr bwMode="auto">
          <a:xfrm>
            <a:off x="5742955" y="4650793"/>
            <a:ext cx="468508" cy="512909"/>
          </a:xfrm>
          <a:custGeom>
            <a:avLst/>
            <a:gdLst>
              <a:gd name="T0" fmla="*/ 352350 w 267928"/>
              <a:gd name="T1" fmla="*/ 904753 h 293327"/>
              <a:gd name="T2" fmla="*/ 494170 w 267928"/>
              <a:gd name="T3" fmla="*/ 943046 h 293327"/>
              <a:gd name="T4" fmla="*/ 539455 w 267928"/>
              <a:gd name="T5" fmla="*/ 893982 h 293327"/>
              <a:gd name="T6" fmla="*/ 308253 w 267928"/>
              <a:gd name="T7" fmla="*/ 797041 h 293327"/>
              <a:gd name="T8" fmla="*/ 323749 w 267928"/>
              <a:gd name="T9" fmla="*/ 864063 h 293327"/>
              <a:gd name="T10" fmla="*/ 582356 w 267928"/>
              <a:gd name="T11" fmla="*/ 849697 h 293327"/>
              <a:gd name="T12" fmla="*/ 308253 w 267928"/>
              <a:gd name="T13" fmla="*/ 797041 h 293327"/>
              <a:gd name="T14" fmla="*/ 725370 w 267928"/>
              <a:gd name="T15" fmla="*/ 353502 h 293327"/>
              <a:gd name="T16" fmla="*/ 452643 w 267928"/>
              <a:gd name="T17" fmla="*/ 646987 h 293327"/>
              <a:gd name="T18" fmla="*/ 432398 w 267928"/>
              <a:gd name="T19" fmla="*/ 646987 h 293327"/>
              <a:gd name="T20" fmla="*/ 315684 w 267928"/>
              <a:gd name="T21" fmla="*/ 510986 h 293327"/>
              <a:gd name="T22" fmla="*/ 441927 w 267928"/>
              <a:gd name="T23" fmla="*/ 615968 h 293327"/>
              <a:gd name="T24" fmla="*/ 443086 w 267928"/>
              <a:gd name="T25" fmla="*/ 247488 h 293327"/>
              <a:gd name="T26" fmla="*/ 443086 w 267928"/>
              <a:gd name="T27" fmla="*/ 277215 h 293327"/>
              <a:gd name="T28" fmla="*/ 264260 w 267928"/>
              <a:gd name="T29" fmla="*/ 430605 h 293327"/>
              <a:gd name="T30" fmla="*/ 251237 w 267928"/>
              <a:gd name="T31" fmla="*/ 415145 h 293327"/>
              <a:gd name="T32" fmla="*/ 446495 w 267928"/>
              <a:gd name="T33" fmla="*/ 157975 h 293327"/>
              <a:gd name="T34" fmla="*/ 675309 w 267928"/>
              <a:gd name="T35" fmla="*/ 294406 h 293327"/>
              <a:gd name="T36" fmla="*/ 446495 w 267928"/>
              <a:gd name="T37" fmla="*/ 187892 h 293327"/>
              <a:gd name="T38" fmla="*/ 260585 w 267928"/>
              <a:gd name="T39" fmla="*/ 627103 h 293327"/>
              <a:gd name="T40" fmla="*/ 308253 w 267928"/>
              <a:gd name="T41" fmla="*/ 767122 h 293327"/>
              <a:gd name="T42" fmla="*/ 582356 w 267928"/>
              <a:gd name="T43" fmla="*/ 740797 h 293327"/>
              <a:gd name="T44" fmla="*/ 702721 w 267928"/>
              <a:gd name="T45" fmla="*/ 488277 h 293327"/>
              <a:gd name="T46" fmla="*/ 731320 w 267928"/>
              <a:gd name="T47" fmla="*/ 491865 h 293327"/>
              <a:gd name="T48" fmla="*/ 612145 w 267928"/>
              <a:gd name="T49" fmla="*/ 740797 h 293327"/>
              <a:gd name="T50" fmla="*/ 568058 w 267928"/>
              <a:gd name="T51" fmla="*/ 893982 h 293327"/>
              <a:gd name="T52" fmla="*/ 566863 w 267928"/>
              <a:gd name="T53" fmla="*/ 904753 h 293327"/>
              <a:gd name="T54" fmla="*/ 396445 w 267928"/>
              <a:gd name="T55" fmla="*/ 972963 h 293327"/>
              <a:gd name="T56" fmla="*/ 323749 w 267928"/>
              <a:gd name="T57" fmla="*/ 893982 h 293327"/>
              <a:gd name="T58" fmla="*/ 278464 w 267928"/>
              <a:gd name="T59" fmla="*/ 739595 h 293327"/>
              <a:gd name="T60" fmla="*/ 158097 w 267928"/>
              <a:gd name="T61" fmla="*/ 446393 h 293327"/>
              <a:gd name="T62" fmla="*/ 444711 w 267928"/>
              <a:gd name="T63" fmla="*/ 0 h 293327"/>
              <a:gd name="T64" fmla="*/ 697468 w 267928"/>
              <a:gd name="T65" fmla="*/ 808902 h 293327"/>
              <a:gd name="T66" fmla="*/ 680775 w 267928"/>
              <a:gd name="T67" fmla="*/ 786268 h 293327"/>
              <a:gd name="T68" fmla="*/ 444711 w 267928"/>
              <a:gd name="T69" fmla="*/ 28599 h 293327"/>
              <a:gd name="T70" fmla="*/ 29805 w 267928"/>
              <a:gd name="T71" fmla="*/ 858936 h 293327"/>
              <a:gd name="T72" fmla="*/ 209837 w 267928"/>
              <a:gd name="T73" fmla="*/ 874421 h 293327"/>
              <a:gd name="T74" fmla="*/ 15495 w 267928"/>
              <a:gd name="T75" fmla="*/ 888721 h 293327"/>
              <a:gd name="T76" fmla="*/ 0 w 267928"/>
              <a:gd name="T77" fmla="*/ 444357 h 2933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67928" h="293327">
                <a:moveTo>
                  <a:pt x="106142" y="269515"/>
                </a:moveTo>
                <a:lnTo>
                  <a:pt x="106142" y="272762"/>
                </a:lnTo>
                <a:cubicBezTo>
                  <a:pt x="106142" y="279256"/>
                  <a:pt x="112245" y="284307"/>
                  <a:pt x="119425" y="284307"/>
                </a:cubicBezTo>
                <a:lnTo>
                  <a:pt x="148863" y="284307"/>
                </a:lnTo>
                <a:cubicBezTo>
                  <a:pt x="156402" y="284307"/>
                  <a:pt x="162505" y="279256"/>
                  <a:pt x="162505" y="272762"/>
                </a:cubicBezTo>
                <a:lnTo>
                  <a:pt x="162505" y="269515"/>
                </a:lnTo>
                <a:lnTo>
                  <a:pt x="106142" y="269515"/>
                </a:lnTo>
                <a:close/>
                <a:moveTo>
                  <a:pt x="92858" y="240290"/>
                </a:moveTo>
                <a:lnTo>
                  <a:pt x="92858" y="256165"/>
                </a:lnTo>
                <a:cubicBezTo>
                  <a:pt x="92858" y="258691"/>
                  <a:pt x="95013" y="260495"/>
                  <a:pt x="97526" y="260495"/>
                </a:cubicBezTo>
                <a:lnTo>
                  <a:pt x="171121" y="260495"/>
                </a:lnTo>
                <a:cubicBezTo>
                  <a:pt x="173634" y="260495"/>
                  <a:pt x="175429" y="258691"/>
                  <a:pt x="175429" y="256165"/>
                </a:cubicBezTo>
                <a:lnTo>
                  <a:pt x="175429" y="240290"/>
                </a:lnTo>
                <a:lnTo>
                  <a:pt x="92858" y="240290"/>
                </a:lnTo>
                <a:close/>
                <a:moveTo>
                  <a:pt x="212411" y="106573"/>
                </a:moveTo>
                <a:cubicBezTo>
                  <a:pt x="214205" y="104775"/>
                  <a:pt x="216716" y="104775"/>
                  <a:pt x="218510" y="106573"/>
                </a:cubicBezTo>
                <a:cubicBezTo>
                  <a:pt x="220303" y="108012"/>
                  <a:pt x="220303" y="110889"/>
                  <a:pt x="218510" y="113047"/>
                </a:cubicBezTo>
                <a:lnTo>
                  <a:pt x="136354" y="195052"/>
                </a:lnTo>
                <a:cubicBezTo>
                  <a:pt x="135278" y="196490"/>
                  <a:pt x="134202" y="196490"/>
                  <a:pt x="133126" y="196490"/>
                </a:cubicBezTo>
                <a:cubicBezTo>
                  <a:pt x="132049" y="196490"/>
                  <a:pt x="130973" y="196490"/>
                  <a:pt x="130255" y="195052"/>
                </a:cubicBezTo>
                <a:lnTo>
                  <a:pt x="95097" y="160524"/>
                </a:lnTo>
                <a:cubicBezTo>
                  <a:pt x="93662" y="158366"/>
                  <a:pt x="93662" y="155488"/>
                  <a:pt x="95097" y="154050"/>
                </a:cubicBezTo>
                <a:cubicBezTo>
                  <a:pt x="96891" y="152251"/>
                  <a:pt x="99761" y="152251"/>
                  <a:pt x="101196" y="154050"/>
                </a:cubicBezTo>
                <a:lnTo>
                  <a:pt x="133126" y="185700"/>
                </a:lnTo>
                <a:lnTo>
                  <a:pt x="212411" y="106573"/>
                </a:lnTo>
                <a:close/>
                <a:moveTo>
                  <a:pt x="133475" y="74613"/>
                </a:moveTo>
                <a:cubicBezTo>
                  <a:pt x="135972" y="74613"/>
                  <a:pt x="137756" y="76764"/>
                  <a:pt x="137756" y="79273"/>
                </a:cubicBezTo>
                <a:cubicBezTo>
                  <a:pt x="137756" y="81782"/>
                  <a:pt x="135972" y="83575"/>
                  <a:pt x="133475" y="83575"/>
                </a:cubicBezTo>
                <a:cubicBezTo>
                  <a:pt x="108503" y="83575"/>
                  <a:pt x="87811" y="101498"/>
                  <a:pt x="83887" y="126232"/>
                </a:cubicBezTo>
                <a:cubicBezTo>
                  <a:pt x="83530" y="128383"/>
                  <a:pt x="81747" y="129817"/>
                  <a:pt x="79606" y="129817"/>
                </a:cubicBezTo>
                <a:cubicBezTo>
                  <a:pt x="79606" y="129817"/>
                  <a:pt x="79249" y="129817"/>
                  <a:pt x="78893" y="129817"/>
                </a:cubicBezTo>
                <a:cubicBezTo>
                  <a:pt x="76395" y="129458"/>
                  <a:pt x="74612" y="127666"/>
                  <a:pt x="75682" y="125157"/>
                </a:cubicBezTo>
                <a:cubicBezTo>
                  <a:pt x="79963" y="95762"/>
                  <a:pt x="104222" y="74613"/>
                  <a:pt x="133475" y="74613"/>
                </a:cubicBezTo>
                <a:close/>
                <a:moveTo>
                  <a:pt x="134503" y="47625"/>
                </a:moveTo>
                <a:cubicBezTo>
                  <a:pt x="162505" y="47625"/>
                  <a:pt x="187634" y="60253"/>
                  <a:pt x="204148" y="82622"/>
                </a:cubicBezTo>
                <a:cubicBezTo>
                  <a:pt x="205584" y="84065"/>
                  <a:pt x="204866" y="86952"/>
                  <a:pt x="203430" y="88756"/>
                </a:cubicBezTo>
                <a:cubicBezTo>
                  <a:pt x="201276" y="89838"/>
                  <a:pt x="198404" y="89477"/>
                  <a:pt x="196968" y="88034"/>
                </a:cubicBezTo>
                <a:cubicBezTo>
                  <a:pt x="182249" y="67469"/>
                  <a:pt x="159274" y="56645"/>
                  <a:pt x="134503" y="56645"/>
                </a:cubicBezTo>
                <a:cubicBezTo>
                  <a:pt x="91781" y="56645"/>
                  <a:pt x="56241" y="91281"/>
                  <a:pt x="56241" y="134577"/>
                </a:cubicBezTo>
                <a:cubicBezTo>
                  <a:pt x="56241" y="155142"/>
                  <a:pt x="64498" y="174625"/>
                  <a:pt x="78499" y="189057"/>
                </a:cubicBezTo>
                <a:cubicBezTo>
                  <a:pt x="87474" y="198438"/>
                  <a:pt x="92858" y="210705"/>
                  <a:pt x="92858" y="222972"/>
                </a:cubicBezTo>
                <a:lnTo>
                  <a:pt x="92858" y="231270"/>
                </a:lnTo>
                <a:lnTo>
                  <a:pt x="175429" y="231270"/>
                </a:lnTo>
                <a:lnTo>
                  <a:pt x="175429" y="223333"/>
                </a:lnTo>
                <a:cubicBezTo>
                  <a:pt x="175429" y="211066"/>
                  <a:pt x="180813" y="199520"/>
                  <a:pt x="190147" y="189418"/>
                </a:cubicBezTo>
                <a:cubicBezTo>
                  <a:pt x="201276" y="177872"/>
                  <a:pt x="209174" y="163080"/>
                  <a:pt x="211687" y="147205"/>
                </a:cubicBezTo>
                <a:cubicBezTo>
                  <a:pt x="212046" y="144679"/>
                  <a:pt x="213841" y="142875"/>
                  <a:pt x="216354" y="143597"/>
                </a:cubicBezTo>
                <a:cubicBezTo>
                  <a:pt x="218867" y="143597"/>
                  <a:pt x="220303" y="145762"/>
                  <a:pt x="220303" y="148287"/>
                </a:cubicBezTo>
                <a:cubicBezTo>
                  <a:pt x="217431" y="166327"/>
                  <a:pt x="209174" y="182563"/>
                  <a:pt x="196250" y="195551"/>
                </a:cubicBezTo>
                <a:cubicBezTo>
                  <a:pt x="188711" y="203850"/>
                  <a:pt x="184403" y="213591"/>
                  <a:pt x="184403" y="223333"/>
                </a:cubicBezTo>
                <a:lnTo>
                  <a:pt x="184403" y="256165"/>
                </a:lnTo>
                <a:cubicBezTo>
                  <a:pt x="184403" y="263381"/>
                  <a:pt x="178300" y="269515"/>
                  <a:pt x="171121" y="269515"/>
                </a:cubicBezTo>
                <a:lnTo>
                  <a:pt x="170762" y="269515"/>
                </a:lnTo>
                <a:lnTo>
                  <a:pt x="170762" y="272762"/>
                </a:lnTo>
                <a:cubicBezTo>
                  <a:pt x="170762" y="284307"/>
                  <a:pt x="161069" y="293327"/>
                  <a:pt x="148863" y="293327"/>
                </a:cubicBezTo>
                <a:lnTo>
                  <a:pt x="119425" y="293327"/>
                </a:lnTo>
                <a:cubicBezTo>
                  <a:pt x="107219" y="293327"/>
                  <a:pt x="97526" y="284307"/>
                  <a:pt x="97526" y="272762"/>
                </a:cubicBezTo>
                <a:lnTo>
                  <a:pt x="97526" y="269515"/>
                </a:lnTo>
                <a:cubicBezTo>
                  <a:pt x="89628" y="269515"/>
                  <a:pt x="83884" y="263381"/>
                  <a:pt x="83884" y="256165"/>
                </a:cubicBezTo>
                <a:lnTo>
                  <a:pt x="83884" y="222972"/>
                </a:lnTo>
                <a:cubicBezTo>
                  <a:pt x="83884" y="212870"/>
                  <a:pt x="79935" y="203489"/>
                  <a:pt x="72037" y="195191"/>
                </a:cubicBezTo>
                <a:cubicBezTo>
                  <a:pt x="56241" y="178955"/>
                  <a:pt x="47625" y="157307"/>
                  <a:pt x="47625" y="134577"/>
                </a:cubicBezTo>
                <a:cubicBezTo>
                  <a:pt x="47625" y="86591"/>
                  <a:pt x="86756" y="47625"/>
                  <a:pt x="134503" y="47625"/>
                </a:cubicBezTo>
                <a:close/>
                <a:moveTo>
                  <a:pt x="133964" y="0"/>
                </a:moveTo>
                <a:cubicBezTo>
                  <a:pt x="207950" y="0"/>
                  <a:pt x="267928" y="60338"/>
                  <a:pt x="267928" y="133964"/>
                </a:cubicBezTo>
                <a:cubicBezTo>
                  <a:pt x="267928" y="177781"/>
                  <a:pt x="246020" y="218725"/>
                  <a:pt x="210105" y="243866"/>
                </a:cubicBezTo>
                <a:cubicBezTo>
                  <a:pt x="208309" y="245661"/>
                  <a:pt x="205436" y="244943"/>
                  <a:pt x="203999" y="243147"/>
                </a:cubicBezTo>
                <a:cubicBezTo>
                  <a:pt x="202562" y="240992"/>
                  <a:pt x="202921" y="238478"/>
                  <a:pt x="205076" y="237042"/>
                </a:cubicBezTo>
                <a:cubicBezTo>
                  <a:pt x="238837" y="212978"/>
                  <a:pt x="258949" y="174908"/>
                  <a:pt x="258949" y="133964"/>
                </a:cubicBezTo>
                <a:cubicBezTo>
                  <a:pt x="258949" y="65366"/>
                  <a:pt x="202921" y="8620"/>
                  <a:pt x="133964" y="8620"/>
                </a:cubicBezTo>
                <a:cubicBezTo>
                  <a:pt x="65006" y="8620"/>
                  <a:pt x="8979" y="65366"/>
                  <a:pt x="8979" y="133964"/>
                </a:cubicBezTo>
                <a:lnTo>
                  <a:pt x="8979" y="258950"/>
                </a:lnTo>
                <a:lnTo>
                  <a:pt x="58542" y="258950"/>
                </a:lnTo>
                <a:cubicBezTo>
                  <a:pt x="61056" y="258950"/>
                  <a:pt x="63211" y="261105"/>
                  <a:pt x="63211" y="263619"/>
                </a:cubicBezTo>
                <a:cubicBezTo>
                  <a:pt x="63211" y="266133"/>
                  <a:pt x="61056" y="267929"/>
                  <a:pt x="58542" y="267929"/>
                </a:cubicBezTo>
                <a:lnTo>
                  <a:pt x="4669" y="267929"/>
                </a:lnTo>
                <a:cubicBezTo>
                  <a:pt x="2155" y="267929"/>
                  <a:pt x="0" y="266133"/>
                  <a:pt x="0" y="263619"/>
                </a:cubicBezTo>
                <a:lnTo>
                  <a:pt x="0" y="133964"/>
                </a:lnTo>
                <a:cubicBezTo>
                  <a:pt x="0" y="60338"/>
                  <a:pt x="59978" y="0"/>
                  <a:pt x="133964"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42" name="Freeform 1050">
            <a:extLst>
              <a:ext uri="{FF2B5EF4-FFF2-40B4-BE49-F238E27FC236}">
                <a16:creationId xmlns:a16="http://schemas.microsoft.com/office/drawing/2014/main" id="{F664C83D-B8E0-9749-A6B2-EADBB34B1F5C}"/>
              </a:ext>
            </a:extLst>
          </p:cNvPr>
          <p:cNvSpPr>
            <a:spLocks noChangeAspect="1" noChangeArrowheads="1"/>
          </p:cNvSpPr>
          <p:nvPr/>
        </p:nvSpPr>
        <p:spPr bwMode="auto">
          <a:xfrm>
            <a:off x="5742955" y="3633050"/>
            <a:ext cx="468508" cy="469941"/>
          </a:xfrm>
          <a:custGeom>
            <a:avLst/>
            <a:gdLst>
              <a:gd name="T0" fmla="*/ 236519 w 285390"/>
              <a:gd name="T1" fmla="*/ 610556 h 286653"/>
              <a:gd name="T2" fmla="*/ 206077 w 285390"/>
              <a:gd name="T3" fmla="*/ 610556 h 286653"/>
              <a:gd name="T4" fmla="*/ 166135 w 285390"/>
              <a:gd name="T5" fmla="*/ 365394 h 286653"/>
              <a:gd name="T6" fmla="*/ 276353 w 285390"/>
              <a:gd name="T7" fmla="*/ 654973 h 286653"/>
              <a:gd name="T8" fmla="*/ 166135 w 285390"/>
              <a:gd name="T9" fmla="*/ 365394 h 286653"/>
              <a:gd name="T10" fmla="*/ 306664 w 285390"/>
              <a:gd name="T11" fmla="*/ 115924 h 286653"/>
              <a:gd name="T12" fmla="*/ 306664 w 285390"/>
              <a:gd name="T13" fmla="*/ 144957 h 286653"/>
              <a:gd name="T14" fmla="*/ 28750 w 285390"/>
              <a:gd name="T15" fmla="*/ 775269 h 286653"/>
              <a:gd name="T16" fmla="*/ 183284 w 285390"/>
              <a:gd name="T17" fmla="*/ 790996 h 286653"/>
              <a:gd name="T18" fmla="*/ 430046 w 285390"/>
              <a:gd name="T19" fmla="*/ 776479 h 286653"/>
              <a:gd name="T20" fmla="*/ 922386 w 285390"/>
              <a:gd name="T21" fmla="*/ 775269 h 286653"/>
              <a:gd name="T22" fmla="*/ 660044 w 285390"/>
              <a:gd name="T23" fmla="*/ 144957 h 286653"/>
              <a:gd name="T24" fmla="*/ 660044 w 285390"/>
              <a:gd name="T25" fmla="*/ 115924 h 286653"/>
              <a:gd name="T26" fmla="*/ 949934 w 285390"/>
              <a:gd name="T27" fmla="*/ 129230 h 286653"/>
              <a:gd name="T28" fmla="*/ 936759 w 285390"/>
              <a:gd name="T29" fmla="*/ 804304 h 286653"/>
              <a:gd name="T30" fmla="*/ 176092 w 285390"/>
              <a:gd name="T31" fmla="*/ 957951 h 286653"/>
              <a:gd name="T32" fmla="*/ 161718 w 285390"/>
              <a:gd name="T33" fmla="*/ 957951 h 286653"/>
              <a:gd name="T34" fmla="*/ 153327 w 285390"/>
              <a:gd name="T35" fmla="*/ 804304 h 286653"/>
              <a:gd name="T36" fmla="*/ 0 w 285390"/>
              <a:gd name="T37" fmla="*/ 790996 h 286653"/>
              <a:gd name="T38" fmla="*/ 15576 w 285390"/>
              <a:gd name="T39" fmla="*/ 115924 h 286653"/>
              <a:gd name="T40" fmla="*/ 435681 w 285390"/>
              <a:gd name="T41" fmla="*/ 31356 h 286653"/>
              <a:gd name="T42" fmla="*/ 353022 w 285390"/>
              <a:gd name="T43" fmla="*/ 281289 h 286653"/>
              <a:gd name="T44" fmla="*/ 305101 w 285390"/>
              <a:gd name="T45" fmla="*/ 654973 h 286653"/>
              <a:gd name="T46" fmla="*/ 690848 w 285390"/>
              <a:gd name="T47" fmla="*/ 654973 h 286653"/>
              <a:gd name="T48" fmla="*/ 731584 w 285390"/>
              <a:gd name="T49" fmla="*/ 582882 h 286653"/>
              <a:gd name="T50" fmla="*/ 741166 w 285390"/>
              <a:gd name="T51" fmla="*/ 561249 h 286653"/>
              <a:gd name="T52" fmla="*/ 768718 w 285390"/>
              <a:gd name="T53" fmla="*/ 479548 h 286653"/>
              <a:gd name="T54" fmla="*/ 769920 w 285390"/>
              <a:gd name="T55" fmla="*/ 459114 h 286653"/>
              <a:gd name="T56" fmla="*/ 762728 w 285390"/>
              <a:gd name="T57" fmla="*/ 383418 h 286653"/>
              <a:gd name="T58" fmla="*/ 762728 w 285390"/>
              <a:gd name="T59" fmla="*/ 353380 h 286653"/>
              <a:gd name="T60" fmla="*/ 748355 w 285390"/>
              <a:gd name="T61" fmla="*/ 269270 h 286653"/>
              <a:gd name="T62" fmla="*/ 536315 w 285390"/>
              <a:gd name="T63" fmla="*/ 263263 h 286653"/>
              <a:gd name="T64" fmla="*/ 544697 w 285390"/>
              <a:gd name="T65" fmla="*/ 137097 h 286653"/>
              <a:gd name="T66" fmla="*/ 476413 w 285390"/>
              <a:gd name="T67" fmla="*/ 113 h 286653"/>
              <a:gd name="T68" fmla="*/ 565062 w 285390"/>
              <a:gd name="T69" fmla="*/ 240428 h 286653"/>
              <a:gd name="T70" fmla="*/ 814243 w 285390"/>
              <a:gd name="T71" fmla="*/ 311327 h 286653"/>
              <a:gd name="T72" fmla="*/ 817837 w 285390"/>
              <a:gd name="T73" fmla="*/ 419466 h 286653"/>
              <a:gd name="T74" fmla="*/ 810649 w 285390"/>
              <a:gd name="T75" fmla="*/ 513192 h 286653"/>
              <a:gd name="T76" fmla="*/ 766322 w 285390"/>
              <a:gd name="T77" fmla="*/ 605710 h 286653"/>
              <a:gd name="T78" fmla="*/ 689653 w 285390"/>
              <a:gd name="T79" fmla="*/ 683815 h 286653"/>
              <a:gd name="T80" fmla="*/ 137381 w 285390"/>
              <a:gd name="T81" fmla="*/ 668193 h 286653"/>
              <a:gd name="T82" fmla="*/ 151769 w 285390"/>
              <a:gd name="T83" fmla="*/ 336560 h 286653"/>
              <a:gd name="T84" fmla="*/ 331456 w 285390"/>
              <a:gd name="T85" fmla="*/ 262057 h 286653"/>
              <a:gd name="T86" fmla="*/ 404537 w 285390"/>
              <a:gd name="T87" fmla="*/ 25345 h 286653"/>
              <a:gd name="T88" fmla="*/ 476413 w 285390"/>
              <a:gd name="T89" fmla="*/ 113 h 2866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5390" h="286653">
                <a:moveTo>
                  <a:pt x="66104" y="177476"/>
                </a:moveTo>
                <a:cubicBezTo>
                  <a:pt x="68771" y="177476"/>
                  <a:pt x="71057" y="179674"/>
                  <a:pt x="71057" y="182239"/>
                </a:cubicBezTo>
                <a:cubicBezTo>
                  <a:pt x="71057" y="184803"/>
                  <a:pt x="68771" y="186635"/>
                  <a:pt x="66104" y="186635"/>
                </a:cubicBezTo>
                <a:cubicBezTo>
                  <a:pt x="63818" y="186635"/>
                  <a:pt x="61913" y="184803"/>
                  <a:pt x="61913" y="182239"/>
                </a:cubicBezTo>
                <a:cubicBezTo>
                  <a:pt x="61913" y="179674"/>
                  <a:pt x="63818" y="177476"/>
                  <a:pt x="66104" y="177476"/>
                </a:cubicBezTo>
                <a:close/>
                <a:moveTo>
                  <a:pt x="49913" y="109064"/>
                </a:moveTo>
                <a:lnTo>
                  <a:pt x="49913" y="195498"/>
                </a:lnTo>
                <a:lnTo>
                  <a:pt x="83025" y="195498"/>
                </a:lnTo>
                <a:lnTo>
                  <a:pt x="83025" y="109064"/>
                </a:lnTo>
                <a:lnTo>
                  <a:pt x="49913" y="109064"/>
                </a:lnTo>
                <a:close/>
                <a:moveTo>
                  <a:pt x="4679" y="34601"/>
                </a:moveTo>
                <a:lnTo>
                  <a:pt x="92131" y="34601"/>
                </a:lnTo>
                <a:cubicBezTo>
                  <a:pt x="94650" y="34601"/>
                  <a:pt x="96450" y="36768"/>
                  <a:pt x="96450" y="38573"/>
                </a:cubicBezTo>
                <a:cubicBezTo>
                  <a:pt x="96450" y="41101"/>
                  <a:pt x="94650" y="43268"/>
                  <a:pt x="92131" y="43268"/>
                </a:cubicBezTo>
                <a:lnTo>
                  <a:pt x="8637" y="43268"/>
                </a:lnTo>
                <a:lnTo>
                  <a:pt x="8637" y="231404"/>
                </a:lnTo>
                <a:lnTo>
                  <a:pt x="50744" y="231404"/>
                </a:lnTo>
                <a:cubicBezTo>
                  <a:pt x="52903" y="231404"/>
                  <a:pt x="55063" y="233571"/>
                  <a:pt x="55063" y="236098"/>
                </a:cubicBezTo>
                <a:lnTo>
                  <a:pt x="55063" y="274376"/>
                </a:lnTo>
                <a:lnTo>
                  <a:pt x="129199" y="231765"/>
                </a:lnTo>
                <a:cubicBezTo>
                  <a:pt x="129919" y="231404"/>
                  <a:pt x="130639" y="231404"/>
                  <a:pt x="131719" y="231404"/>
                </a:cubicBezTo>
                <a:lnTo>
                  <a:pt x="277113" y="231404"/>
                </a:lnTo>
                <a:lnTo>
                  <a:pt x="277113" y="43268"/>
                </a:lnTo>
                <a:lnTo>
                  <a:pt x="198298" y="43268"/>
                </a:lnTo>
                <a:cubicBezTo>
                  <a:pt x="196138" y="43268"/>
                  <a:pt x="193979" y="41101"/>
                  <a:pt x="193979" y="38573"/>
                </a:cubicBezTo>
                <a:cubicBezTo>
                  <a:pt x="193979" y="36768"/>
                  <a:pt x="196138" y="34601"/>
                  <a:pt x="198298" y="34601"/>
                </a:cubicBezTo>
                <a:lnTo>
                  <a:pt x="281432" y="34601"/>
                </a:lnTo>
                <a:cubicBezTo>
                  <a:pt x="283951" y="34601"/>
                  <a:pt x="285390" y="36768"/>
                  <a:pt x="285390" y="38573"/>
                </a:cubicBezTo>
                <a:lnTo>
                  <a:pt x="285390" y="236098"/>
                </a:lnTo>
                <a:cubicBezTo>
                  <a:pt x="285390" y="237904"/>
                  <a:pt x="283951" y="240070"/>
                  <a:pt x="281432" y="240070"/>
                </a:cubicBezTo>
                <a:lnTo>
                  <a:pt x="132438" y="240070"/>
                </a:lnTo>
                <a:lnTo>
                  <a:pt x="52903" y="285931"/>
                </a:lnTo>
                <a:cubicBezTo>
                  <a:pt x="52184" y="286292"/>
                  <a:pt x="51464" y="286653"/>
                  <a:pt x="50744" y="286653"/>
                </a:cubicBezTo>
                <a:cubicBezTo>
                  <a:pt x="49664" y="286653"/>
                  <a:pt x="49305" y="286292"/>
                  <a:pt x="48585" y="285931"/>
                </a:cubicBezTo>
                <a:cubicBezTo>
                  <a:pt x="46785" y="285209"/>
                  <a:pt x="46066" y="283403"/>
                  <a:pt x="46066" y="282320"/>
                </a:cubicBezTo>
                <a:lnTo>
                  <a:pt x="46066" y="240070"/>
                </a:lnTo>
                <a:lnTo>
                  <a:pt x="4679" y="240070"/>
                </a:lnTo>
                <a:cubicBezTo>
                  <a:pt x="2159" y="240070"/>
                  <a:pt x="0" y="237904"/>
                  <a:pt x="0" y="236098"/>
                </a:cubicBezTo>
                <a:lnTo>
                  <a:pt x="0" y="38573"/>
                </a:lnTo>
                <a:cubicBezTo>
                  <a:pt x="0" y="36768"/>
                  <a:pt x="2159" y="34601"/>
                  <a:pt x="4679" y="34601"/>
                </a:cubicBezTo>
                <a:close/>
                <a:moveTo>
                  <a:pt x="142769" y="9001"/>
                </a:moveTo>
                <a:cubicBezTo>
                  <a:pt x="137011" y="8283"/>
                  <a:pt x="133052" y="9001"/>
                  <a:pt x="130892" y="9359"/>
                </a:cubicBezTo>
                <a:cubicBezTo>
                  <a:pt x="132692" y="17608"/>
                  <a:pt x="135931" y="37334"/>
                  <a:pt x="132692" y="45942"/>
                </a:cubicBezTo>
                <a:cubicBezTo>
                  <a:pt x="127653" y="60646"/>
                  <a:pt x="115776" y="73199"/>
                  <a:pt x="106059" y="83959"/>
                </a:cubicBezTo>
                <a:cubicBezTo>
                  <a:pt x="98861" y="92207"/>
                  <a:pt x="91662" y="99739"/>
                  <a:pt x="91662" y="104760"/>
                </a:cubicBezTo>
                <a:lnTo>
                  <a:pt x="91662" y="195498"/>
                </a:lnTo>
                <a:lnTo>
                  <a:pt x="207193" y="195498"/>
                </a:lnTo>
                <a:cubicBezTo>
                  <a:pt x="207553" y="195498"/>
                  <a:pt x="207553" y="195498"/>
                  <a:pt x="207553" y="195498"/>
                </a:cubicBezTo>
                <a:cubicBezTo>
                  <a:pt x="215831" y="194781"/>
                  <a:pt x="221949" y="188325"/>
                  <a:pt x="221949" y="180793"/>
                </a:cubicBezTo>
                <a:cubicBezTo>
                  <a:pt x="221949" y="178642"/>
                  <a:pt x="220870" y="176131"/>
                  <a:pt x="219790" y="173979"/>
                </a:cubicBezTo>
                <a:cubicBezTo>
                  <a:pt x="219070" y="172903"/>
                  <a:pt x="219070" y="171110"/>
                  <a:pt x="219790" y="170034"/>
                </a:cubicBezTo>
                <a:cubicBezTo>
                  <a:pt x="220150" y="168599"/>
                  <a:pt x="221589" y="167882"/>
                  <a:pt x="222669" y="167523"/>
                </a:cubicBezTo>
                <a:cubicBezTo>
                  <a:pt x="229507" y="165730"/>
                  <a:pt x="234906" y="160351"/>
                  <a:pt x="234906" y="153178"/>
                </a:cubicBezTo>
                <a:cubicBezTo>
                  <a:pt x="234906" y="149591"/>
                  <a:pt x="233106" y="146005"/>
                  <a:pt x="230947" y="143135"/>
                </a:cubicBezTo>
                <a:cubicBezTo>
                  <a:pt x="229507" y="142418"/>
                  <a:pt x="229147" y="140984"/>
                  <a:pt x="229507" y="139908"/>
                </a:cubicBezTo>
                <a:cubicBezTo>
                  <a:pt x="229507" y="138832"/>
                  <a:pt x="230227" y="137397"/>
                  <a:pt x="231307" y="137038"/>
                </a:cubicBezTo>
                <a:cubicBezTo>
                  <a:pt x="235266" y="133811"/>
                  <a:pt x="237425" y="129865"/>
                  <a:pt x="237425" y="125203"/>
                </a:cubicBezTo>
                <a:cubicBezTo>
                  <a:pt x="237425" y="117671"/>
                  <a:pt x="232387" y="114444"/>
                  <a:pt x="229147" y="114444"/>
                </a:cubicBezTo>
                <a:cubicBezTo>
                  <a:pt x="226628" y="114444"/>
                  <a:pt x="224829" y="112292"/>
                  <a:pt x="224829" y="109781"/>
                </a:cubicBezTo>
                <a:cubicBezTo>
                  <a:pt x="224829" y="107629"/>
                  <a:pt x="226628" y="105477"/>
                  <a:pt x="229147" y="105477"/>
                </a:cubicBezTo>
                <a:cubicBezTo>
                  <a:pt x="230947" y="105477"/>
                  <a:pt x="235626" y="102250"/>
                  <a:pt x="235626" y="92925"/>
                </a:cubicBezTo>
                <a:cubicBezTo>
                  <a:pt x="235626" y="85393"/>
                  <a:pt x="229867" y="80372"/>
                  <a:pt x="224829" y="80372"/>
                </a:cubicBezTo>
                <a:lnTo>
                  <a:pt x="164364" y="80372"/>
                </a:lnTo>
                <a:cubicBezTo>
                  <a:pt x="162924" y="80372"/>
                  <a:pt x="161485" y="80013"/>
                  <a:pt x="161125" y="78579"/>
                </a:cubicBezTo>
                <a:cubicBezTo>
                  <a:pt x="160045" y="77503"/>
                  <a:pt x="160045" y="76068"/>
                  <a:pt x="160405" y="74634"/>
                </a:cubicBezTo>
                <a:cubicBezTo>
                  <a:pt x="161485" y="69971"/>
                  <a:pt x="164724" y="56701"/>
                  <a:pt x="163644" y="40921"/>
                </a:cubicBezTo>
                <a:cubicBezTo>
                  <a:pt x="161485" y="22629"/>
                  <a:pt x="152847" y="9359"/>
                  <a:pt x="142769" y="9001"/>
                </a:cubicBezTo>
                <a:close/>
                <a:moveTo>
                  <a:pt x="143129" y="34"/>
                </a:moveTo>
                <a:cubicBezTo>
                  <a:pt x="157886" y="752"/>
                  <a:pt x="169763" y="16891"/>
                  <a:pt x="172282" y="40203"/>
                </a:cubicBezTo>
                <a:cubicBezTo>
                  <a:pt x="173362" y="53115"/>
                  <a:pt x="171562" y="64592"/>
                  <a:pt x="169763" y="71764"/>
                </a:cubicBezTo>
                <a:lnTo>
                  <a:pt x="224829" y="71764"/>
                </a:lnTo>
                <a:cubicBezTo>
                  <a:pt x="235266" y="71764"/>
                  <a:pt x="244623" y="81448"/>
                  <a:pt x="244623" y="92925"/>
                </a:cubicBezTo>
                <a:cubicBezTo>
                  <a:pt x="244623" y="100098"/>
                  <a:pt x="242104" y="105477"/>
                  <a:pt x="238865" y="109064"/>
                </a:cubicBezTo>
                <a:cubicBezTo>
                  <a:pt x="243184" y="112650"/>
                  <a:pt x="245703" y="118030"/>
                  <a:pt x="245703" y="125203"/>
                </a:cubicBezTo>
                <a:cubicBezTo>
                  <a:pt x="245703" y="130941"/>
                  <a:pt x="243904" y="136680"/>
                  <a:pt x="239585" y="140984"/>
                </a:cubicBezTo>
                <a:cubicBezTo>
                  <a:pt x="242104" y="144570"/>
                  <a:pt x="243544" y="148874"/>
                  <a:pt x="243544" y="153178"/>
                </a:cubicBezTo>
                <a:cubicBezTo>
                  <a:pt x="243544" y="162144"/>
                  <a:pt x="237785" y="170751"/>
                  <a:pt x="229507" y="174338"/>
                </a:cubicBezTo>
                <a:cubicBezTo>
                  <a:pt x="229867" y="176490"/>
                  <a:pt x="230227" y="178642"/>
                  <a:pt x="230227" y="180793"/>
                </a:cubicBezTo>
                <a:cubicBezTo>
                  <a:pt x="230227" y="192988"/>
                  <a:pt x="220870" y="202671"/>
                  <a:pt x="208633" y="203747"/>
                </a:cubicBezTo>
                <a:cubicBezTo>
                  <a:pt x="208273" y="204106"/>
                  <a:pt x="207553" y="204106"/>
                  <a:pt x="207193" y="204106"/>
                </a:cubicBezTo>
                <a:lnTo>
                  <a:pt x="45594" y="204106"/>
                </a:lnTo>
                <a:cubicBezTo>
                  <a:pt x="43075" y="204106"/>
                  <a:pt x="41275" y="201954"/>
                  <a:pt x="41275" y="199443"/>
                </a:cubicBezTo>
                <a:lnTo>
                  <a:pt x="41275" y="104760"/>
                </a:lnTo>
                <a:cubicBezTo>
                  <a:pt x="41275" y="102250"/>
                  <a:pt x="43075" y="100456"/>
                  <a:pt x="45594" y="100456"/>
                </a:cubicBezTo>
                <a:lnTo>
                  <a:pt x="83384" y="100456"/>
                </a:lnTo>
                <a:cubicBezTo>
                  <a:pt x="85544" y="93642"/>
                  <a:pt x="92022" y="86828"/>
                  <a:pt x="99580" y="78220"/>
                </a:cubicBezTo>
                <a:cubicBezTo>
                  <a:pt x="109298" y="67819"/>
                  <a:pt x="120095" y="55984"/>
                  <a:pt x="124414" y="42355"/>
                </a:cubicBezTo>
                <a:cubicBezTo>
                  <a:pt x="126933" y="36976"/>
                  <a:pt x="124054" y="17608"/>
                  <a:pt x="121535" y="7566"/>
                </a:cubicBezTo>
                <a:cubicBezTo>
                  <a:pt x="121175" y="5773"/>
                  <a:pt x="122614" y="3621"/>
                  <a:pt x="123694" y="2904"/>
                </a:cubicBezTo>
                <a:cubicBezTo>
                  <a:pt x="124414" y="2186"/>
                  <a:pt x="129813" y="-324"/>
                  <a:pt x="143129" y="34"/>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43" name="Freeform 1061">
            <a:extLst>
              <a:ext uri="{FF2B5EF4-FFF2-40B4-BE49-F238E27FC236}">
                <a16:creationId xmlns:a16="http://schemas.microsoft.com/office/drawing/2014/main" id="{EAA78937-312E-224A-8715-E0CB973D1D2B}"/>
              </a:ext>
            </a:extLst>
          </p:cNvPr>
          <p:cNvSpPr>
            <a:spLocks noChangeAspect="1" noChangeArrowheads="1"/>
          </p:cNvSpPr>
          <p:nvPr/>
        </p:nvSpPr>
        <p:spPr bwMode="auto">
          <a:xfrm>
            <a:off x="5742955" y="5708860"/>
            <a:ext cx="468508" cy="465703"/>
          </a:xfrm>
          <a:custGeom>
            <a:avLst/>
            <a:gdLst>
              <a:gd name="T0" fmla="*/ 47952 w 291074"/>
              <a:gd name="T1" fmla="*/ 912671 h 290436"/>
              <a:gd name="T2" fmla="*/ 881642 w 291074"/>
              <a:gd name="T3" fmla="*/ 796277 h 290436"/>
              <a:gd name="T4" fmla="*/ 956177 w 291074"/>
              <a:gd name="T5" fmla="*/ 871156 h 290436"/>
              <a:gd name="T6" fmla="*/ 746367 w 291074"/>
              <a:gd name="T7" fmla="*/ 803554 h 290436"/>
              <a:gd name="T8" fmla="*/ 835934 w 291074"/>
              <a:gd name="T9" fmla="*/ 778643 h 290436"/>
              <a:gd name="T10" fmla="*/ 154701 w 291074"/>
              <a:gd name="T11" fmla="*/ 771519 h 290436"/>
              <a:gd name="T12" fmla="*/ 195193 w 291074"/>
              <a:gd name="T13" fmla="*/ 809473 h 290436"/>
              <a:gd name="T14" fmla="*/ 842071 w 291074"/>
              <a:gd name="T15" fmla="*/ 572237 h 290436"/>
              <a:gd name="T16" fmla="*/ 858019 w 291074"/>
              <a:gd name="T17" fmla="*/ 758470 h 290436"/>
              <a:gd name="T18" fmla="*/ 958634 w 291074"/>
              <a:gd name="T19" fmla="*/ 932839 h 290436"/>
              <a:gd name="T20" fmla="*/ 779493 w 291074"/>
              <a:gd name="T21" fmla="*/ 835568 h 290436"/>
              <a:gd name="T22" fmla="*/ 616305 w 291074"/>
              <a:gd name="T23" fmla="*/ 848614 h 290436"/>
              <a:gd name="T24" fmla="*/ 637167 w 291074"/>
              <a:gd name="T25" fmla="*/ 827279 h 290436"/>
              <a:gd name="T26" fmla="*/ 858019 w 291074"/>
              <a:gd name="T27" fmla="*/ 674254 h 290436"/>
              <a:gd name="T28" fmla="*/ 143662 w 291074"/>
              <a:gd name="T29" fmla="*/ 572237 h 290436"/>
              <a:gd name="T30" fmla="*/ 126484 w 291074"/>
              <a:gd name="T31" fmla="*/ 674254 h 290436"/>
              <a:gd name="T32" fmla="*/ 349794 w 291074"/>
              <a:gd name="T33" fmla="*/ 827279 h 290436"/>
              <a:gd name="T34" fmla="*/ 370653 w 291074"/>
              <a:gd name="T35" fmla="*/ 848614 h 290436"/>
              <a:gd name="T36" fmla="*/ 207462 w 291074"/>
              <a:gd name="T37" fmla="*/ 835568 h 290436"/>
              <a:gd name="T38" fmla="*/ 27093 w 291074"/>
              <a:gd name="T39" fmla="*/ 932839 h 290436"/>
              <a:gd name="T40" fmla="*/ 122801 w 291074"/>
              <a:gd name="T41" fmla="*/ 769147 h 290436"/>
              <a:gd name="T42" fmla="*/ 115436 w 291074"/>
              <a:gd name="T43" fmla="*/ 599523 h 290436"/>
              <a:gd name="T44" fmla="*/ 777854 w 291074"/>
              <a:gd name="T45" fmla="*/ 495567 h 290436"/>
              <a:gd name="T46" fmla="*/ 678198 w 291074"/>
              <a:gd name="T47" fmla="*/ 693199 h 290436"/>
              <a:gd name="T48" fmla="*/ 306321 w 291074"/>
              <a:gd name="T49" fmla="*/ 693199 h 290436"/>
              <a:gd name="T50" fmla="*/ 206671 w 291074"/>
              <a:gd name="T51" fmla="*/ 495567 h 290436"/>
              <a:gd name="T52" fmla="*/ 700080 w 291074"/>
              <a:gd name="T53" fmla="*/ 289656 h 290436"/>
              <a:gd name="T54" fmla="*/ 284447 w 291074"/>
              <a:gd name="T55" fmla="*/ 289656 h 290436"/>
              <a:gd name="T56" fmla="*/ 506846 w 291074"/>
              <a:gd name="T57" fmla="*/ 203267 h 290436"/>
              <a:gd name="T58" fmla="*/ 506846 w 291074"/>
              <a:gd name="T59" fmla="*/ 203267 h 290436"/>
              <a:gd name="T60" fmla="*/ 477680 w 291074"/>
              <a:gd name="T61" fmla="*/ 467174 h 290436"/>
              <a:gd name="T62" fmla="*/ 492263 w 291074"/>
              <a:gd name="T63" fmla="*/ 790239 h 290436"/>
              <a:gd name="T64" fmla="*/ 791609 w 291074"/>
              <a:gd name="T65" fmla="*/ 150838 h 290436"/>
              <a:gd name="T66" fmla="*/ 834265 w 291074"/>
              <a:gd name="T67" fmla="*/ 180592 h 290436"/>
              <a:gd name="T68" fmla="*/ 169423 w 291074"/>
              <a:gd name="T69" fmla="*/ 165507 h 290436"/>
              <a:gd name="T70" fmla="*/ 239366 w 291074"/>
              <a:gd name="T71" fmla="*/ 155965 h 290436"/>
              <a:gd name="T72" fmla="*/ 840362 w 291074"/>
              <a:gd name="T73" fmla="*/ 55649 h 290436"/>
              <a:gd name="T74" fmla="*/ 935447 w 291074"/>
              <a:gd name="T75" fmla="*/ 47334 h 290436"/>
              <a:gd name="T76" fmla="*/ 47952 w 291074"/>
              <a:gd name="T77" fmla="*/ 46124 h 290436"/>
              <a:gd name="T78" fmla="*/ 142428 w 291074"/>
              <a:gd name="T79" fmla="*/ 54466 h 290436"/>
              <a:gd name="T80" fmla="*/ 948856 w 291074"/>
              <a:gd name="T81" fmla="*/ 160364 h 290436"/>
              <a:gd name="T82" fmla="*/ 857425 w 291074"/>
              <a:gd name="T83" fmla="*/ 237697 h 290436"/>
              <a:gd name="T84" fmla="*/ 829387 w 291074"/>
              <a:gd name="T85" fmla="*/ 392369 h 290436"/>
              <a:gd name="T86" fmla="*/ 856207 w 291074"/>
              <a:gd name="T87" fmla="*/ 287666 h 290436"/>
              <a:gd name="T88" fmla="*/ 636788 w 291074"/>
              <a:gd name="T89" fmla="*/ 133000 h 290436"/>
              <a:gd name="T90" fmla="*/ 585593 w 291074"/>
              <a:gd name="T91" fmla="*/ 140128 h 290436"/>
              <a:gd name="T92" fmla="*/ 778192 w 291074"/>
              <a:gd name="T93" fmla="*/ 124667 h 290436"/>
              <a:gd name="T94" fmla="*/ 891559 w 291074"/>
              <a:gd name="T95" fmla="*/ 929 h 290436"/>
              <a:gd name="T96" fmla="*/ 206234 w 291074"/>
              <a:gd name="T97" fmla="*/ 123725 h 290436"/>
              <a:gd name="T98" fmla="*/ 398874 w 291074"/>
              <a:gd name="T99" fmla="*/ 139243 h 290436"/>
              <a:gd name="T100" fmla="*/ 349794 w 291074"/>
              <a:gd name="T101" fmla="*/ 132082 h 290436"/>
              <a:gd name="T102" fmla="*/ 126484 w 291074"/>
              <a:gd name="T103" fmla="*/ 287296 h 290436"/>
              <a:gd name="T104" fmla="*/ 154701 w 291074"/>
              <a:gd name="T105" fmla="*/ 392368 h 290436"/>
              <a:gd name="T106" fmla="*/ 126484 w 291074"/>
              <a:gd name="T107" fmla="*/ 237149 h 290436"/>
              <a:gd name="T108" fmla="*/ 34458 w 291074"/>
              <a:gd name="T109" fmla="*/ 159547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46" name="TextBox 45">
            <a:extLst>
              <a:ext uri="{FF2B5EF4-FFF2-40B4-BE49-F238E27FC236}">
                <a16:creationId xmlns:a16="http://schemas.microsoft.com/office/drawing/2014/main" id="{FAD418B3-3B75-D642-B73F-37DA6C91C093}"/>
              </a:ext>
            </a:extLst>
          </p:cNvPr>
          <p:cNvSpPr txBox="1"/>
          <p:nvPr/>
        </p:nvSpPr>
        <p:spPr>
          <a:xfrm>
            <a:off x="6316983" y="3575633"/>
            <a:ext cx="1828208" cy="584775"/>
          </a:xfrm>
          <a:prstGeom prst="rect">
            <a:avLst/>
          </a:prstGeom>
          <a:noFill/>
        </p:spPr>
        <p:txBody>
          <a:bodyPr wrap="square" lIns="45720"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You got 44,514 likes on Facebook</a:t>
            </a:r>
          </a:p>
        </p:txBody>
      </p:sp>
      <p:sp>
        <p:nvSpPr>
          <p:cNvPr id="47" name="TextBox 46">
            <a:extLst>
              <a:ext uri="{FF2B5EF4-FFF2-40B4-BE49-F238E27FC236}">
                <a16:creationId xmlns:a16="http://schemas.microsoft.com/office/drawing/2014/main" id="{68818D5A-24CC-0140-9D38-B143FED3510C}"/>
              </a:ext>
            </a:extLst>
          </p:cNvPr>
          <p:cNvSpPr txBox="1"/>
          <p:nvPr/>
        </p:nvSpPr>
        <p:spPr>
          <a:xfrm>
            <a:off x="6316983" y="4614860"/>
            <a:ext cx="1828208" cy="584775"/>
          </a:xfrm>
          <a:prstGeom prst="rect">
            <a:avLst/>
          </a:prstGeom>
          <a:noFill/>
        </p:spPr>
        <p:txBody>
          <a:bodyPr wrap="square" lIns="45720"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Payment method was approved</a:t>
            </a:r>
          </a:p>
        </p:txBody>
      </p:sp>
      <p:sp>
        <p:nvSpPr>
          <p:cNvPr id="48" name="TextBox 47">
            <a:extLst>
              <a:ext uri="{FF2B5EF4-FFF2-40B4-BE49-F238E27FC236}">
                <a16:creationId xmlns:a16="http://schemas.microsoft.com/office/drawing/2014/main" id="{EC2228E6-DDDB-9441-9E31-7A9C476F04B7}"/>
              </a:ext>
            </a:extLst>
          </p:cNvPr>
          <p:cNvSpPr txBox="1"/>
          <p:nvPr/>
        </p:nvSpPr>
        <p:spPr>
          <a:xfrm>
            <a:off x="6316983" y="5649324"/>
            <a:ext cx="1828208" cy="584775"/>
          </a:xfrm>
          <a:prstGeom prst="rect">
            <a:avLst/>
          </a:prstGeom>
          <a:noFill/>
        </p:spPr>
        <p:txBody>
          <a:bodyPr wrap="square" lIns="45720"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Meeting with client @ 10:00 AM</a:t>
            </a:r>
          </a:p>
        </p:txBody>
      </p:sp>
      <p:pic>
        <p:nvPicPr>
          <p:cNvPr id="72" name="Picture 2" descr="Concours Agence du Développement Digital ADD (5 Postes) - Dreamjob.ma">
            <a:extLst>
              <a:ext uri="{FF2B5EF4-FFF2-40B4-BE49-F238E27FC236}">
                <a16:creationId xmlns:a16="http://schemas.microsoft.com/office/drawing/2014/main" id="{E5AF1563-CE0C-4278-AB13-1D57724164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3975" y="294639"/>
            <a:ext cx="965645" cy="506963"/>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636BEC21-6421-7C8D-C833-30065BC47C95}"/>
              </a:ext>
            </a:extLst>
          </p:cNvPr>
          <p:cNvSpPr txBox="1"/>
          <p:nvPr/>
        </p:nvSpPr>
        <p:spPr>
          <a:xfrm>
            <a:off x="223446" y="876588"/>
            <a:ext cx="3768689" cy="5078313"/>
          </a:xfrm>
          <a:prstGeom prst="rect">
            <a:avLst/>
          </a:prstGeom>
          <a:noFill/>
        </p:spPr>
        <p:txBody>
          <a:bodyPr wrap="square" rtlCol="0">
            <a:spAutoFit/>
          </a:bodyPr>
          <a:lstStyle/>
          <a:p>
            <a:pPr marL="180975" marR="0" lvl="3" indent="0" algn="just" defTabSz="914400" rtl="0" eaLnBrk="1" fontAlgn="auto" latinLnBrk="0" hangingPunct="1">
              <a:lnSpc>
                <a:spcPct val="100000"/>
              </a:lnSpc>
              <a:spcBef>
                <a:spcPts val="0"/>
              </a:spcBef>
              <a:spcAft>
                <a:spcPts val="0"/>
              </a:spcAft>
              <a:buClrTx/>
              <a:buSzPct val="150000"/>
              <a:buFontTx/>
              <a:buNone/>
              <a:tabLst/>
              <a:defRPr/>
            </a:pPr>
            <a:r>
              <a:rPr lang="fr-FR" b="1" dirty="0">
                <a:solidFill>
                  <a:srgbClr val="7030A0"/>
                </a:solidFill>
                <a:latin typeface="Arial Nova Light"/>
                <a:ea typeface="ＭＳ Ｐゴシック"/>
                <a:sym typeface="+mn-lt"/>
              </a:rPr>
              <a:t>Fonctionnalités du portail Data.gov.ma:</a:t>
            </a:r>
          </a:p>
          <a:p>
            <a:pPr marL="180975" marR="0" lvl="3" indent="0" algn="just" defTabSz="914400" rtl="0" eaLnBrk="1" fontAlgn="auto" latinLnBrk="0" hangingPunct="1">
              <a:lnSpc>
                <a:spcPct val="100000"/>
              </a:lnSpc>
              <a:spcBef>
                <a:spcPts val="0"/>
              </a:spcBef>
              <a:spcAft>
                <a:spcPts val="0"/>
              </a:spcAft>
              <a:buClrTx/>
              <a:buSzPct val="150000"/>
              <a:buFontTx/>
              <a:buNone/>
              <a:tabLst/>
              <a:defRPr/>
            </a:pPr>
            <a:endParaRPr lang="fr-FR" b="1" dirty="0">
              <a:solidFill>
                <a:srgbClr val="7030A0"/>
              </a:solidFill>
              <a:latin typeface="Arial Nova Light"/>
              <a:ea typeface="ＭＳ Ｐゴシック"/>
              <a:sym typeface="+mn-lt"/>
            </a:endParaRPr>
          </a:p>
          <a:p>
            <a:pPr marL="542925" marR="0" lvl="3" indent="530225" algn="just" defTabSz="914400" rtl="0" eaLnBrk="1" fontAlgn="auto" latinLnBrk="0" hangingPunct="1">
              <a:lnSpc>
                <a:spcPct val="100000"/>
              </a:lnSpc>
              <a:spcBef>
                <a:spcPts val="0"/>
              </a:spcBef>
              <a:spcAft>
                <a:spcPts val="0"/>
              </a:spcAft>
              <a:buClrTx/>
              <a:buSzPct val="150000"/>
              <a:buFont typeface="Courier New" panose="02070309020205020404" pitchFamily="49" charset="0"/>
              <a:buChar char="o"/>
              <a:tabLst/>
              <a:defRPr/>
            </a:pPr>
            <a:r>
              <a:rPr lang="fr-FR" dirty="0">
                <a:solidFill>
                  <a:srgbClr val="333333"/>
                </a:solidFill>
                <a:latin typeface="Arial Nova Light"/>
                <a:ea typeface="ＭＳ Ｐゴシック"/>
                <a:sym typeface="+mn-lt"/>
              </a:rPr>
              <a:t>Structuration des données par thèmes et producteurs.</a:t>
            </a:r>
          </a:p>
          <a:p>
            <a:pPr marL="542925" marR="0" lvl="3" algn="just" defTabSz="914400" rtl="0" eaLnBrk="1" fontAlgn="auto" latinLnBrk="0" hangingPunct="1">
              <a:lnSpc>
                <a:spcPct val="100000"/>
              </a:lnSpc>
              <a:spcBef>
                <a:spcPts val="0"/>
              </a:spcBef>
              <a:spcAft>
                <a:spcPts val="0"/>
              </a:spcAft>
              <a:buClrTx/>
              <a:buSzPct val="150000"/>
              <a:tabLst/>
              <a:defRPr/>
            </a:pPr>
            <a:endParaRPr lang="fr-FR" dirty="0">
              <a:solidFill>
                <a:srgbClr val="333333"/>
              </a:solidFill>
              <a:latin typeface="Arial Nova Light"/>
              <a:ea typeface="ＭＳ Ｐゴシック"/>
              <a:sym typeface="+mn-lt"/>
            </a:endParaRPr>
          </a:p>
          <a:p>
            <a:pPr marL="542925" marR="0" lvl="3" indent="530225" algn="just" defTabSz="914400" rtl="0" eaLnBrk="1" fontAlgn="auto" latinLnBrk="0" hangingPunct="1">
              <a:lnSpc>
                <a:spcPct val="100000"/>
              </a:lnSpc>
              <a:spcBef>
                <a:spcPts val="0"/>
              </a:spcBef>
              <a:spcAft>
                <a:spcPts val="0"/>
              </a:spcAft>
              <a:buClrTx/>
              <a:buSzPct val="150000"/>
              <a:buFont typeface="Courier New" panose="02070309020205020404" pitchFamily="49" charset="0"/>
              <a:buChar char="o"/>
              <a:tabLst/>
              <a:defRPr/>
            </a:pPr>
            <a:r>
              <a:rPr lang="fr-FR" dirty="0">
                <a:solidFill>
                  <a:srgbClr val="333333"/>
                </a:solidFill>
                <a:latin typeface="Arial Nova Light"/>
                <a:ea typeface="ＭＳ Ｐゴシック"/>
                <a:sym typeface="+mn-lt"/>
              </a:rPr>
              <a:t>Recherche avancée</a:t>
            </a:r>
          </a:p>
          <a:p>
            <a:pPr marL="542925" marR="0" lvl="3" algn="just" defTabSz="914400" rtl="0" eaLnBrk="1" fontAlgn="auto" latinLnBrk="0" hangingPunct="1">
              <a:lnSpc>
                <a:spcPct val="100000"/>
              </a:lnSpc>
              <a:spcBef>
                <a:spcPts val="0"/>
              </a:spcBef>
              <a:spcAft>
                <a:spcPts val="0"/>
              </a:spcAft>
              <a:buClrTx/>
              <a:buSzPct val="150000"/>
              <a:tabLst/>
              <a:defRPr/>
            </a:pPr>
            <a:endParaRPr lang="fr-FR" dirty="0">
              <a:solidFill>
                <a:srgbClr val="333333"/>
              </a:solidFill>
              <a:latin typeface="Arial Nova Light"/>
              <a:ea typeface="ＭＳ Ｐゴシック"/>
              <a:sym typeface="+mn-lt"/>
            </a:endParaRPr>
          </a:p>
          <a:p>
            <a:pPr marL="542925" marR="0" lvl="3" indent="530225" algn="just" defTabSz="914400" rtl="0" eaLnBrk="1" fontAlgn="auto" latinLnBrk="0" hangingPunct="1">
              <a:lnSpc>
                <a:spcPct val="100000"/>
              </a:lnSpc>
              <a:spcBef>
                <a:spcPts val="0"/>
              </a:spcBef>
              <a:spcAft>
                <a:spcPts val="0"/>
              </a:spcAft>
              <a:buClrTx/>
              <a:buSzPct val="150000"/>
              <a:buFont typeface="Courier New" panose="02070309020205020404" pitchFamily="49" charset="0"/>
              <a:buChar char="o"/>
              <a:tabLst/>
              <a:defRPr/>
            </a:pPr>
            <a:r>
              <a:rPr lang="fr-FR" dirty="0">
                <a:solidFill>
                  <a:srgbClr val="333333"/>
                </a:solidFill>
                <a:latin typeface="Arial Nova Light"/>
                <a:ea typeface="ＭＳ Ｐゴシック"/>
                <a:sym typeface="+mn-lt"/>
              </a:rPr>
              <a:t>Représentation graphique des données</a:t>
            </a:r>
          </a:p>
          <a:p>
            <a:pPr marL="542925" marR="0" lvl="3" algn="just" defTabSz="914400" rtl="0" eaLnBrk="1" fontAlgn="auto" latinLnBrk="0" hangingPunct="1">
              <a:lnSpc>
                <a:spcPct val="100000"/>
              </a:lnSpc>
              <a:spcBef>
                <a:spcPts val="0"/>
              </a:spcBef>
              <a:spcAft>
                <a:spcPts val="0"/>
              </a:spcAft>
              <a:buClrTx/>
              <a:buSzPct val="150000"/>
              <a:tabLst/>
              <a:defRPr/>
            </a:pPr>
            <a:endParaRPr lang="fr-FR" dirty="0">
              <a:solidFill>
                <a:srgbClr val="333333"/>
              </a:solidFill>
              <a:latin typeface="Arial Nova Light"/>
              <a:ea typeface="ＭＳ Ｐゴシック"/>
              <a:sym typeface="+mn-lt"/>
            </a:endParaRPr>
          </a:p>
          <a:p>
            <a:pPr marL="542925" marR="0" lvl="3" indent="530225" algn="just" defTabSz="914400" rtl="0" eaLnBrk="1" fontAlgn="auto" latinLnBrk="0" hangingPunct="1">
              <a:lnSpc>
                <a:spcPct val="100000"/>
              </a:lnSpc>
              <a:spcBef>
                <a:spcPts val="0"/>
              </a:spcBef>
              <a:spcAft>
                <a:spcPts val="0"/>
              </a:spcAft>
              <a:buClrTx/>
              <a:buSzPct val="150000"/>
              <a:buFont typeface="Courier New" panose="02070309020205020404" pitchFamily="49" charset="0"/>
              <a:buChar char="o"/>
              <a:tabLst/>
              <a:defRPr/>
            </a:pPr>
            <a:r>
              <a:rPr lang="fr-FR" dirty="0">
                <a:solidFill>
                  <a:srgbClr val="333333"/>
                </a:solidFill>
                <a:latin typeface="Arial Nova Light"/>
                <a:ea typeface="ＭＳ Ｐゴシック"/>
                <a:sym typeface="+mn-lt"/>
              </a:rPr>
              <a:t>Interfaçage en APIs</a:t>
            </a:r>
          </a:p>
          <a:p>
            <a:pPr marL="542925" marR="0" lvl="3" algn="just" defTabSz="914400" rtl="0" eaLnBrk="1" fontAlgn="auto" latinLnBrk="0" hangingPunct="1">
              <a:lnSpc>
                <a:spcPct val="100000"/>
              </a:lnSpc>
              <a:spcBef>
                <a:spcPts val="0"/>
              </a:spcBef>
              <a:spcAft>
                <a:spcPts val="0"/>
              </a:spcAft>
              <a:buClrTx/>
              <a:buSzPct val="150000"/>
              <a:tabLst/>
              <a:defRPr/>
            </a:pPr>
            <a:endParaRPr lang="fr-FR" dirty="0">
              <a:solidFill>
                <a:srgbClr val="333333"/>
              </a:solidFill>
              <a:latin typeface="Arial Nova Light"/>
              <a:ea typeface="ＭＳ Ｐゴシック"/>
              <a:sym typeface="+mn-lt"/>
            </a:endParaRPr>
          </a:p>
          <a:p>
            <a:pPr marL="542925" marR="0" lvl="3" indent="530225" algn="just" defTabSz="914400" rtl="0" eaLnBrk="1" fontAlgn="auto" latinLnBrk="0" hangingPunct="1">
              <a:lnSpc>
                <a:spcPct val="100000"/>
              </a:lnSpc>
              <a:spcBef>
                <a:spcPts val="0"/>
              </a:spcBef>
              <a:spcAft>
                <a:spcPts val="0"/>
              </a:spcAft>
              <a:buClrTx/>
              <a:buSzPct val="150000"/>
              <a:buFont typeface="Courier New" panose="02070309020205020404" pitchFamily="49" charset="0"/>
              <a:buChar char="o"/>
              <a:tabLst/>
              <a:defRPr/>
            </a:pPr>
            <a:r>
              <a:rPr lang="fr-MA" dirty="0">
                <a:solidFill>
                  <a:srgbClr val="333333"/>
                </a:solidFill>
                <a:latin typeface="Arial Nova Light"/>
                <a:ea typeface="ＭＳ Ｐゴシック"/>
                <a:sym typeface="+mn-lt"/>
              </a:rPr>
              <a:t>Module d’e-participation pour permettre aux utilisateurs d’exprimer leurs besoins en Open Data</a:t>
            </a:r>
            <a:endParaRPr lang="fr-FR" dirty="0">
              <a:solidFill>
                <a:srgbClr val="333333"/>
              </a:solidFill>
              <a:latin typeface="Arial Nova Light"/>
              <a:ea typeface="ＭＳ Ｐゴシック"/>
              <a:sym typeface="+mn-lt"/>
            </a:endParaRPr>
          </a:p>
        </p:txBody>
      </p:sp>
      <p:pic>
        <p:nvPicPr>
          <p:cNvPr id="13" name="Image 12">
            <a:extLst>
              <a:ext uri="{FF2B5EF4-FFF2-40B4-BE49-F238E27FC236}">
                <a16:creationId xmlns:a16="http://schemas.microsoft.com/office/drawing/2014/main" id="{45C1E682-7C6C-542A-A0BA-0F1BFBA4933A}"/>
              </a:ext>
            </a:extLst>
          </p:cNvPr>
          <p:cNvPicPr>
            <a:picLocks noChangeAspect="1"/>
          </p:cNvPicPr>
          <p:nvPr/>
        </p:nvPicPr>
        <p:blipFill>
          <a:blip r:embed="rId4"/>
          <a:stretch>
            <a:fillRect/>
          </a:stretch>
        </p:blipFill>
        <p:spPr>
          <a:xfrm>
            <a:off x="4582132" y="775508"/>
            <a:ext cx="4087420" cy="5977659"/>
          </a:xfrm>
          <a:prstGeom prst="rect">
            <a:avLst/>
          </a:prstGeom>
        </p:spPr>
      </p:pic>
      <p:sp>
        <p:nvSpPr>
          <p:cNvPr id="15" name="Rectangle 14">
            <a:extLst>
              <a:ext uri="{FF2B5EF4-FFF2-40B4-BE49-F238E27FC236}">
                <a16:creationId xmlns:a16="http://schemas.microsoft.com/office/drawing/2014/main" id="{79A49069-0C85-1481-12C8-F01603366C73}"/>
              </a:ext>
            </a:extLst>
          </p:cNvPr>
          <p:cNvSpPr/>
          <p:nvPr/>
        </p:nvSpPr>
        <p:spPr>
          <a:xfrm>
            <a:off x="9103671" y="545393"/>
            <a:ext cx="2640135" cy="1052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6" name="Rectangle 15">
            <a:extLst>
              <a:ext uri="{FF2B5EF4-FFF2-40B4-BE49-F238E27FC236}">
                <a16:creationId xmlns:a16="http://schemas.microsoft.com/office/drawing/2014/main" id="{80ECB6CF-AD36-319C-CFDB-0EB7BBEF2F61}"/>
              </a:ext>
            </a:extLst>
          </p:cNvPr>
          <p:cNvSpPr/>
          <p:nvPr/>
        </p:nvSpPr>
        <p:spPr>
          <a:xfrm>
            <a:off x="9084878" y="1777632"/>
            <a:ext cx="2650817" cy="1052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F1E209F9-841E-BC9F-1073-4776D4CCE62E}"/>
              </a:ext>
            </a:extLst>
          </p:cNvPr>
          <p:cNvSpPr/>
          <p:nvPr/>
        </p:nvSpPr>
        <p:spPr>
          <a:xfrm>
            <a:off x="9071506" y="2984148"/>
            <a:ext cx="2659349" cy="10502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8" name="TextBox 10">
            <a:extLst>
              <a:ext uri="{FF2B5EF4-FFF2-40B4-BE49-F238E27FC236}">
                <a16:creationId xmlns:a16="http://schemas.microsoft.com/office/drawing/2014/main" id="{6A476057-89FE-DF72-4A58-FCD1ED60BFC6}"/>
              </a:ext>
            </a:extLst>
          </p:cNvPr>
          <p:cNvSpPr txBox="1"/>
          <p:nvPr/>
        </p:nvSpPr>
        <p:spPr>
          <a:xfrm>
            <a:off x="10203329" y="664388"/>
            <a:ext cx="569387" cy="553998"/>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402</a:t>
            </a:r>
          </a:p>
        </p:txBody>
      </p:sp>
      <p:sp>
        <p:nvSpPr>
          <p:cNvPr id="19" name="TextBox 11">
            <a:extLst>
              <a:ext uri="{FF2B5EF4-FFF2-40B4-BE49-F238E27FC236}">
                <a16:creationId xmlns:a16="http://schemas.microsoft.com/office/drawing/2014/main" id="{A44320F1-88D2-8770-270B-8BD14F01F37D}"/>
              </a:ext>
            </a:extLst>
          </p:cNvPr>
          <p:cNvSpPr txBox="1"/>
          <p:nvPr/>
        </p:nvSpPr>
        <p:spPr>
          <a:xfrm>
            <a:off x="9806756" y="1082419"/>
            <a:ext cx="1626086" cy="323165"/>
          </a:xfrm>
          <a:prstGeom prst="rect">
            <a:avLst/>
          </a:prstGeom>
          <a:noFill/>
        </p:spPr>
        <p:txBody>
          <a:bodyPr wrap="none" lIns="45720" rtlCol="0" anchor="t" anchorCtr="0">
            <a:spAutoFit/>
          </a:bodyPr>
          <a:lstStyle/>
          <a:p>
            <a:pPr marL="0" marR="0" lvl="0" indent="0" algn="l" defTabSz="914217" rtl="0" eaLnBrk="1" fontAlgn="auto" latinLnBrk="0" hangingPunct="1">
              <a:lnSpc>
                <a:spcPts val="175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Jeux de </a:t>
            </a:r>
            <a:r>
              <a:rPr kumimoji="0" lang="en-US" sz="1600" b="0" i="0" u="none" strike="noStrike" kern="1200" cap="none" spc="0" normalizeH="0" baseline="0" noProof="0" dirty="0" err="1">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données</a:t>
            </a:r>
            <a:endPar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0" name="Freeform 950">
            <a:extLst>
              <a:ext uri="{FF2B5EF4-FFF2-40B4-BE49-F238E27FC236}">
                <a16:creationId xmlns:a16="http://schemas.microsoft.com/office/drawing/2014/main" id="{670E4260-5ABE-D620-A3C5-35548A101EDC}"/>
              </a:ext>
            </a:extLst>
          </p:cNvPr>
          <p:cNvSpPr>
            <a:spLocks noChangeAspect="1" noChangeArrowheads="1"/>
          </p:cNvSpPr>
          <p:nvPr/>
        </p:nvSpPr>
        <p:spPr bwMode="auto">
          <a:xfrm>
            <a:off x="9272870" y="688138"/>
            <a:ext cx="761260" cy="589945"/>
          </a:xfrm>
          <a:custGeom>
            <a:avLst/>
            <a:gdLst>
              <a:gd name="T0" fmla="*/ 453156 w 291740"/>
              <a:gd name="T1" fmla="*/ 739626 h 291739"/>
              <a:gd name="T2" fmla="*/ 453156 w 291740"/>
              <a:gd name="T3" fmla="*/ 759565 h 291739"/>
              <a:gd name="T4" fmla="*/ 432446 w 291740"/>
              <a:gd name="T5" fmla="*/ 759565 h 291739"/>
              <a:gd name="T6" fmla="*/ 432446 w 291740"/>
              <a:gd name="T7" fmla="*/ 739626 h 291739"/>
              <a:gd name="T8" fmla="*/ 178662 w 291740"/>
              <a:gd name="T9" fmla="*/ 739626 h 291739"/>
              <a:gd name="T10" fmla="*/ 178662 w 291740"/>
              <a:gd name="T11" fmla="*/ 759565 h 291739"/>
              <a:gd name="T12" fmla="*/ 157955 w 291740"/>
              <a:gd name="T13" fmla="*/ 759565 h 291739"/>
              <a:gd name="T14" fmla="*/ 157955 w 291740"/>
              <a:gd name="T15" fmla="*/ 739626 h 291739"/>
              <a:gd name="T16" fmla="*/ 320778 w 291740"/>
              <a:gd name="T17" fmla="*/ 748960 h 291739"/>
              <a:gd name="T18" fmla="*/ 290326 w 291740"/>
              <a:gd name="T19" fmla="*/ 748960 h 291739"/>
              <a:gd name="T20" fmla="*/ 75543 w 291740"/>
              <a:gd name="T21" fmla="*/ 435290 h 291739"/>
              <a:gd name="T22" fmla="*/ 29974 w 291740"/>
              <a:gd name="T23" fmla="*/ 799829 h 291739"/>
              <a:gd name="T24" fmla="*/ 377724 w 291740"/>
              <a:gd name="T25" fmla="*/ 845399 h 291739"/>
              <a:gd name="T26" fmla="*/ 583971 w 291740"/>
              <a:gd name="T27" fmla="*/ 929338 h 291739"/>
              <a:gd name="T28" fmla="*/ 504828 w 291740"/>
              <a:gd name="T29" fmla="*/ 567194 h 291739"/>
              <a:gd name="T30" fmla="*/ 249417 w 291740"/>
              <a:gd name="T31" fmla="*/ 683514 h 291739"/>
              <a:gd name="T32" fmla="*/ 233825 w 291740"/>
              <a:gd name="T33" fmla="*/ 683514 h 291739"/>
              <a:gd name="T34" fmla="*/ 226630 w 291740"/>
              <a:gd name="T35" fmla="*/ 435290 h 291739"/>
              <a:gd name="T36" fmla="*/ 362817 w 291740"/>
              <a:gd name="T37" fmla="*/ 406468 h 291739"/>
              <a:gd name="T38" fmla="*/ 711422 w 291740"/>
              <a:gd name="T39" fmla="*/ 421086 h 291739"/>
              <a:gd name="T40" fmla="*/ 362817 w 291740"/>
              <a:gd name="T41" fmla="*/ 436927 h 291739"/>
              <a:gd name="T42" fmla="*/ 362817 w 291740"/>
              <a:gd name="T43" fmla="*/ 406468 h 291739"/>
              <a:gd name="T44" fmla="*/ 834177 w 291740"/>
              <a:gd name="T45" fmla="*/ 269219 h 291739"/>
              <a:gd name="T46" fmla="*/ 834177 w 291740"/>
              <a:gd name="T47" fmla="*/ 299625 h 291739"/>
              <a:gd name="T48" fmla="*/ 538429 w 291740"/>
              <a:gd name="T49" fmla="*/ 284419 h 291739"/>
              <a:gd name="T50" fmla="*/ 362541 w 291740"/>
              <a:gd name="T51" fmla="*/ 269219 h 291739"/>
              <a:gd name="T52" fmla="*/ 468626 w 291740"/>
              <a:gd name="T53" fmla="*/ 284419 h 291739"/>
              <a:gd name="T54" fmla="*/ 362541 w 291740"/>
              <a:gd name="T55" fmla="*/ 299625 h 291739"/>
              <a:gd name="T56" fmla="*/ 362541 w 291740"/>
              <a:gd name="T57" fmla="*/ 269219 h 291739"/>
              <a:gd name="T58" fmla="*/ 834082 w 291740"/>
              <a:gd name="T59" fmla="*/ 131964 h 291739"/>
              <a:gd name="T60" fmla="*/ 834082 w 291740"/>
              <a:gd name="T61" fmla="*/ 162378 h 291739"/>
              <a:gd name="T62" fmla="*/ 712621 w 291740"/>
              <a:gd name="T63" fmla="*/ 147175 h 291739"/>
              <a:gd name="T64" fmla="*/ 362699 w 291740"/>
              <a:gd name="T65" fmla="*/ 131964 h 291739"/>
              <a:gd name="T66" fmla="*/ 642813 w 291740"/>
              <a:gd name="T67" fmla="*/ 147175 h 291739"/>
              <a:gd name="T68" fmla="*/ 362699 w 291740"/>
              <a:gd name="T69" fmla="*/ 162378 h 291739"/>
              <a:gd name="T70" fmla="*/ 362699 w 291740"/>
              <a:gd name="T71" fmla="*/ 131964 h 291739"/>
              <a:gd name="T72" fmla="*/ 270999 w 291740"/>
              <a:gd name="T73" fmla="*/ 41978 h 291739"/>
              <a:gd name="T74" fmla="*/ 256609 w 291740"/>
              <a:gd name="T75" fmla="*/ 645140 h 291739"/>
              <a:gd name="T76" fmla="*/ 504828 w 291740"/>
              <a:gd name="T77" fmla="*/ 537219 h 291739"/>
              <a:gd name="T78" fmla="*/ 926912 w 291740"/>
              <a:gd name="T79" fmla="*/ 524026 h 291739"/>
              <a:gd name="T80" fmla="*/ 940105 w 291740"/>
              <a:gd name="T81" fmla="*/ 74351 h 291739"/>
              <a:gd name="T82" fmla="*/ 894540 w 291740"/>
              <a:gd name="T83" fmla="*/ 28785 h 291739"/>
              <a:gd name="T84" fmla="*/ 302174 w 291740"/>
              <a:gd name="T85" fmla="*/ 0 h 291739"/>
              <a:gd name="T86" fmla="*/ 947301 w 291740"/>
              <a:gd name="T87" fmla="*/ 20392 h 291739"/>
              <a:gd name="T88" fmla="*/ 970082 w 291740"/>
              <a:gd name="T89" fmla="*/ 491649 h 291739"/>
              <a:gd name="T90" fmla="*/ 894540 w 291740"/>
              <a:gd name="T91" fmla="*/ 567194 h 291739"/>
              <a:gd name="T92" fmla="*/ 612750 w 291740"/>
              <a:gd name="T93" fmla="*/ 954519 h 291739"/>
              <a:gd name="T94" fmla="*/ 598356 w 291740"/>
              <a:gd name="T95" fmla="*/ 970106 h 291739"/>
              <a:gd name="T96" fmla="*/ 471254 w 291740"/>
              <a:gd name="T97" fmla="*/ 899361 h 291739"/>
              <a:gd name="T98" fmla="*/ 75543 w 291740"/>
              <a:gd name="T99" fmla="*/ 875380 h 291739"/>
              <a:gd name="T100" fmla="*/ 0 w 291740"/>
              <a:gd name="T101" fmla="*/ 482053 h 291739"/>
              <a:gd name="T102" fmla="*/ 226630 w 291740"/>
              <a:gd name="T103" fmla="*/ 405313 h 291739"/>
              <a:gd name="T104" fmla="*/ 250613 w 291740"/>
              <a:gd name="T105" fmla="*/ 20392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22" name="Freeform 959">
            <a:extLst>
              <a:ext uri="{FF2B5EF4-FFF2-40B4-BE49-F238E27FC236}">
                <a16:creationId xmlns:a16="http://schemas.microsoft.com/office/drawing/2014/main" id="{1CFAC012-C6BC-8472-3B25-08B4A455B0C4}"/>
              </a:ext>
            </a:extLst>
          </p:cNvPr>
          <p:cNvSpPr>
            <a:spLocks noChangeAspect="1" noChangeArrowheads="1"/>
          </p:cNvSpPr>
          <p:nvPr/>
        </p:nvSpPr>
        <p:spPr bwMode="auto">
          <a:xfrm>
            <a:off x="9226017" y="3111814"/>
            <a:ext cx="515933" cy="496809"/>
          </a:xfrm>
          <a:custGeom>
            <a:avLst/>
            <a:gdLst>
              <a:gd name="T0" fmla="*/ 284947 w 267928"/>
              <a:gd name="T1" fmla="*/ 818199 h 291740"/>
              <a:gd name="T2" fmla="*/ 284947 w 267928"/>
              <a:gd name="T3" fmla="*/ 848651 h 291740"/>
              <a:gd name="T4" fmla="*/ 94857 w 267928"/>
              <a:gd name="T5" fmla="*/ 834035 h 291740"/>
              <a:gd name="T6" fmla="*/ 457962 w 267928"/>
              <a:gd name="T7" fmla="*/ 702069 h 291740"/>
              <a:gd name="T8" fmla="*/ 594337 w 267928"/>
              <a:gd name="T9" fmla="*/ 716683 h 291740"/>
              <a:gd name="T10" fmla="*/ 457962 w 267928"/>
              <a:gd name="T11" fmla="*/ 732524 h 291740"/>
              <a:gd name="T12" fmla="*/ 457962 w 267928"/>
              <a:gd name="T13" fmla="*/ 702069 h 291740"/>
              <a:gd name="T14" fmla="*/ 358519 w 267928"/>
              <a:gd name="T15" fmla="*/ 702069 h 291740"/>
              <a:gd name="T16" fmla="*/ 358519 w 267928"/>
              <a:gd name="T17" fmla="*/ 732524 h 291740"/>
              <a:gd name="T18" fmla="*/ 94857 w 267928"/>
              <a:gd name="T19" fmla="*/ 716683 h 291740"/>
              <a:gd name="T20" fmla="*/ 320036 w 267928"/>
              <a:gd name="T21" fmla="*/ 585936 h 291740"/>
              <a:gd name="T22" fmla="*/ 594310 w 267928"/>
              <a:gd name="T23" fmla="*/ 600550 h 291740"/>
              <a:gd name="T24" fmla="*/ 320036 w 267928"/>
              <a:gd name="T25" fmla="*/ 616391 h 291740"/>
              <a:gd name="T26" fmla="*/ 320036 w 267928"/>
              <a:gd name="T27" fmla="*/ 585936 h 291740"/>
              <a:gd name="T28" fmla="*/ 220549 w 267928"/>
              <a:gd name="T29" fmla="*/ 585936 h 291740"/>
              <a:gd name="T30" fmla="*/ 220549 w 267928"/>
              <a:gd name="T31" fmla="*/ 616391 h 291740"/>
              <a:gd name="T32" fmla="*/ 94857 w 267928"/>
              <a:gd name="T33" fmla="*/ 600550 h 291740"/>
              <a:gd name="T34" fmla="*/ 488415 w 267928"/>
              <a:gd name="T35" fmla="*/ 469802 h 291740"/>
              <a:gd name="T36" fmla="*/ 594337 w 267928"/>
              <a:gd name="T37" fmla="*/ 484420 h 291740"/>
              <a:gd name="T38" fmla="*/ 488415 w 267928"/>
              <a:gd name="T39" fmla="*/ 500261 h 291740"/>
              <a:gd name="T40" fmla="*/ 488415 w 267928"/>
              <a:gd name="T41" fmla="*/ 469802 h 291740"/>
              <a:gd name="T42" fmla="*/ 391330 w 267928"/>
              <a:gd name="T43" fmla="*/ 469802 h 291740"/>
              <a:gd name="T44" fmla="*/ 391330 w 267928"/>
              <a:gd name="T45" fmla="*/ 500261 h 291740"/>
              <a:gd name="T46" fmla="*/ 94857 w 267928"/>
              <a:gd name="T47" fmla="*/ 484420 h 291740"/>
              <a:gd name="T48" fmla="*/ 109178 w 267928"/>
              <a:gd name="T49" fmla="*/ 348394 h 291740"/>
              <a:gd name="T50" fmla="*/ 436218 w 267928"/>
              <a:gd name="T51" fmla="*/ 363597 h 291740"/>
              <a:gd name="T52" fmla="*/ 109178 w 267928"/>
              <a:gd name="T53" fmla="*/ 378800 h 291740"/>
              <a:gd name="T54" fmla="*/ 109178 w 267928"/>
              <a:gd name="T55" fmla="*/ 348394 h 291740"/>
              <a:gd name="T56" fmla="*/ 537486 w 267928"/>
              <a:gd name="T57" fmla="*/ 352536 h 291740"/>
              <a:gd name="T58" fmla="*/ 537486 w 267928"/>
              <a:gd name="T59" fmla="*/ 245817 h 291740"/>
              <a:gd name="T60" fmla="*/ 28736 w 267928"/>
              <a:gd name="T61" fmla="*/ 940105 h 291740"/>
              <a:gd name="T62" fmla="*/ 664380 w 267928"/>
              <a:gd name="T63" fmla="*/ 381317 h 291740"/>
              <a:gd name="T64" fmla="*/ 508758 w 267928"/>
              <a:gd name="T65" fmla="*/ 366930 h 291740"/>
              <a:gd name="T66" fmla="*/ 28736 w 267928"/>
              <a:gd name="T67" fmla="*/ 225434 h 291740"/>
              <a:gd name="T68" fmla="*/ 126888 w 267928"/>
              <a:gd name="T69" fmla="*/ 196649 h 291740"/>
              <a:gd name="T70" fmla="*/ 532698 w 267928"/>
              <a:gd name="T71" fmla="*/ 200251 h 291740"/>
              <a:gd name="T72" fmla="*/ 694305 w 267928"/>
              <a:gd name="T73" fmla="*/ 366930 h 291740"/>
              <a:gd name="T74" fmla="*/ 762540 w 267928"/>
              <a:gd name="T75" fmla="*/ 842977 h 291740"/>
              <a:gd name="T76" fmla="*/ 126888 w 267928"/>
              <a:gd name="T77" fmla="*/ 127098 h 291740"/>
              <a:gd name="T78" fmla="*/ 223859 w 267928"/>
              <a:gd name="T79" fmla="*/ 98334 h 291740"/>
              <a:gd name="T80" fmla="*/ 791272 w 267928"/>
              <a:gd name="T81" fmla="*/ 112717 h 291740"/>
              <a:gd name="T82" fmla="*/ 860698 w 267928"/>
              <a:gd name="T83" fmla="*/ 744647 h 291740"/>
              <a:gd name="T84" fmla="*/ 223859 w 267928"/>
              <a:gd name="T85" fmla="*/ 28785 h 291740"/>
              <a:gd name="T86" fmla="*/ 875067 w 267928"/>
              <a:gd name="T87" fmla="*/ 0 h 291740"/>
              <a:gd name="T88" fmla="*/ 889427 w 267928"/>
              <a:gd name="T89" fmla="*/ 759037 h 291740"/>
              <a:gd name="T90" fmla="*/ 791272 w 267928"/>
              <a:gd name="T91" fmla="*/ 773426 h 291740"/>
              <a:gd name="T92" fmla="*/ 776903 w 267928"/>
              <a:gd name="T93" fmla="*/ 871758 h 291740"/>
              <a:gd name="T94" fmla="*/ 694305 w 267928"/>
              <a:gd name="T95" fmla="*/ 954492 h 291740"/>
              <a:gd name="T96" fmla="*/ 14367 w 267928"/>
              <a:gd name="T97" fmla="*/ 970082 h 291740"/>
              <a:gd name="T98" fmla="*/ 0 w 267928"/>
              <a:gd name="T99" fmla="*/ 211047 h 291740"/>
              <a:gd name="T100" fmla="*/ 96958 w 267928"/>
              <a:gd name="T101" fmla="*/ 196649 h 291740"/>
              <a:gd name="T102" fmla="*/ 111325 w 267928"/>
              <a:gd name="T103" fmla="*/ 98334 h 291740"/>
              <a:gd name="T104" fmla="*/ 195120 w 267928"/>
              <a:gd name="T105" fmla="*/ 14382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37572"/>
              </a:solidFill>
              <a:effectLst/>
              <a:uLnTx/>
              <a:uFillTx/>
              <a:latin typeface="Lato Light" panose="020F0502020204030203" pitchFamily="34" charset="0"/>
              <a:ea typeface="+mn-ea"/>
              <a:cs typeface="+mn-cs"/>
            </a:endParaRPr>
          </a:p>
        </p:txBody>
      </p:sp>
      <p:sp>
        <p:nvSpPr>
          <p:cNvPr id="23" name="TextBox 10">
            <a:extLst>
              <a:ext uri="{FF2B5EF4-FFF2-40B4-BE49-F238E27FC236}">
                <a16:creationId xmlns:a16="http://schemas.microsoft.com/office/drawing/2014/main" id="{AFC743F7-1835-6FDE-E710-1FB13EDA09B6}"/>
              </a:ext>
            </a:extLst>
          </p:cNvPr>
          <p:cNvSpPr txBox="1"/>
          <p:nvPr/>
        </p:nvSpPr>
        <p:spPr>
          <a:xfrm>
            <a:off x="10276838" y="1851521"/>
            <a:ext cx="441146" cy="553998"/>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34</a:t>
            </a:r>
          </a:p>
        </p:txBody>
      </p:sp>
      <p:sp>
        <p:nvSpPr>
          <p:cNvPr id="25" name="TextBox 11">
            <a:extLst>
              <a:ext uri="{FF2B5EF4-FFF2-40B4-BE49-F238E27FC236}">
                <a16:creationId xmlns:a16="http://schemas.microsoft.com/office/drawing/2014/main" id="{2B9472E7-31D5-657C-A2B5-AE9342AF82ED}"/>
              </a:ext>
            </a:extLst>
          </p:cNvPr>
          <p:cNvSpPr txBox="1"/>
          <p:nvPr/>
        </p:nvSpPr>
        <p:spPr>
          <a:xfrm>
            <a:off x="10136548" y="2265166"/>
            <a:ext cx="1214115" cy="323165"/>
          </a:xfrm>
          <a:prstGeom prst="rect">
            <a:avLst/>
          </a:prstGeom>
          <a:noFill/>
        </p:spPr>
        <p:txBody>
          <a:bodyPr wrap="none" lIns="45720" rtlCol="0" anchor="t" anchorCtr="0">
            <a:spAutoFit/>
          </a:bodyPr>
          <a:lstStyle/>
          <a:p>
            <a:pPr marL="0" marR="0" lvl="0" indent="0" algn="l" defTabSz="914217" rtl="0" eaLnBrk="1" fontAlgn="auto" latinLnBrk="0" hangingPunct="1">
              <a:lnSpc>
                <a:spcPts val="175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Producteurs</a:t>
            </a:r>
            <a:endPar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10">
            <a:extLst>
              <a:ext uri="{FF2B5EF4-FFF2-40B4-BE49-F238E27FC236}">
                <a16:creationId xmlns:a16="http://schemas.microsoft.com/office/drawing/2014/main" id="{31E5C772-C301-55D0-CE70-C01A16698953}"/>
              </a:ext>
            </a:extLst>
          </p:cNvPr>
          <p:cNvSpPr txBox="1"/>
          <p:nvPr/>
        </p:nvSpPr>
        <p:spPr>
          <a:xfrm>
            <a:off x="10308807" y="3054176"/>
            <a:ext cx="579005" cy="553998"/>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18</a:t>
            </a:r>
          </a:p>
        </p:txBody>
      </p:sp>
      <p:sp>
        <p:nvSpPr>
          <p:cNvPr id="27" name="TextBox 11">
            <a:extLst>
              <a:ext uri="{FF2B5EF4-FFF2-40B4-BE49-F238E27FC236}">
                <a16:creationId xmlns:a16="http://schemas.microsoft.com/office/drawing/2014/main" id="{6D9507AE-49F4-62BE-1E15-F4E494DB05DF}"/>
              </a:ext>
            </a:extLst>
          </p:cNvPr>
          <p:cNvSpPr txBox="1"/>
          <p:nvPr/>
        </p:nvSpPr>
        <p:spPr>
          <a:xfrm>
            <a:off x="10226818" y="3483004"/>
            <a:ext cx="835806" cy="323165"/>
          </a:xfrm>
          <a:prstGeom prst="rect">
            <a:avLst/>
          </a:prstGeom>
          <a:noFill/>
        </p:spPr>
        <p:txBody>
          <a:bodyPr wrap="none" lIns="45720" rtlCol="0" anchor="t" anchorCtr="0">
            <a:spAutoFit/>
          </a:bodyPr>
          <a:lstStyle/>
          <a:p>
            <a:pPr marL="0" marR="0" lvl="0" indent="0" algn="l" defTabSz="914217" rtl="0" eaLnBrk="1" fontAlgn="auto" latinLnBrk="0" hangingPunct="1">
              <a:lnSpc>
                <a:spcPts val="175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hèmes</a:t>
            </a:r>
            <a:endPar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28" name="Image 27">
            <a:extLst>
              <a:ext uri="{FF2B5EF4-FFF2-40B4-BE49-F238E27FC236}">
                <a16:creationId xmlns:a16="http://schemas.microsoft.com/office/drawing/2014/main" id="{423C2383-AE75-76CB-8DD4-CEFEE32863F5}"/>
              </a:ext>
            </a:extLst>
          </p:cNvPr>
          <p:cNvPicPr>
            <a:picLocks noChangeAspect="1"/>
          </p:cNvPicPr>
          <p:nvPr/>
        </p:nvPicPr>
        <p:blipFill>
          <a:blip r:embed="rId5"/>
          <a:stretch>
            <a:fillRect/>
          </a:stretch>
        </p:blipFill>
        <p:spPr>
          <a:xfrm>
            <a:off x="9262959" y="1936117"/>
            <a:ext cx="796031" cy="518975"/>
          </a:xfrm>
          <a:prstGeom prst="rect">
            <a:avLst/>
          </a:prstGeom>
        </p:spPr>
      </p:pic>
      <p:sp>
        <p:nvSpPr>
          <p:cNvPr id="29" name="Rectangle 28">
            <a:extLst>
              <a:ext uri="{FF2B5EF4-FFF2-40B4-BE49-F238E27FC236}">
                <a16:creationId xmlns:a16="http://schemas.microsoft.com/office/drawing/2014/main" id="{C7CF4833-EDC3-8515-F0C4-1BA61893D921}"/>
              </a:ext>
            </a:extLst>
          </p:cNvPr>
          <p:cNvSpPr/>
          <p:nvPr/>
        </p:nvSpPr>
        <p:spPr>
          <a:xfrm>
            <a:off x="9102485" y="4315598"/>
            <a:ext cx="2628370" cy="105021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endParaRPr>
          </a:p>
        </p:txBody>
      </p:sp>
      <p:pic>
        <p:nvPicPr>
          <p:cNvPr id="30" name="Picture 12" descr="Icône de téléchargement de vecteur 422014 - Telecharger Vectoriel Gratuit,  Clipart Graphique, Vecteur Dessins et Pictogramme Gratuit">
            <a:extLst>
              <a:ext uri="{FF2B5EF4-FFF2-40B4-BE49-F238E27FC236}">
                <a16:creationId xmlns:a16="http://schemas.microsoft.com/office/drawing/2014/main" id="{892CE08A-F611-8D9F-1D16-95A49E55022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49586" y="4479167"/>
            <a:ext cx="492363" cy="492363"/>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10">
            <a:extLst>
              <a:ext uri="{FF2B5EF4-FFF2-40B4-BE49-F238E27FC236}">
                <a16:creationId xmlns:a16="http://schemas.microsoft.com/office/drawing/2014/main" id="{95E55BEF-8C9F-B65B-A339-313C15B736E8}"/>
              </a:ext>
            </a:extLst>
          </p:cNvPr>
          <p:cNvSpPr txBox="1"/>
          <p:nvPr/>
        </p:nvSpPr>
        <p:spPr>
          <a:xfrm>
            <a:off x="9886443" y="4469674"/>
            <a:ext cx="1160895" cy="369332"/>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 28 000</a:t>
            </a:r>
          </a:p>
        </p:txBody>
      </p:sp>
      <p:sp>
        <p:nvSpPr>
          <p:cNvPr id="32" name="TextBox 11">
            <a:extLst>
              <a:ext uri="{FF2B5EF4-FFF2-40B4-BE49-F238E27FC236}">
                <a16:creationId xmlns:a16="http://schemas.microsoft.com/office/drawing/2014/main" id="{4213F8EA-1569-0983-0232-CA7C023361FD}"/>
              </a:ext>
            </a:extLst>
          </p:cNvPr>
          <p:cNvSpPr txBox="1"/>
          <p:nvPr/>
        </p:nvSpPr>
        <p:spPr>
          <a:xfrm>
            <a:off x="9816878" y="4762586"/>
            <a:ext cx="1659425" cy="323165"/>
          </a:xfrm>
          <a:prstGeom prst="rect">
            <a:avLst/>
          </a:prstGeom>
          <a:noFill/>
        </p:spPr>
        <p:txBody>
          <a:bodyPr wrap="square" lIns="45720" rtlCol="0" anchor="t" anchorCtr="0">
            <a:spAutoFit/>
          </a:bodyPr>
          <a:lstStyle/>
          <a:p>
            <a:pPr marL="0" marR="0" lvl="0" indent="0" algn="l" defTabSz="914217" rtl="0" eaLnBrk="1" fontAlgn="auto" latinLnBrk="0" hangingPunct="1">
              <a:lnSpc>
                <a:spcPts val="175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éléchargements</a:t>
            </a:r>
            <a:endPar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Rectangle 32">
            <a:extLst>
              <a:ext uri="{FF2B5EF4-FFF2-40B4-BE49-F238E27FC236}">
                <a16:creationId xmlns:a16="http://schemas.microsoft.com/office/drawing/2014/main" id="{CC2C57FA-F53F-9124-7165-C57B35FB6F4C}"/>
              </a:ext>
            </a:extLst>
          </p:cNvPr>
          <p:cNvSpPr/>
          <p:nvPr/>
        </p:nvSpPr>
        <p:spPr>
          <a:xfrm>
            <a:off x="9102485" y="5618515"/>
            <a:ext cx="2628370" cy="1202726"/>
          </a:xfrm>
          <a:prstGeom prst="rect">
            <a:avLst/>
          </a:prstGeom>
          <a:solidFill>
            <a:srgbClr val="FFFFFF">
              <a:lumMod val="6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8" name="TextBox 10">
            <a:extLst>
              <a:ext uri="{FF2B5EF4-FFF2-40B4-BE49-F238E27FC236}">
                <a16:creationId xmlns:a16="http://schemas.microsoft.com/office/drawing/2014/main" id="{7FA08484-2ECF-A8BC-EC7D-0E779CF86B3E}"/>
              </a:ext>
            </a:extLst>
          </p:cNvPr>
          <p:cNvSpPr txBox="1"/>
          <p:nvPr/>
        </p:nvSpPr>
        <p:spPr>
          <a:xfrm>
            <a:off x="9929556" y="5850147"/>
            <a:ext cx="1605046" cy="461665"/>
          </a:xfrm>
          <a:prstGeom prst="rect">
            <a:avLst/>
          </a:prstGeom>
          <a:noFill/>
        </p:spPr>
        <p:txBody>
          <a:bodyPr wrap="squar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67 000</a:t>
            </a:r>
          </a:p>
        </p:txBody>
      </p:sp>
      <p:sp>
        <p:nvSpPr>
          <p:cNvPr id="44" name="TextBox 11">
            <a:extLst>
              <a:ext uri="{FF2B5EF4-FFF2-40B4-BE49-F238E27FC236}">
                <a16:creationId xmlns:a16="http://schemas.microsoft.com/office/drawing/2014/main" id="{E0DDED35-0246-3F17-D752-EAF4D5EF059B}"/>
              </a:ext>
            </a:extLst>
          </p:cNvPr>
          <p:cNvSpPr txBox="1"/>
          <p:nvPr/>
        </p:nvSpPr>
        <p:spPr>
          <a:xfrm>
            <a:off x="10226818" y="6191789"/>
            <a:ext cx="866263" cy="323165"/>
          </a:xfrm>
          <a:prstGeom prst="rect">
            <a:avLst/>
          </a:prstGeom>
          <a:noFill/>
        </p:spPr>
        <p:txBody>
          <a:bodyPr wrap="none" lIns="45720" rtlCol="0" anchor="t" anchorCtr="0">
            <a:spAutoFit/>
          </a:bodyPr>
          <a:lstStyle/>
          <a:p>
            <a:pPr marL="0" marR="0" lvl="0" indent="0" algn="l" defTabSz="914217" rtl="0" eaLnBrk="1" fontAlgn="auto" latinLnBrk="0" hangingPunct="1">
              <a:lnSpc>
                <a:spcPts val="175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visiteurs</a:t>
            </a:r>
            <a:endParaRPr kumimoji="0" lang="en-US" sz="1600" b="0" i="0" u="none" strike="noStrike" kern="1200" cap="none" spc="0" normalizeH="0" baseline="0" noProof="0" dirty="0">
              <a:ln>
                <a:noFill/>
              </a:ln>
              <a:solidFill>
                <a:srgbClr val="FFFFFF">
                  <a:lumMod val="95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45" name="Picture 2" descr="Icône Utilisateur Gratuit - Icon-Icons.com">
            <a:extLst>
              <a:ext uri="{FF2B5EF4-FFF2-40B4-BE49-F238E27FC236}">
                <a16:creationId xmlns:a16="http://schemas.microsoft.com/office/drawing/2014/main" id="{CDF7B5E6-8996-11AE-BF1A-DD24EF440BC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20832" y="5829885"/>
            <a:ext cx="564465" cy="502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8479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DB282E79-31B2-473E-962A-7149B4ADBEAF}"/>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1" hidden="1">
                        <a:extLst>
                          <a:ext uri="{FF2B5EF4-FFF2-40B4-BE49-F238E27FC236}">
                            <a16:creationId xmlns:a16="http://schemas.microsoft.com/office/drawing/2014/main" id="{DB282E79-31B2-473E-962A-7149B4ADBEAF}"/>
                          </a:ext>
                        </a:extLst>
                      </p:cNvPr>
                      <p:cNvPicPr/>
                      <p:nvPr/>
                    </p:nvPicPr>
                    <p:blipFill>
                      <a:blip r:embed="rId6"/>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2C4013-E41F-4AE3-A2C0-66B871D182D6}"/>
              </a:ext>
            </a:extLst>
          </p:cNvPr>
          <p:cNvSpPr/>
          <p:nvPr>
            <p:custDataLst>
              <p:tags r:id="rId2"/>
            </p:custDataLst>
          </p:nvPr>
        </p:nvSpPr>
        <p:spPr>
          <a:xfrm>
            <a:off x="90" y="1"/>
            <a:ext cx="161974"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49" b="1"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2" name="Title Placeholder 2">
            <a:extLst>
              <a:ext uri="{FF2B5EF4-FFF2-40B4-BE49-F238E27FC236}">
                <a16:creationId xmlns:a16="http://schemas.microsoft.com/office/drawing/2014/main" id="{C9C5BC57-668B-4F4B-923A-17A51E8BDC5D}"/>
              </a:ext>
            </a:extLst>
          </p:cNvPr>
          <p:cNvSpPr>
            <a:spLocks noGrp="1"/>
          </p:cNvSpPr>
          <p:nvPr>
            <p:ph type="title"/>
          </p:nvPr>
        </p:nvSpPr>
        <p:spPr/>
        <p:txBody>
          <a:bodyPr/>
          <a:lstStyle/>
          <a:p>
            <a:r>
              <a:rPr lang="fr-FR" sz="2800" b="1" dirty="0">
                <a:solidFill>
                  <a:schemeClr val="tx2"/>
                </a:solidFill>
              </a:rPr>
              <a:t>Framework d’un Smart </a:t>
            </a:r>
            <a:r>
              <a:rPr lang="fr-FR" sz="2800" b="1" dirty="0" err="1">
                <a:solidFill>
                  <a:schemeClr val="tx2"/>
                </a:solidFill>
              </a:rPr>
              <a:t>Government</a:t>
            </a:r>
            <a:endParaRPr lang="fr-FR" sz="2800" b="1" dirty="0">
              <a:solidFill>
                <a:schemeClr val="tx2"/>
              </a:solidFill>
            </a:endParaRPr>
          </a:p>
        </p:txBody>
      </p:sp>
      <p:sp>
        <p:nvSpPr>
          <p:cNvPr id="65" name="Rectangle 64">
            <a:extLst>
              <a:ext uri="{FF2B5EF4-FFF2-40B4-BE49-F238E27FC236}">
                <a16:creationId xmlns:a16="http://schemas.microsoft.com/office/drawing/2014/main" id="{26104A67-AC7B-4C38-A5A2-143D9F4819A0}"/>
              </a:ext>
            </a:extLst>
          </p:cNvPr>
          <p:cNvSpPr>
            <a:spLocks/>
          </p:cNvSpPr>
          <p:nvPr/>
        </p:nvSpPr>
        <p:spPr>
          <a:xfrm>
            <a:off x="2522750" y="4683775"/>
            <a:ext cx="5255947" cy="646938"/>
          </a:xfrm>
          <a:prstGeom prst="rect">
            <a:avLst/>
          </a:prstGeom>
          <a:solidFill>
            <a:srgbClr val="E7F5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428" b="1" dirty="0">
              <a:solidFill>
                <a:schemeClr val="tx2"/>
              </a:solidFill>
            </a:endParaRPr>
          </a:p>
        </p:txBody>
      </p:sp>
      <p:sp>
        <p:nvSpPr>
          <p:cNvPr id="66" name="TextBox 65">
            <a:extLst>
              <a:ext uri="{FF2B5EF4-FFF2-40B4-BE49-F238E27FC236}">
                <a16:creationId xmlns:a16="http://schemas.microsoft.com/office/drawing/2014/main" id="{177CFB93-DAF6-4B13-84FD-EE903032F4A8}"/>
              </a:ext>
            </a:extLst>
          </p:cNvPr>
          <p:cNvSpPr txBox="1"/>
          <p:nvPr/>
        </p:nvSpPr>
        <p:spPr>
          <a:xfrm>
            <a:off x="2647161" y="4787424"/>
            <a:ext cx="5007122" cy="4484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dirty="0"/>
              <a:t>Fondations de </a:t>
            </a:r>
            <a:r>
              <a:rPr lang="fr-FR" sz="1428" dirty="0">
                <a:ln>
                  <a:solidFill>
                    <a:schemeClr val="tx2"/>
                  </a:solidFill>
                </a:ln>
              </a:rPr>
              <a:t>l’infrastructure</a:t>
            </a:r>
            <a:r>
              <a:rPr lang="fr-FR" sz="1428" dirty="0"/>
              <a:t> nationale pour permettre l’accès aux réseaux téléphonique et internet </a:t>
            </a:r>
          </a:p>
        </p:txBody>
      </p:sp>
      <p:sp>
        <p:nvSpPr>
          <p:cNvPr id="67" name="Rectangle 66">
            <a:extLst>
              <a:ext uri="{FF2B5EF4-FFF2-40B4-BE49-F238E27FC236}">
                <a16:creationId xmlns:a16="http://schemas.microsoft.com/office/drawing/2014/main" id="{CCF3F73C-592D-451A-8DAB-AFD07DDBC8FA}"/>
              </a:ext>
            </a:extLst>
          </p:cNvPr>
          <p:cNvSpPr>
            <a:spLocks/>
          </p:cNvSpPr>
          <p:nvPr/>
        </p:nvSpPr>
        <p:spPr>
          <a:xfrm>
            <a:off x="2522750" y="3825484"/>
            <a:ext cx="5255947" cy="646938"/>
          </a:xfrm>
          <a:prstGeom prst="rect">
            <a:avLst/>
          </a:prstGeom>
          <a:solidFill>
            <a:srgbClr val="D0EB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r>
              <a:rPr lang="fr-FR" sz="1428" dirty="0">
                <a:ln>
                  <a:solidFill>
                    <a:schemeClr val="tx2"/>
                  </a:solidFill>
                </a:ln>
                <a:solidFill>
                  <a:schemeClr val="tx1"/>
                </a:solidFill>
              </a:rPr>
              <a:t>Infrastructure </a:t>
            </a:r>
            <a:r>
              <a:rPr lang="fr-FR" sz="1428" dirty="0">
                <a:solidFill>
                  <a:schemeClr val="tx1"/>
                </a:solidFill>
              </a:rPr>
              <a:t>nationale d’hébergement des données </a:t>
            </a:r>
            <a:br>
              <a:rPr lang="fr-FR" sz="1428" dirty="0">
                <a:solidFill>
                  <a:schemeClr val="tx1"/>
                </a:solidFill>
              </a:rPr>
            </a:br>
            <a:r>
              <a:rPr lang="fr-FR" sz="1428" dirty="0">
                <a:solidFill>
                  <a:schemeClr val="tx1"/>
                </a:solidFill>
              </a:rPr>
              <a:t>(p. ex. : </a:t>
            </a:r>
            <a:r>
              <a:rPr lang="fr-FR" sz="1428" dirty="0" err="1">
                <a:solidFill>
                  <a:schemeClr val="tx1"/>
                </a:solidFill>
              </a:rPr>
              <a:t>clouds</a:t>
            </a:r>
            <a:r>
              <a:rPr lang="fr-FR" sz="1428" dirty="0">
                <a:solidFill>
                  <a:schemeClr val="tx1"/>
                </a:solidFill>
              </a:rPr>
              <a:t> et data centers)</a:t>
            </a:r>
          </a:p>
        </p:txBody>
      </p:sp>
      <p:sp>
        <p:nvSpPr>
          <p:cNvPr id="68" name="Rectangle 67">
            <a:extLst>
              <a:ext uri="{FF2B5EF4-FFF2-40B4-BE49-F238E27FC236}">
                <a16:creationId xmlns:a16="http://schemas.microsoft.com/office/drawing/2014/main" id="{93A15037-EB66-4293-BCFC-C6C943C3C5A0}"/>
              </a:ext>
            </a:extLst>
          </p:cNvPr>
          <p:cNvSpPr>
            <a:spLocks/>
          </p:cNvSpPr>
          <p:nvPr/>
        </p:nvSpPr>
        <p:spPr>
          <a:xfrm>
            <a:off x="2522750" y="2967194"/>
            <a:ext cx="5255947" cy="646938"/>
          </a:xfrm>
          <a:prstGeom prst="rect">
            <a:avLst/>
          </a:prstGeom>
          <a:solidFill>
            <a:srgbClr val="B8E1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r>
              <a:rPr lang="fr-FR" sz="1428" dirty="0">
                <a:ln>
                  <a:solidFill>
                    <a:schemeClr val="tx2"/>
                  </a:solidFill>
                </a:ln>
                <a:solidFill>
                  <a:schemeClr val="tx1"/>
                </a:solidFill>
              </a:rPr>
              <a:t>Plateforme d’échange de données </a:t>
            </a:r>
            <a:r>
              <a:rPr lang="fr-FR" sz="1428" dirty="0">
                <a:solidFill>
                  <a:schemeClr val="tx1"/>
                </a:solidFill>
              </a:rPr>
              <a:t>entre les administrations </a:t>
            </a:r>
            <a:br>
              <a:rPr lang="fr-FR" sz="1428" dirty="0">
                <a:solidFill>
                  <a:schemeClr val="tx1"/>
                </a:solidFill>
              </a:rPr>
            </a:br>
            <a:r>
              <a:rPr lang="fr-FR" sz="1428" dirty="0">
                <a:solidFill>
                  <a:schemeClr val="tx1"/>
                </a:solidFill>
              </a:rPr>
              <a:t>(y compris définition de normes et de standards)</a:t>
            </a:r>
          </a:p>
        </p:txBody>
      </p:sp>
      <p:sp>
        <p:nvSpPr>
          <p:cNvPr id="69" name="Rectangle 68">
            <a:extLst>
              <a:ext uri="{FF2B5EF4-FFF2-40B4-BE49-F238E27FC236}">
                <a16:creationId xmlns:a16="http://schemas.microsoft.com/office/drawing/2014/main" id="{228D18C0-2EC3-4F51-B1C9-8BF543CB4750}"/>
              </a:ext>
            </a:extLst>
          </p:cNvPr>
          <p:cNvSpPr>
            <a:spLocks/>
          </p:cNvSpPr>
          <p:nvPr/>
        </p:nvSpPr>
        <p:spPr>
          <a:xfrm>
            <a:off x="2522751" y="1249596"/>
            <a:ext cx="2553460" cy="1506246"/>
          </a:xfrm>
          <a:prstGeom prst="rect">
            <a:avLst/>
          </a:prstGeom>
          <a:solidFill>
            <a:srgbClr val="A1D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3462" rtlCol="0" anchor="t">
            <a:noAutofit/>
          </a:bodyPr>
          <a:lstStyle/>
          <a:p>
            <a:pPr algn="ctr">
              <a:buClr>
                <a:schemeClr val="bg1"/>
              </a:buClr>
            </a:pPr>
            <a:r>
              <a:rPr lang="fr-FR" sz="1428" dirty="0">
                <a:solidFill>
                  <a:schemeClr val="tx1"/>
                </a:solidFill>
              </a:rPr>
              <a:t>Mise à disposition de </a:t>
            </a:r>
            <a:r>
              <a:rPr lang="fr-FR" sz="1428" dirty="0">
                <a:ln>
                  <a:solidFill>
                    <a:schemeClr val="tx2"/>
                  </a:solidFill>
                </a:ln>
                <a:solidFill>
                  <a:schemeClr val="tx1"/>
                </a:solidFill>
              </a:rPr>
              <a:t>services communs</a:t>
            </a:r>
          </a:p>
          <a:p>
            <a:pPr algn="ctr">
              <a:buClr>
                <a:schemeClr val="bg1"/>
              </a:buClr>
            </a:pPr>
            <a:r>
              <a:rPr lang="fr-FR" sz="1428" dirty="0">
                <a:solidFill>
                  <a:schemeClr val="tx1"/>
                </a:solidFill>
              </a:rPr>
              <a:t>(p. ex. : identification/authentification, applications mutualisées, Open Data…)</a:t>
            </a:r>
          </a:p>
          <a:p>
            <a:pPr algn="ctr">
              <a:buClr>
                <a:schemeClr val="bg1"/>
              </a:buClr>
            </a:pPr>
            <a:endParaRPr lang="fr-FR" sz="1428" dirty="0">
              <a:solidFill>
                <a:schemeClr val="tx1"/>
              </a:solidFill>
            </a:endParaRPr>
          </a:p>
          <a:p>
            <a:pPr algn="ctr">
              <a:buClr>
                <a:schemeClr val="bg1"/>
              </a:buClr>
            </a:pPr>
            <a:endParaRPr lang="fr-FR" sz="1428" dirty="0">
              <a:solidFill>
                <a:schemeClr val="tx1"/>
              </a:solidFill>
            </a:endParaRPr>
          </a:p>
          <a:p>
            <a:pPr algn="ctr">
              <a:buClr>
                <a:schemeClr val="bg1"/>
              </a:buClr>
            </a:pPr>
            <a:endParaRPr lang="fr-FR" sz="1428" dirty="0">
              <a:solidFill>
                <a:schemeClr val="tx1"/>
              </a:solidFill>
            </a:endParaRPr>
          </a:p>
        </p:txBody>
      </p:sp>
      <p:sp>
        <p:nvSpPr>
          <p:cNvPr id="70" name="Rectangle 69">
            <a:extLst>
              <a:ext uri="{FF2B5EF4-FFF2-40B4-BE49-F238E27FC236}">
                <a16:creationId xmlns:a16="http://schemas.microsoft.com/office/drawing/2014/main" id="{01363E26-4667-433A-9154-9875DA22BFE6}"/>
              </a:ext>
            </a:extLst>
          </p:cNvPr>
          <p:cNvSpPr>
            <a:spLocks/>
          </p:cNvSpPr>
          <p:nvPr/>
        </p:nvSpPr>
        <p:spPr>
          <a:xfrm>
            <a:off x="5225235" y="1249596"/>
            <a:ext cx="2553460" cy="1506246"/>
          </a:xfrm>
          <a:prstGeom prst="rect">
            <a:avLst/>
          </a:prstGeom>
          <a:solidFill>
            <a:srgbClr val="A1D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73462" rtlCol="0" anchor="t">
            <a:noAutofit/>
          </a:bodyPr>
          <a:lstStyle/>
          <a:p>
            <a:pPr algn="ctr">
              <a:buClr>
                <a:schemeClr val="bg1"/>
              </a:buClr>
            </a:pPr>
            <a:r>
              <a:rPr lang="fr-FR" sz="1428" dirty="0">
                <a:solidFill>
                  <a:schemeClr val="tx1"/>
                </a:solidFill>
              </a:rPr>
              <a:t>Mise à disposition de services </a:t>
            </a:r>
            <a:br>
              <a:rPr lang="fr-FR" sz="1428" dirty="0">
                <a:solidFill>
                  <a:schemeClr val="tx1"/>
                </a:solidFill>
              </a:rPr>
            </a:br>
            <a:r>
              <a:rPr lang="fr-FR" sz="1428" dirty="0">
                <a:solidFill>
                  <a:schemeClr val="tx1"/>
                </a:solidFill>
              </a:rPr>
              <a:t>métiers</a:t>
            </a:r>
          </a:p>
        </p:txBody>
      </p:sp>
      <p:sp>
        <p:nvSpPr>
          <p:cNvPr id="74" name="TextBox 73">
            <a:extLst>
              <a:ext uri="{FF2B5EF4-FFF2-40B4-BE49-F238E27FC236}">
                <a16:creationId xmlns:a16="http://schemas.microsoft.com/office/drawing/2014/main" id="{369412F9-A5B8-46E0-B134-99FFE28188F6}"/>
              </a:ext>
            </a:extLst>
          </p:cNvPr>
          <p:cNvSpPr txBox="1">
            <a:spLocks/>
          </p:cNvSpPr>
          <p:nvPr/>
        </p:nvSpPr>
        <p:spPr>
          <a:xfrm>
            <a:off x="2522748" y="5542067"/>
            <a:ext cx="1696523" cy="88955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fr-FR" sz="1428" dirty="0">
                <a:solidFill>
                  <a:schemeClr val="bg1"/>
                </a:solidFill>
              </a:rPr>
              <a:t>Confiance numérique et Culture du digital</a:t>
            </a:r>
          </a:p>
        </p:txBody>
      </p:sp>
      <p:sp>
        <p:nvSpPr>
          <p:cNvPr id="75" name="TextBox 74">
            <a:extLst>
              <a:ext uri="{FF2B5EF4-FFF2-40B4-BE49-F238E27FC236}">
                <a16:creationId xmlns:a16="http://schemas.microsoft.com/office/drawing/2014/main" id="{2C09669E-0DFC-4160-AC98-0C195BDDD156}"/>
              </a:ext>
            </a:extLst>
          </p:cNvPr>
          <p:cNvSpPr txBox="1">
            <a:spLocks/>
          </p:cNvSpPr>
          <p:nvPr/>
        </p:nvSpPr>
        <p:spPr>
          <a:xfrm>
            <a:off x="6082172" y="5542067"/>
            <a:ext cx="1696523" cy="88955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fr-FR" sz="1428" dirty="0">
                <a:solidFill>
                  <a:schemeClr val="bg1"/>
                </a:solidFill>
              </a:rPr>
              <a:t>Formation et capital humain</a:t>
            </a:r>
          </a:p>
        </p:txBody>
      </p:sp>
      <p:sp>
        <p:nvSpPr>
          <p:cNvPr id="76" name="TextBox 75">
            <a:extLst>
              <a:ext uri="{FF2B5EF4-FFF2-40B4-BE49-F238E27FC236}">
                <a16:creationId xmlns:a16="http://schemas.microsoft.com/office/drawing/2014/main" id="{5281264C-2B4D-405C-A292-D7F0E31D495E}"/>
              </a:ext>
            </a:extLst>
          </p:cNvPr>
          <p:cNvSpPr txBox="1">
            <a:spLocks/>
          </p:cNvSpPr>
          <p:nvPr/>
        </p:nvSpPr>
        <p:spPr>
          <a:xfrm>
            <a:off x="4302460" y="5542067"/>
            <a:ext cx="1696523" cy="88955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sz="14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fr-FR" sz="1428" dirty="0">
                <a:solidFill>
                  <a:schemeClr val="bg1"/>
                </a:solidFill>
              </a:rPr>
              <a:t>Règlementation et </a:t>
            </a:r>
            <a:r>
              <a:rPr lang="fr-FR" sz="1428" dirty="0" err="1">
                <a:solidFill>
                  <a:schemeClr val="bg1"/>
                </a:solidFill>
              </a:rPr>
              <a:t>réoganisation</a:t>
            </a:r>
            <a:r>
              <a:rPr lang="fr-FR" sz="1428" dirty="0">
                <a:solidFill>
                  <a:schemeClr val="bg1"/>
                </a:solidFill>
              </a:rPr>
              <a:t> des process</a:t>
            </a:r>
          </a:p>
        </p:txBody>
      </p:sp>
      <p:grpSp>
        <p:nvGrpSpPr>
          <p:cNvPr id="77" name="Group 76">
            <a:extLst>
              <a:ext uri="{FF2B5EF4-FFF2-40B4-BE49-F238E27FC236}">
                <a16:creationId xmlns:a16="http://schemas.microsoft.com/office/drawing/2014/main" id="{5AA0FBD9-870F-4492-8D96-8CA5D5A59C6B}"/>
              </a:ext>
            </a:extLst>
          </p:cNvPr>
          <p:cNvGrpSpPr/>
          <p:nvPr/>
        </p:nvGrpSpPr>
        <p:grpSpPr>
          <a:xfrm>
            <a:off x="5353146" y="1868578"/>
            <a:ext cx="2297638" cy="710407"/>
            <a:chOff x="7664432" y="2025139"/>
            <a:chExt cx="3393644" cy="696265"/>
          </a:xfrm>
        </p:grpSpPr>
        <p:sp>
          <p:nvSpPr>
            <p:cNvPr id="99" name="Cylinder 98">
              <a:extLst>
                <a:ext uri="{FF2B5EF4-FFF2-40B4-BE49-F238E27FC236}">
                  <a16:creationId xmlns:a16="http://schemas.microsoft.com/office/drawing/2014/main" id="{C5277541-065C-4139-9DD9-A4934EF8D047}"/>
                </a:ext>
              </a:extLst>
            </p:cNvPr>
            <p:cNvSpPr>
              <a:spLocks/>
            </p:cNvSpPr>
            <p:nvPr/>
          </p:nvSpPr>
          <p:spPr>
            <a:xfrm>
              <a:off x="8565536" y="2310889"/>
              <a:ext cx="728432" cy="410515"/>
            </a:xfrm>
            <a:prstGeom prst="can">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endParaRPr lang="fr-FR" sz="918" dirty="0">
                <a:solidFill>
                  <a:schemeClr val="tx1"/>
                </a:solidFill>
              </a:endParaRPr>
            </a:p>
          </p:txBody>
        </p:sp>
        <p:sp>
          <p:nvSpPr>
            <p:cNvPr id="100" name="Cylinder 99">
              <a:extLst>
                <a:ext uri="{FF2B5EF4-FFF2-40B4-BE49-F238E27FC236}">
                  <a16:creationId xmlns:a16="http://schemas.microsoft.com/office/drawing/2014/main" id="{50CFE761-B59B-4302-A721-B261D03CBF79}"/>
                </a:ext>
              </a:extLst>
            </p:cNvPr>
            <p:cNvSpPr>
              <a:spLocks/>
            </p:cNvSpPr>
            <p:nvPr/>
          </p:nvSpPr>
          <p:spPr>
            <a:xfrm>
              <a:off x="9447590" y="2310889"/>
              <a:ext cx="728432" cy="410515"/>
            </a:xfrm>
            <a:prstGeom prst="can">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endParaRPr lang="fr-FR" sz="918" dirty="0">
                <a:solidFill>
                  <a:schemeClr val="tx1"/>
                </a:solidFill>
              </a:endParaRPr>
            </a:p>
          </p:txBody>
        </p:sp>
        <p:sp>
          <p:nvSpPr>
            <p:cNvPr id="101" name="Cylinder 100">
              <a:extLst>
                <a:ext uri="{FF2B5EF4-FFF2-40B4-BE49-F238E27FC236}">
                  <a16:creationId xmlns:a16="http://schemas.microsoft.com/office/drawing/2014/main" id="{F9B5633A-25DA-4480-8A22-1DBC887DB493}"/>
                </a:ext>
              </a:extLst>
            </p:cNvPr>
            <p:cNvSpPr>
              <a:spLocks/>
            </p:cNvSpPr>
            <p:nvPr/>
          </p:nvSpPr>
          <p:spPr>
            <a:xfrm>
              <a:off x="7683482" y="2310889"/>
              <a:ext cx="728432" cy="410515"/>
            </a:xfrm>
            <a:prstGeom prst="can">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endParaRPr lang="fr-FR" sz="918" dirty="0">
                <a:solidFill>
                  <a:schemeClr val="tx1"/>
                </a:solidFill>
              </a:endParaRPr>
            </a:p>
          </p:txBody>
        </p:sp>
        <p:sp>
          <p:nvSpPr>
            <p:cNvPr id="102" name="Cylinder 101">
              <a:extLst>
                <a:ext uri="{FF2B5EF4-FFF2-40B4-BE49-F238E27FC236}">
                  <a16:creationId xmlns:a16="http://schemas.microsoft.com/office/drawing/2014/main" id="{9022E315-8461-4365-AD30-4A64E32EAA3E}"/>
                </a:ext>
              </a:extLst>
            </p:cNvPr>
            <p:cNvSpPr>
              <a:spLocks/>
            </p:cNvSpPr>
            <p:nvPr/>
          </p:nvSpPr>
          <p:spPr>
            <a:xfrm>
              <a:off x="10329644" y="2310889"/>
              <a:ext cx="728432" cy="410515"/>
            </a:xfrm>
            <a:prstGeom prst="can">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endParaRPr lang="fr-FR" sz="918" dirty="0">
                <a:solidFill>
                  <a:schemeClr val="tx1"/>
                </a:solidFill>
              </a:endParaRPr>
            </a:p>
          </p:txBody>
        </p:sp>
        <p:sp>
          <p:nvSpPr>
            <p:cNvPr id="103" name="Rectangle 102">
              <a:extLst>
                <a:ext uri="{FF2B5EF4-FFF2-40B4-BE49-F238E27FC236}">
                  <a16:creationId xmlns:a16="http://schemas.microsoft.com/office/drawing/2014/main" id="{755A38EC-62DC-493B-A46D-1DAF87AA6DEB}"/>
                </a:ext>
              </a:extLst>
            </p:cNvPr>
            <p:cNvSpPr>
              <a:spLocks/>
            </p:cNvSpPr>
            <p:nvPr/>
          </p:nvSpPr>
          <p:spPr>
            <a:xfrm>
              <a:off x="8505351" y="2025139"/>
              <a:ext cx="897613" cy="201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r>
                <a:rPr lang="fr-FR" sz="1020" dirty="0">
                  <a:solidFill>
                    <a:schemeClr val="tx1"/>
                  </a:solidFill>
                  <a:latin typeface="Arial" panose="020B0604020202020204" pitchFamily="34" charset="0"/>
                  <a:cs typeface="Arial" panose="020B0604020202020204" pitchFamily="34" charset="0"/>
                </a:rPr>
                <a:t>Éducation</a:t>
              </a:r>
            </a:p>
          </p:txBody>
        </p:sp>
        <p:sp>
          <p:nvSpPr>
            <p:cNvPr id="104" name="Rectangle 103">
              <a:extLst>
                <a:ext uri="{FF2B5EF4-FFF2-40B4-BE49-F238E27FC236}">
                  <a16:creationId xmlns:a16="http://schemas.microsoft.com/office/drawing/2014/main" id="{20378280-6B86-47A6-8D3D-7EDE95681911}"/>
                </a:ext>
              </a:extLst>
            </p:cNvPr>
            <p:cNvSpPr>
              <a:spLocks/>
            </p:cNvSpPr>
            <p:nvPr/>
          </p:nvSpPr>
          <p:spPr>
            <a:xfrm>
              <a:off x="9428540" y="2025139"/>
              <a:ext cx="728432" cy="2211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r>
                <a:rPr lang="fr-FR" sz="1020" dirty="0">
                  <a:solidFill>
                    <a:schemeClr val="tx1"/>
                  </a:solidFill>
                  <a:latin typeface="Arial" panose="020B0604020202020204" pitchFamily="34" charset="0"/>
                  <a:cs typeface="Arial" panose="020B0604020202020204" pitchFamily="34" charset="0"/>
                </a:rPr>
                <a:t>Justice</a:t>
              </a:r>
            </a:p>
          </p:txBody>
        </p:sp>
        <p:sp>
          <p:nvSpPr>
            <p:cNvPr id="105" name="Rectangle 104">
              <a:extLst>
                <a:ext uri="{FF2B5EF4-FFF2-40B4-BE49-F238E27FC236}">
                  <a16:creationId xmlns:a16="http://schemas.microsoft.com/office/drawing/2014/main" id="{7555E3A5-EB0B-4F67-901F-AD060885F42B}"/>
                </a:ext>
              </a:extLst>
            </p:cNvPr>
            <p:cNvSpPr>
              <a:spLocks/>
            </p:cNvSpPr>
            <p:nvPr/>
          </p:nvSpPr>
          <p:spPr>
            <a:xfrm>
              <a:off x="7664432" y="2025139"/>
              <a:ext cx="728432" cy="2211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r>
                <a:rPr lang="fr-FR" sz="1020" dirty="0">
                  <a:solidFill>
                    <a:schemeClr val="tx1"/>
                  </a:solidFill>
                  <a:latin typeface="Arial" panose="020B0604020202020204" pitchFamily="34" charset="0"/>
                  <a:cs typeface="Arial" panose="020B0604020202020204" pitchFamily="34" charset="0"/>
                </a:rPr>
                <a:t>Santé</a:t>
              </a:r>
            </a:p>
          </p:txBody>
        </p:sp>
        <p:sp>
          <p:nvSpPr>
            <p:cNvPr id="106" name="Rectangle 105">
              <a:extLst>
                <a:ext uri="{FF2B5EF4-FFF2-40B4-BE49-F238E27FC236}">
                  <a16:creationId xmlns:a16="http://schemas.microsoft.com/office/drawing/2014/main" id="{F9C4624D-47A2-45DA-A4ED-3142066DBBB3}"/>
                </a:ext>
              </a:extLst>
            </p:cNvPr>
            <p:cNvSpPr>
              <a:spLocks/>
            </p:cNvSpPr>
            <p:nvPr/>
          </p:nvSpPr>
          <p:spPr>
            <a:xfrm>
              <a:off x="10310594" y="2025139"/>
              <a:ext cx="728432" cy="22112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buClr>
                  <a:schemeClr val="bg1"/>
                </a:buClr>
              </a:pPr>
              <a:r>
                <a:rPr lang="fr-FR" sz="1020" dirty="0">
                  <a:solidFill>
                    <a:schemeClr val="tx1"/>
                  </a:solidFill>
                  <a:latin typeface="Arial" panose="020B0604020202020204" pitchFamily="34" charset="0"/>
                  <a:cs typeface="Arial" panose="020B0604020202020204" pitchFamily="34" charset="0"/>
                </a:rPr>
                <a:t>…</a:t>
              </a:r>
            </a:p>
          </p:txBody>
        </p:sp>
      </p:grpSp>
      <p:cxnSp>
        <p:nvCxnSpPr>
          <p:cNvPr id="78" name="Straight Connector 77">
            <a:extLst>
              <a:ext uri="{FF2B5EF4-FFF2-40B4-BE49-F238E27FC236}">
                <a16:creationId xmlns:a16="http://schemas.microsoft.com/office/drawing/2014/main" id="{28E3CB89-D15A-4DF9-BCFB-26C3B3BA9B71}"/>
              </a:ext>
            </a:extLst>
          </p:cNvPr>
          <p:cNvCxnSpPr>
            <a:cxnSpLocks/>
          </p:cNvCxnSpPr>
          <p:nvPr/>
        </p:nvCxnSpPr>
        <p:spPr>
          <a:xfrm flipH="1">
            <a:off x="3359375" y="5330712"/>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214BBAA-9AD4-4D91-9A8E-6B5DA25F1B4F}"/>
              </a:ext>
            </a:extLst>
          </p:cNvPr>
          <p:cNvCxnSpPr>
            <a:cxnSpLocks/>
          </p:cNvCxnSpPr>
          <p:nvPr/>
        </p:nvCxnSpPr>
        <p:spPr>
          <a:xfrm flipH="1">
            <a:off x="5150722" y="5330712"/>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BFDCD54-45F1-49A4-B2C2-2165687CE9BD}"/>
              </a:ext>
            </a:extLst>
          </p:cNvPr>
          <p:cNvCxnSpPr>
            <a:cxnSpLocks/>
          </p:cNvCxnSpPr>
          <p:nvPr/>
        </p:nvCxnSpPr>
        <p:spPr>
          <a:xfrm flipH="1">
            <a:off x="6930433" y="5330712"/>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3B2C2F8-0472-4AF4-A3A3-5550E610099F}"/>
              </a:ext>
            </a:extLst>
          </p:cNvPr>
          <p:cNvCxnSpPr>
            <a:cxnSpLocks/>
          </p:cNvCxnSpPr>
          <p:nvPr/>
        </p:nvCxnSpPr>
        <p:spPr>
          <a:xfrm flipH="1">
            <a:off x="3359375" y="4472420"/>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07FC182-7F40-4E73-BAB4-E36C8574701E}"/>
              </a:ext>
            </a:extLst>
          </p:cNvPr>
          <p:cNvCxnSpPr>
            <a:cxnSpLocks/>
          </p:cNvCxnSpPr>
          <p:nvPr/>
        </p:nvCxnSpPr>
        <p:spPr>
          <a:xfrm flipH="1">
            <a:off x="5150722" y="4472420"/>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655BB6-17B7-4E46-9117-BED4E0724730}"/>
              </a:ext>
            </a:extLst>
          </p:cNvPr>
          <p:cNvCxnSpPr>
            <a:cxnSpLocks/>
          </p:cNvCxnSpPr>
          <p:nvPr/>
        </p:nvCxnSpPr>
        <p:spPr>
          <a:xfrm flipH="1">
            <a:off x="6930433" y="4472420"/>
            <a:ext cx="0" cy="211355"/>
          </a:xfrm>
          <a:prstGeom prst="line">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D30CBC11-A2C8-44D6-84EF-FA121497D74E}"/>
              </a:ext>
            </a:extLst>
          </p:cNvPr>
          <p:cNvGrpSpPr/>
          <p:nvPr/>
        </p:nvGrpSpPr>
        <p:grpSpPr>
          <a:xfrm>
            <a:off x="5037464" y="3563428"/>
            <a:ext cx="226519" cy="341368"/>
            <a:chOff x="7209311" y="3630369"/>
            <a:chExt cx="334572" cy="334572"/>
          </a:xfrm>
        </p:grpSpPr>
        <p:sp>
          <p:nvSpPr>
            <p:cNvPr id="97" name="Arc 96">
              <a:extLst>
                <a:ext uri="{FF2B5EF4-FFF2-40B4-BE49-F238E27FC236}">
                  <a16:creationId xmlns:a16="http://schemas.microsoft.com/office/drawing/2014/main" id="{A35F49A0-C744-42EF-A5DD-D04475B3456C}"/>
                </a:ext>
              </a:extLst>
            </p:cNvPr>
            <p:cNvSpPr>
              <a:spLocks/>
            </p:cNvSpPr>
            <p:nvPr/>
          </p:nvSpPr>
          <p:spPr>
            <a:xfrm>
              <a:off x="7209311" y="3630369"/>
              <a:ext cx="334572" cy="334572"/>
            </a:xfrm>
            <a:prstGeom prst="arc">
              <a:avLst>
                <a:gd name="adj1" fmla="val 7508440"/>
                <a:gd name="adj2" fmla="val 17019119"/>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sp>
          <p:nvSpPr>
            <p:cNvPr id="98" name="Arc 97">
              <a:extLst>
                <a:ext uri="{FF2B5EF4-FFF2-40B4-BE49-F238E27FC236}">
                  <a16:creationId xmlns:a16="http://schemas.microsoft.com/office/drawing/2014/main" id="{2805179B-09A3-44F9-A480-F9FF164C05CE}"/>
                </a:ext>
              </a:extLst>
            </p:cNvPr>
            <p:cNvSpPr>
              <a:spLocks/>
            </p:cNvSpPr>
            <p:nvPr/>
          </p:nvSpPr>
          <p:spPr>
            <a:xfrm>
              <a:off x="7209311" y="3630369"/>
              <a:ext cx="334572" cy="334572"/>
            </a:xfrm>
            <a:prstGeom prst="arc">
              <a:avLst>
                <a:gd name="adj1" fmla="val 17378108"/>
                <a:gd name="adj2" fmla="val 6903446"/>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grpSp>
      <p:grpSp>
        <p:nvGrpSpPr>
          <p:cNvPr id="85" name="Group 84">
            <a:extLst>
              <a:ext uri="{FF2B5EF4-FFF2-40B4-BE49-F238E27FC236}">
                <a16:creationId xmlns:a16="http://schemas.microsoft.com/office/drawing/2014/main" id="{7ED3BA2D-CF65-4C6A-8C06-0213BB7D33BE}"/>
              </a:ext>
            </a:extLst>
          </p:cNvPr>
          <p:cNvGrpSpPr/>
          <p:nvPr/>
        </p:nvGrpSpPr>
        <p:grpSpPr>
          <a:xfrm>
            <a:off x="3686221" y="2658917"/>
            <a:ext cx="226519" cy="341368"/>
            <a:chOff x="7209311" y="3630369"/>
            <a:chExt cx="334572" cy="334572"/>
          </a:xfrm>
        </p:grpSpPr>
        <p:sp>
          <p:nvSpPr>
            <p:cNvPr id="95" name="Arc 94">
              <a:extLst>
                <a:ext uri="{FF2B5EF4-FFF2-40B4-BE49-F238E27FC236}">
                  <a16:creationId xmlns:a16="http://schemas.microsoft.com/office/drawing/2014/main" id="{FE5B181D-2D89-46A9-8037-490303965166}"/>
                </a:ext>
              </a:extLst>
            </p:cNvPr>
            <p:cNvSpPr>
              <a:spLocks/>
            </p:cNvSpPr>
            <p:nvPr/>
          </p:nvSpPr>
          <p:spPr>
            <a:xfrm>
              <a:off x="7209311" y="3630369"/>
              <a:ext cx="334572" cy="334572"/>
            </a:xfrm>
            <a:prstGeom prst="arc">
              <a:avLst>
                <a:gd name="adj1" fmla="val 7508440"/>
                <a:gd name="adj2" fmla="val 17019119"/>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sp>
          <p:nvSpPr>
            <p:cNvPr id="96" name="Arc 95">
              <a:extLst>
                <a:ext uri="{FF2B5EF4-FFF2-40B4-BE49-F238E27FC236}">
                  <a16:creationId xmlns:a16="http://schemas.microsoft.com/office/drawing/2014/main" id="{9C148532-6DFA-493D-BDE1-4CA54668BA68}"/>
                </a:ext>
              </a:extLst>
            </p:cNvPr>
            <p:cNvSpPr>
              <a:spLocks/>
            </p:cNvSpPr>
            <p:nvPr/>
          </p:nvSpPr>
          <p:spPr>
            <a:xfrm>
              <a:off x="7209311" y="3630369"/>
              <a:ext cx="334572" cy="334572"/>
            </a:xfrm>
            <a:prstGeom prst="arc">
              <a:avLst>
                <a:gd name="adj1" fmla="val 17378108"/>
                <a:gd name="adj2" fmla="val 6903446"/>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grpSp>
      <p:grpSp>
        <p:nvGrpSpPr>
          <p:cNvPr id="86" name="Group 85">
            <a:extLst>
              <a:ext uri="{FF2B5EF4-FFF2-40B4-BE49-F238E27FC236}">
                <a16:creationId xmlns:a16="http://schemas.microsoft.com/office/drawing/2014/main" id="{7DBAE76C-1355-46FB-B9B5-F8703D18D6EF}"/>
              </a:ext>
            </a:extLst>
          </p:cNvPr>
          <p:cNvGrpSpPr/>
          <p:nvPr/>
        </p:nvGrpSpPr>
        <p:grpSpPr>
          <a:xfrm>
            <a:off x="6388705" y="2658917"/>
            <a:ext cx="226519" cy="341368"/>
            <a:chOff x="7209311" y="3630369"/>
            <a:chExt cx="334572" cy="334572"/>
          </a:xfrm>
        </p:grpSpPr>
        <p:sp>
          <p:nvSpPr>
            <p:cNvPr id="93" name="Arc 92">
              <a:extLst>
                <a:ext uri="{FF2B5EF4-FFF2-40B4-BE49-F238E27FC236}">
                  <a16:creationId xmlns:a16="http://schemas.microsoft.com/office/drawing/2014/main" id="{E3195578-8C39-4BFB-A4DB-C0D1698546B6}"/>
                </a:ext>
              </a:extLst>
            </p:cNvPr>
            <p:cNvSpPr>
              <a:spLocks/>
            </p:cNvSpPr>
            <p:nvPr/>
          </p:nvSpPr>
          <p:spPr>
            <a:xfrm>
              <a:off x="7209311" y="3630369"/>
              <a:ext cx="334572" cy="334572"/>
            </a:xfrm>
            <a:prstGeom prst="arc">
              <a:avLst>
                <a:gd name="adj1" fmla="val 7508440"/>
                <a:gd name="adj2" fmla="val 17019119"/>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sp>
          <p:nvSpPr>
            <p:cNvPr id="94" name="Arc 93">
              <a:extLst>
                <a:ext uri="{FF2B5EF4-FFF2-40B4-BE49-F238E27FC236}">
                  <a16:creationId xmlns:a16="http://schemas.microsoft.com/office/drawing/2014/main" id="{F237A193-3198-4497-962A-B7B82BE5F2F0}"/>
                </a:ext>
              </a:extLst>
            </p:cNvPr>
            <p:cNvSpPr>
              <a:spLocks/>
            </p:cNvSpPr>
            <p:nvPr/>
          </p:nvSpPr>
          <p:spPr>
            <a:xfrm>
              <a:off x="7209311" y="3630369"/>
              <a:ext cx="334572" cy="334572"/>
            </a:xfrm>
            <a:prstGeom prst="arc">
              <a:avLst>
                <a:gd name="adj1" fmla="val 17378108"/>
                <a:gd name="adj2" fmla="val 6903446"/>
              </a:avLst>
            </a:prstGeom>
            <a:ln w="19050">
              <a:solidFill>
                <a:schemeClr val="tx2"/>
              </a:solidFill>
              <a:headEnd type="triangle"/>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fr-FR" sz="1837" dirty="0"/>
            </a:p>
          </p:txBody>
        </p:sp>
      </p:grpSp>
      <p:sp>
        <p:nvSpPr>
          <p:cNvPr id="5" name="Rectangle : coins arrondis 4">
            <a:extLst>
              <a:ext uri="{FF2B5EF4-FFF2-40B4-BE49-F238E27FC236}">
                <a16:creationId xmlns:a16="http://schemas.microsoft.com/office/drawing/2014/main" id="{554903AA-3CBB-72F0-1F74-D606BFE8D05B}"/>
              </a:ext>
            </a:extLst>
          </p:cNvPr>
          <p:cNvSpPr/>
          <p:nvPr/>
        </p:nvSpPr>
        <p:spPr>
          <a:xfrm>
            <a:off x="2209843" y="3681588"/>
            <a:ext cx="5966460" cy="1824284"/>
          </a:xfrm>
          <a:prstGeom prst="roundRect">
            <a:avLst/>
          </a:prstGeom>
          <a:noFill/>
          <a:ln w="9525">
            <a:solidFill>
              <a:schemeClr val="accent4">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6" name="Rectangle 5">
            <a:extLst>
              <a:ext uri="{FF2B5EF4-FFF2-40B4-BE49-F238E27FC236}">
                <a16:creationId xmlns:a16="http://schemas.microsoft.com/office/drawing/2014/main" id="{604B521F-215A-509F-8AB7-49F7A7F78008}"/>
              </a:ext>
            </a:extLst>
          </p:cNvPr>
          <p:cNvSpPr>
            <a:spLocks/>
          </p:cNvSpPr>
          <p:nvPr/>
        </p:nvSpPr>
        <p:spPr>
          <a:xfrm>
            <a:off x="8394934" y="1185477"/>
            <a:ext cx="1329056" cy="5246141"/>
          </a:xfrm>
          <a:prstGeom prst="rect">
            <a:avLst/>
          </a:prstGeom>
          <a:solidFill>
            <a:schemeClr val="accent3">
              <a:lumMod val="20000"/>
              <a:lumOff val="80000"/>
            </a:schemeClr>
          </a:solidFill>
          <a:ln w="9525">
            <a:solidFill>
              <a:schemeClr val="tx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r>
              <a:rPr lang="fr-FR" sz="1428" dirty="0">
                <a:ln>
                  <a:solidFill>
                    <a:schemeClr val="tx2"/>
                  </a:solidFill>
                </a:ln>
                <a:solidFill>
                  <a:schemeClr val="tx1"/>
                </a:solidFill>
              </a:rPr>
              <a:t>Gouvernance claire et des méthodes agiles et centrées usagers</a:t>
            </a:r>
            <a:endParaRPr lang="fr-FR" sz="1428" dirty="0">
              <a:solidFill>
                <a:schemeClr val="tx1"/>
              </a:solidFill>
            </a:endParaRPr>
          </a:p>
        </p:txBody>
      </p:sp>
    </p:spTree>
    <p:extLst>
      <p:ext uri="{BB962C8B-B14F-4D97-AF65-F5344CB8AC3E}">
        <p14:creationId xmlns:p14="http://schemas.microsoft.com/office/powerpoint/2010/main" val="552322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B88EF4-C7FF-43E3-9C1B-E3E352C8FA1C}"/>
              </a:ext>
            </a:extLst>
          </p:cNvPr>
          <p:cNvGraphicFramePr>
            <a:graphicFrameLocks noChangeAspect="1"/>
          </p:cNvGraphicFramePr>
          <p:nvPr>
            <p:custDataLst>
              <p:tags r:id="rId1"/>
            </p:custData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A8B88EF4-C7FF-43E3-9C1B-E3E352C8FA1C}"/>
                          </a:ext>
                        </a:extLst>
                      </p:cNvPr>
                      <p:cNvPicPr/>
                      <p:nvPr/>
                    </p:nvPicPr>
                    <p:blipFill>
                      <a:blip r:embed="rId9"/>
                      <a:stretch>
                        <a:fillRect/>
                      </a:stretch>
                    </p:blipFill>
                    <p:spPr>
                      <a:xfrm>
                        <a:off x="1801" y="1672"/>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D0B87C-8BDF-43D6-9546-B013CA5F0799}"/>
              </a:ext>
            </a:extLst>
          </p:cNvPr>
          <p:cNvSpPr/>
          <p:nvPr>
            <p:custDataLst>
              <p:tags r:id="rId2"/>
            </p:custDataLst>
          </p:nvPr>
        </p:nvSpPr>
        <p:spPr>
          <a:xfrm>
            <a:off x="181" y="52"/>
            <a:ext cx="161971" cy="161971"/>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96"/>
            <a:endParaRPr lang="fr-FR" sz="2449" b="1" err="1">
              <a:solidFill>
                <a:srgbClr val="333333"/>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2" name="Title Placeholder 2">
            <a:extLst>
              <a:ext uri="{FF2B5EF4-FFF2-40B4-BE49-F238E27FC236}">
                <a16:creationId xmlns:a16="http://schemas.microsoft.com/office/drawing/2014/main" id="{2CBD9DCA-226C-43B7-AC4C-1033E52F0194}"/>
              </a:ext>
            </a:extLst>
          </p:cNvPr>
          <p:cNvSpPr>
            <a:spLocks noGrp="1"/>
          </p:cNvSpPr>
          <p:nvPr>
            <p:ph type="title"/>
          </p:nvPr>
        </p:nvSpPr>
        <p:spPr/>
        <p:txBody>
          <a:bodyPr/>
          <a:lstStyle/>
          <a:p>
            <a:r>
              <a:rPr lang="fr-FR" altLang="en-US" dirty="0"/>
              <a:t>Agenda</a:t>
            </a:r>
            <a:endParaRPr lang="fr-FR" dirty="0"/>
          </a:p>
        </p:txBody>
      </p:sp>
      <p:sp>
        <p:nvSpPr>
          <p:cNvPr id="13" name="TextBox 12">
            <a:extLst>
              <a:ext uri="{FF2B5EF4-FFF2-40B4-BE49-F238E27FC236}">
                <a16:creationId xmlns:a16="http://schemas.microsoft.com/office/drawing/2014/main" id="{DE15C667-F931-4F6B-B8AD-711FFFEE2901}"/>
              </a:ext>
            </a:extLst>
          </p:cNvPr>
          <p:cNvSpPr txBox="1">
            <a:spLocks/>
          </p:cNvSpPr>
          <p:nvPr/>
        </p:nvSpPr>
        <p:spPr>
          <a:xfrm>
            <a:off x="4905723" y="2335837"/>
            <a:ext cx="6952153" cy="282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55" eaLnBrk="1" hangingPunct="1">
              <a:buClr>
                <a:schemeClr val="tx2"/>
              </a:buClr>
              <a:defRPr baseline="0">
                <a:latin typeface="+mn-lt"/>
                <a:sym typeface="+mn-lt"/>
              </a:defRPr>
            </a:lvl1pPr>
            <a:lvl2pPr marL="179999" lvl="1" indent="-179999" defTabSz="1193855" eaLnBrk="1" hangingPunct="1">
              <a:buClr>
                <a:schemeClr val="tx2"/>
              </a:buClr>
              <a:buSzPct val="125000"/>
              <a:buFont typeface="Arial" pitchFamily="34" charset="0"/>
              <a:buChar char="•"/>
              <a:defRPr baseline="0">
                <a:latin typeface="+mn-lt"/>
                <a:sym typeface="+mn-lt"/>
              </a:defRPr>
            </a:lvl2pPr>
            <a:lvl3pPr marL="359999" lvl="2" indent="-179999" defTabSz="1193855" eaLnBrk="1" hangingPunct="1">
              <a:buClr>
                <a:schemeClr val="tx2"/>
              </a:buClr>
              <a:buSzPct val="120000"/>
              <a:buFont typeface="Arial" charset="0"/>
              <a:buChar char="–"/>
              <a:defRPr baseline="0">
                <a:latin typeface="+mn-lt"/>
                <a:sym typeface="+mn-lt"/>
              </a:defRPr>
            </a:lvl3pPr>
            <a:lvl4pPr marL="539998" lvl="3" indent="-179999" defTabSz="1193855" eaLnBrk="1" hangingPunct="1">
              <a:buClr>
                <a:schemeClr val="tx2"/>
              </a:buClr>
              <a:buSzPct val="120000"/>
              <a:buFont typeface="Arial" pitchFamily="34" charset="0"/>
              <a:buChar char="◦"/>
              <a:defRPr baseline="0">
                <a:latin typeface="+mn-lt"/>
                <a:sym typeface="+mn-lt"/>
              </a:defRPr>
            </a:lvl4pPr>
            <a:lvl5pPr marL="719997" lvl="4" indent="-179999" defTabSz="1193855" eaLnBrk="1" hangingPunct="1">
              <a:buClr>
                <a:schemeClr val="tx2"/>
              </a:buClr>
              <a:buSzPct val="89000"/>
              <a:buFont typeface="Arial" charset="0"/>
              <a:buChar char="-"/>
              <a:defRPr baseline="0">
                <a:latin typeface="+mn-lt"/>
                <a:sym typeface="+mn-lt"/>
              </a:defRPr>
            </a:lvl5pPr>
            <a:lvl6pPr marL="999790" indent="-173575" defTabSz="1193855" fontAlgn="base">
              <a:spcBef>
                <a:spcPct val="0"/>
              </a:spcBef>
              <a:spcAft>
                <a:spcPct val="0"/>
              </a:spcAft>
              <a:buClr>
                <a:schemeClr val="tx2"/>
              </a:buClr>
              <a:buSzPct val="89000"/>
              <a:buFont typeface="Arial" charset="0"/>
              <a:buChar char="-"/>
              <a:defRPr sz="2133" baseline="0">
                <a:latin typeface="+mn-lt"/>
              </a:defRPr>
            </a:lvl6pPr>
            <a:lvl7pPr marL="999790" indent="-173575" defTabSz="1193855" fontAlgn="base">
              <a:spcBef>
                <a:spcPct val="0"/>
              </a:spcBef>
              <a:spcAft>
                <a:spcPct val="0"/>
              </a:spcAft>
              <a:buClr>
                <a:schemeClr val="tx2"/>
              </a:buClr>
              <a:buSzPct val="89000"/>
              <a:buFont typeface="Arial" charset="0"/>
              <a:buChar char="-"/>
              <a:defRPr sz="2133" baseline="0">
                <a:latin typeface="+mn-lt"/>
              </a:defRPr>
            </a:lvl7pPr>
            <a:lvl8pPr marL="999790" indent="-173575" defTabSz="1193855" fontAlgn="base">
              <a:spcBef>
                <a:spcPct val="0"/>
              </a:spcBef>
              <a:spcAft>
                <a:spcPct val="0"/>
              </a:spcAft>
              <a:buClr>
                <a:schemeClr val="tx2"/>
              </a:buClr>
              <a:buSzPct val="89000"/>
              <a:buFont typeface="Arial" charset="0"/>
              <a:buChar char="-"/>
              <a:defRPr sz="2133" baseline="0">
                <a:latin typeface="+mn-lt"/>
              </a:defRPr>
            </a:lvl8pPr>
            <a:lvl9pPr marL="999790" indent="-173575" defTabSz="1193855" fontAlgn="base">
              <a:spcBef>
                <a:spcPct val="0"/>
              </a:spcBef>
              <a:spcAft>
                <a:spcPct val="0"/>
              </a:spcAft>
              <a:buClr>
                <a:schemeClr val="tx2"/>
              </a:buClr>
              <a:buSzPct val="89000"/>
              <a:buFont typeface="Arial" charset="0"/>
              <a:buChar char="-"/>
              <a:defRPr sz="2133" baseline="0">
                <a:latin typeface="+mn-lt"/>
              </a:defRPr>
            </a:lvl9pPr>
          </a:lstStyle>
          <a:p>
            <a:r>
              <a:rPr lang="fr-FR" sz="1837" b="1" dirty="0"/>
              <a:t>Le Digital, incontournable pour le développement du Maroc</a:t>
            </a:r>
          </a:p>
        </p:txBody>
      </p:sp>
      <p:sp>
        <p:nvSpPr>
          <p:cNvPr id="15" name="TextBox 14">
            <a:extLst>
              <a:ext uri="{FF2B5EF4-FFF2-40B4-BE49-F238E27FC236}">
                <a16:creationId xmlns:a16="http://schemas.microsoft.com/office/drawing/2014/main" id="{B96C5068-212C-40BE-969E-191B2B7A43D3}"/>
              </a:ext>
            </a:extLst>
          </p:cNvPr>
          <p:cNvSpPr txBox="1">
            <a:spLocks/>
          </p:cNvSpPr>
          <p:nvPr/>
        </p:nvSpPr>
        <p:spPr>
          <a:xfrm>
            <a:off x="4905723" y="3377795"/>
            <a:ext cx="6280437" cy="14135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55" eaLnBrk="1" hangingPunct="1">
              <a:buClr>
                <a:schemeClr val="tx2"/>
              </a:buClr>
              <a:defRPr baseline="0">
                <a:latin typeface="+mn-lt"/>
                <a:sym typeface="+mn-lt"/>
              </a:defRPr>
            </a:lvl1pPr>
            <a:lvl2pPr marL="179999" lvl="1" indent="-179999" defTabSz="1193855" eaLnBrk="1" hangingPunct="1">
              <a:buClr>
                <a:schemeClr val="tx2"/>
              </a:buClr>
              <a:buSzPct val="125000"/>
              <a:buFont typeface="Arial" pitchFamily="34" charset="0"/>
              <a:buChar char="•"/>
              <a:defRPr baseline="0">
                <a:latin typeface="+mn-lt"/>
                <a:sym typeface="+mn-lt"/>
              </a:defRPr>
            </a:lvl2pPr>
            <a:lvl3pPr marL="359999" lvl="2" indent="-179999" defTabSz="1193855" eaLnBrk="1" hangingPunct="1">
              <a:buClr>
                <a:schemeClr val="tx2"/>
              </a:buClr>
              <a:buSzPct val="120000"/>
              <a:buFont typeface="Arial" charset="0"/>
              <a:buChar char="–"/>
              <a:defRPr baseline="0">
                <a:latin typeface="+mn-lt"/>
                <a:sym typeface="+mn-lt"/>
              </a:defRPr>
            </a:lvl3pPr>
            <a:lvl4pPr marL="539998" lvl="3" indent="-179999" defTabSz="1193855" eaLnBrk="1" hangingPunct="1">
              <a:buClr>
                <a:schemeClr val="tx2"/>
              </a:buClr>
              <a:buSzPct val="120000"/>
              <a:buFont typeface="Arial" pitchFamily="34" charset="0"/>
              <a:buChar char="◦"/>
              <a:defRPr baseline="0">
                <a:latin typeface="+mn-lt"/>
                <a:sym typeface="+mn-lt"/>
              </a:defRPr>
            </a:lvl4pPr>
            <a:lvl5pPr marL="719997" lvl="4" indent="-179999" defTabSz="1193855" eaLnBrk="1" hangingPunct="1">
              <a:buClr>
                <a:schemeClr val="tx2"/>
              </a:buClr>
              <a:buSzPct val="89000"/>
              <a:buFont typeface="Arial" charset="0"/>
              <a:buChar char="-"/>
              <a:defRPr baseline="0">
                <a:latin typeface="+mn-lt"/>
                <a:sym typeface="+mn-lt"/>
              </a:defRPr>
            </a:lvl5pPr>
            <a:lvl6pPr marL="999790" indent="-173575" defTabSz="1193855" fontAlgn="base">
              <a:spcBef>
                <a:spcPct val="0"/>
              </a:spcBef>
              <a:spcAft>
                <a:spcPct val="0"/>
              </a:spcAft>
              <a:buClr>
                <a:schemeClr val="tx2"/>
              </a:buClr>
              <a:buSzPct val="89000"/>
              <a:buFont typeface="Arial" charset="0"/>
              <a:buChar char="-"/>
              <a:defRPr sz="2133" baseline="0">
                <a:latin typeface="+mn-lt"/>
              </a:defRPr>
            </a:lvl6pPr>
            <a:lvl7pPr marL="999790" indent="-173575" defTabSz="1193855" fontAlgn="base">
              <a:spcBef>
                <a:spcPct val="0"/>
              </a:spcBef>
              <a:spcAft>
                <a:spcPct val="0"/>
              </a:spcAft>
              <a:buClr>
                <a:schemeClr val="tx2"/>
              </a:buClr>
              <a:buSzPct val="89000"/>
              <a:buFont typeface="Arial" charset="0"/>
              <a:buChar char="-"/>
              <a:defRPr sz="2133" baseline="0">
                <a:latin typeface="+mn-lt"/>
              </a:defRPr>
            </a:lvl7pPr>
            <a:lvl8pPr marL="999790" indent="-173575" defTabSz="1193855" fontAlgn="base">
              <a:spcBef>
                <a:spcPct val="0"/>
              </a:spcBef>
              <a:spcAft>
                <a:spcPct val="0"/>
              </a:spcAft>
              <a:buClr>
                <a:schemeClr val="tx2"/>
              </a:buClr>
              <a:buSzPct val="89000"/>
              <a:buFont typeface="Arial" charset="0"/>
              <a:buChar char="-"/>
              <a:defRPr sz="2133" baseline="0">
                <a:latin typeface="+mn-lt"/>
              </a:defRPr>
            </a:lvl8pPr>
            <a:lvl9pPr marL="999790" indent="-173575" defTabSz="1193855" fontAlgn="base">
              <a:spcBef>
                <a:spcPct val="0"/>
              </a:spcBef>
              <a:spcAft>
                <a:spcPct val="0"/>
              </a:spcAft>
              <a:buClr>
                <a:schemeClr val="tx2"/>
              </a:buClr>
              <a:buSzPct val="89000"/>
              <a:buFont typeface="Arial" charset="0"/>
              <a:buChar char="-"/>
              <a:defRPr sz="2133" baseline="0">
                <a:latin typeface="+mn-lt"/>
              </a:defRPr>
            </a:lvl9pPr>
          </a:lstStyle>
          <a:p>
            <a:r>
              <a:rPr lang="fr-FR" sz="1837" b="1" dirty="0"/>
              <a:t>Projets E-</a:t>
            </a:r>
            <a:r>
              <a:rPr lang="fr-FR" sz="1837" b="1" dirty="0" err="1"/>
              <a:t>Gov</a:t>
            </a:r>
            <a:r>
              <a:rPr lang="fr-FR" sz="1837" b="1" dirty="0"/>
              <a:t>, vers une administration digitale</a:t>
            </a:r>
          </a:p>
          <a:p>
            <a:pPr marL="522899" lvl="1" indent="-342900"/>
            <a:r>
              <a:rPr lang="fr-FR" sz="1837" b="1" dirty="0"/>
              <a:t>Interopérabilité</a:t>
            </a:r>
          </a:p>
          <a:p>
            <a:pPr marL="522899" lvl="1" indent="-342900"/>
            <a:r>
              <a:rPr lang="fr-FR" sz="1837" b="1" dirty="0"/>
              <a:t>Digital </a:t>
            </a:r>
            <a:r>
              <a:rPr lang="fr-FR" sz="1837" b="1" dirty="0" err="1"/>
              <a:t>Factory</a:t>
            </a:r>
            <a:endParaRPr lang="fr-FR" sz="1837" b="1" dirty="0"/>
          </a:p>
          <a:p>
            <a:pPr marL="522899" lvl="1" indent="-342900"/>
            <a:r>
              <a:rPr lang="fr-FR" sz="1837" b="1" dirty="0"/>
              <a:t>Modules communs</a:t>
            </a:r>
          </a:p>
          <a:p>
            <a:pPr marL="522899" lvl="1" indent="-342900"/>
            <a:r>
              <a:rPr lang="fr-FR" sz="1837" b="1" dirty="0"/>
              <a:t>Open Data</a:t>
            </a:r>
          </a:p>
        </p:txBody>
      </p:sp>
      <p:sp>
        <p:nvSpPr>
          <p:cNvPr id="17" name="TextBox 16">
            <a:extLst>
              <a:ext uri="{FF2B5EF4-FFF2-40B4-BE49-F238E27FC236}">
                <a16:creationId xmlns:a16="http://schemas.microsoft.com/office/drawing/2014/main" id="{8153AA08-3F7D-4FBA-A581-B71ABFAA62D1}"/>
              </a:ext>
            </a:extLst>
          </p:cNvPr>
          <p:cNvSpPr txBox="1">
            <a:spLocks/>
          </p:cNvSpPr>
          <p:nvPr/>
        </p:nvSpPr>
        <p:spPr>
          <a:xfrm>
            <a:off x="4905723" y="5254143"/>
            <a:ext cx="6952153" cy="2827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55" eaLnBrk="1" hangingPunct="1">
              <a:buClr>
                <a:schemeClr val="tx2"/>
              </a:buClr>
              <a:defRPr baseline="0">
                <a:latin typeface="+mn-lt"/>
                <a:sym typeface="+mn-lt"/>
              </a:defRPr>
            </a:lvl1pPr>
            <a:lvl2pPr marL="179999" lvl="1" indent="-179999" defTabSz="1193855" eaLnBrk="1" hangingPunct="1">
              <a:buClr>
                <a:schemeClr val="tx2"/>
              </a:buClr>
              <a:buSzPct val="125000"/>
              <a:buFont typeface="Arial" pitchFamily="34" charset="0"/>
              <a:buChar char="•"/>
              <a:defRPr baseline="0">
                <a:latin typeface="+mn-lt"/>
                <a:sym typeface="+mn-lt"/>
              </a:defRPr>
            </a:lvl2pPr>
            <a:lvl3pPr marL="359999" lvl="2" indent="-179999" defTabSz="1193855" eaLnBrk="1" hangingPunct="1">
              <a:buClr>
                <a:schemeClr val="tx2"/>
              </a:buClr>
              <a:buSzPct val="120000"/>
              <a:buFont typeface="Arial" charset="0"/>
              <a:buChar char="–"/>
              <a:defRPr baseline="0">
                <a:latin typeface="+mn-lt"/>
                <a:sym typeface="+mn-lt"/>
              </a:defRPr>
            </a:lvl3pPr>
            <a:lvl4pPr marL="539998" lvl="3" indent="-179999" defTabSz="1193855" eaLnBrk="1" hangingPunct="1">
              <a:buClr>
                <a:schemeClr val="tx2"/>
              </a:buClr>
              <a:buSzPct val="120000"/>
              <a:buFont typeface="Arial" pitchFamily="34" charset="0"/>
              <a:buChar char="◦"/>
              <a:defRPr baseline="0">
                <a:latin typeface="+mn-lt"/>
                <a:sym typeface="+mn-lt"/>
              </a:defRPr>
            </a:lvl4pPr>
            <a:lvl5pPr marL="719997" lvl="4" indent="-179999" defTabSz="1193855" eaLnBrk="1" hangingPunct="1">
              <a:buClr>
                <a:schemeClr val="tx2"/>
              </a:buClr>
              <a:buSzPct val="89000"/>
              <a:buFont typeface="Arial" charset="0"/>
              <a:buChar char="-"/>
              <a:defRPr baseline="0">
                <a:latin typeface="+mn-lt"/>
                <a:sym typeface="+mn-lt"/>
              </a:defRPr>
            </a:lvl5pPr>
            <a:lvl6pPr marL="999790" indent="-173575" defTabSz="1193855" fontAlgn="base">
              <a:spcBef>
                <a:spcPct val="0"/>
              </a:spcBef>
              <a:spcAft>
                <a:spcPct val="0"/>
              </a:spcAft>
              <a:buClr>
                <a:schemeClr val="tx2"/>
              </a:buClr>
              <a:buSzPct val="89000"/>
              <a:buFont typeface="Arial" charset="0"/>
              <a:buChar char="-"/>
              <a:defRPr sz="2133" baseline="0">
                <a:latin typeface="+mn-lt"/>
              </a:defRPr>
            </a:lvl6pPr>
            <a:lvl7pPr marL="999790" indent="-173575" defTabSz="1193855" fontAlgn="base">
              <a:spcBef>
                <a:spcPct val="0"/>
              </a:spcBef>
              <a:spcAft>
                <a:spcPct val="0"/>
              </a:spcAft>
              <a:buClr>
                <a:schemeClr val="tx2"/>
              </a:buClr>
              <a:buSzPct val="89000"/>
              <a:buFont typeface="Arial" charset="0"/>
              <a:buChar char="-"/>
              <a:defRPr sz="2133" baseline="0">
                <a:latin typeface="+mn-lt"/>
              </a:defRPr>
            </a:lvl7pPr>
            <a:lvl8pPr marL="999790" indent="-173575" defTabSz="1193855" fontAlgn="base">
              <a:spcBef>
                <a:spcPct val="0"/>
              </a:spcBef>
              <a:spcAft>
                <a:spcPct val="0"/>
              </a:spcAft>
              <a:buClr>
                <a:schemeClr val="tx2"/>
              </a:buClr>
              <a:buSzPct val="89000"/>
              <a:buFont typeface="Arial" charset="0"/>
              <a:buChar char="-"/>
              <a:defRPr sz="2133" baseline="0">
                <a:latin typeface="+mn-lt"/>
              </a:defRPr>
            </a:lvl8pPr>
            <a:lvl9pPr marL="999790" indent="-173575" defTabSz="1193855" fontAlgn="base">
              <a:spcBef>
                <a:spcPct val="0"/>
              </a:spcBef>
              <a:spcAft>
                <a:spcPct val="0"/>
              </a:spcAft>
              <a:buClr>
                <a:schemeClr val="tx2"/>
              </a:buClr>
              <a:buSzPct val="89000"/>
              <a:buFont typeface="Arial" charset="0"/>
              <a:buChar char="-"/>
              <a:defRPr sz="2133" baseline="0">
                <a:latin typeface="+mn-lt"/>
              </a:defRPr>
            </a:lvl9pPr>
          </a:lstStyle>
          <a:p>
            <a:r>
              <a:rPr lang="fr-FR" sz="1837" b="1" dirty="0"/>
              <a:t>Framework d’un Smart </a:t>
            </a:r>
            <a:r>
              <a:rPr lang="fr-FR" sz="1837" b="1" dirty="0" err="1"/>
              <a:t>Government</a:t>
            </a:r>
            <a:endParaRPr lang="fr-FR" sz="1837" b="1" dirty="0"/>
          </a:p>
        </p:txBody>
      </p:sp>
      <p:pic>
        <p:nvPicPr>
          <p:cNvPr id="10" name="CustomIcon">
            <a:extLst>
              <a:ext uri="{FF2B5EF4-FFF2-40B4-BE49-F238E27FC236}">
                <a16:creationId xmlns:a16="http://schemas.microsoft.com/office/drawing/2014/main" id="{374A1AC2-1219-4643-BB44-61291AC4CF42}"/>
              </a:ext>
            </a:extLst>
          </p:cNvPr>
          <p:cNvPicPr>
            <a:picLocks/>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4215478" y="5270264"/>
            <a:ext cx="510308" cy="510308"/>
          </a:xfrm>
          <a:prstGeom prst="rect">
            <a:avLst/>
          </a:prstGeom>
        </p:spPr>
      </p:pic>
      <p:pic>
        <p:nvPicPr>
          <p:cNvPr id="16" name="CustomIcon">
            <a:extLst>
              <a:ext uri="{FF2B5EF4-FFF2-40B4-BE49-F238E27FC236}">
                <a16:creationId xmlns:a16="http://schemas.microsoft.com/office/drawing/2014/main" id="{A39CA714-08CF-4506-A66E-3FD9D3879CB5}"/>
              </a:ext>
            </a:extLst>
          </p:cNvPr>
          <p:cNvPicPr>
            <a:picLocks/>
          </p:cNvPicPr>
          <p:nvPr>
            <p:custDataLst>
              <p:tags r:id="rId4"/>
            </p:custDataLst>
          </p:nvPr>
        </p:nvPicPr>
        <p:blipFill>
          <a:blip r:embed="rId12">
            <a:extLst>
              <a:ext uri="{96DAC541-7B7A-43D3-8B79-37D633B846F1}">
                <asvg:svgBlip xmlns:asvg="http://schemas.microsoft.com/office/drawing/2016/SVG/main" r:embed="rId13"/>
              </a:ext>
            </a:extLst>
          </a:blip>
          <a:stretch>
            <a:fillRect/>
          </a:stretch>
        </p:blipFill>
        <p:spPr>
          <a:xfrm>
            <a:off x="4215478" y="3405346"/>
            <a:ext cx="510308" cy="510308"/>
          </a:xfrm>
          <a:prstGeom prst="rect">
            <a:avLst/>
          </a:prstGeom>
        </p:spPr>
      </p:pic>
      <p:pic>
        <p:nvPicPr>
          <p:cNvPr id="19" name="CustomIcon">
            <a:extLst>
              <a:ext uri="{FF2B5EF4-FFF2-40B4-BE49-F238E27FC236}">
                <a16:creationId xmlns:a16="http://schemas.microsoft.com/office/drawing/2014/main" id="{E3506397-0867-465C-B4D2-E95590B8533E}"/>
              </a:ext>
            </a:extLst>
          </p:cNvPr>
          <p:cNvPicPr>
            <a:picLocks/>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4215478" y="2363388"/>
            <a:ext cx="510308" cy="510308"/>
          </a:xfrm>
          <a:prstGeom prst="rect">
            <a:avLst/>
          </a:prstGeom>
        </p:spPr>
      </p:pic>
    </p:spTree>
    <p:extLst>
      <p:ext uri="{BB962C8B-B14F-4D97-AF65-F5344CB8AC3E}">
        <p14:creationId xmlns:p14="http://schemas.microsoft.com/office/powerpoint/2010/main" val="67929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BB4F5C9F-3A07-4FC6-B8A0-23D725321A48}"/>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1" hidden="1">
                        <a:extLst>
                          <a:ext uri="{FF2B5EF4-FFF2-40B4-BE49-F238E27FC236}">
                            <a16:creationId xmlns:a16="http://schemas.microsoft.com/office/drawing/2014/main" id="{BB4F5C9F-3A07-4FC6-B8A0-23D725321A48}"/>
                          </a:ext>
                        </a:extLst>
                      </p:cNvPr>
                      <p:cNvPicPr/>
                      <p:nvPr/>
                    </p:nvPicPr>
                    <p:blipFill>
                      <a:blip r:embed="rId6"/>
                      <a:stretch>
                        <a:fillRect/>
                      </a:stretch>
                    </p:blipFill>
                    <p:spPr>
                      <a:xfrm>
                        <a:off x="1711" y="1621"/>
                        <a:ext cx="1620" cy="1620"/>
                      </a:xfrm>
                      <a:prstGeom prst="rect">
                        <a:avLst/>
                      </a:prstGeom>
                    </p:spPr>
                  </p:pic>
                </p:oleObj>
              </mc:Fallback>
            </mc:AlternateContent>
          </a:graphicData>
        </a:graphic>
      </p:graphicFrame>
      <p:sp>
        <p:nvSpPr>
          <p:cNvPr id="4" name="Rectangle 2" hidden="1">
            <a:extLst>
              <a:ext uri="{FF2B5EF4-FFF2-40B4-BE49-F238E27FC236}">
                <a16:creationId xmlns:a16="http://schemas.microsoft.com/office/drawing/2014/main" id="{C1C14591-CAD6-4214-9697-12D13511B14A}"/>
              </a:ext>
            </a:extLst>
          </p:cNvPr>
          <p:cNvSpPr/>
          <p:nvPr>
            <p:custDataLst>
              <p:tags r:id="rId2"/>
            </p:custDataLst>
          </p:nvPr>
        </p:nvSpPr>
        <p:spPr>
          <a:xfrm>
            <a:off x="90" y="1"/>
            <a:ext cx="161974"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49" b="1" i="0" u="none" strike="noStrike" kern="1200" cap="none" spc="0" normalizeH="0" baseline="0" noProof="0" dirty="0">
              <a:ln>
                <a:noFill/>
              </a:ln>
              <a:solidFill>
                <a:srgbClr val="333333"/>
              </a:solidFill>
              <a:effectLst/>
              <a:uLnTx/>
              <a:uFillTx/>
              <a:latin typeface="Arial Narrow" panose="020B0606020202030204" pitchFamily="34" charset="0"/>
              <a:ea typeface="ＭＳ Ｐゴシック" panose="020B0600070205080204" pitchFamily="34" charset="-128"/>
              <a:cs typeface="+mn-cs"/>
              <a:sym typeface="Arial Narrow" panose="020B0606020202030204" pitchFamily="34" charset="0"/>
            </a:endParaRPr>
          </a:p>
        </p:txBody>
      </p:sp>
      <p:sp>
        <p:nvSpPr>
          <p:cNvPr id="2" name="Title Placeholder 2">
            <a:extLst>
              <a:ext uri="{FF2B5EF4-FFF2-40B4-BE49-F238E27FC236}">
                <a16:creationId xmlns:a16="http://schemas.microsoft.com/office/drawing/2014/main" id="{C9C5BC57-668B-4F4B-923A-17A51E8BDC5D}"/>
              </a:ext>
            </a:extLst>
          </p:cNvPr>
          <p:cNvSpPr>
            <a:spLocks noGrp="1"/>
          </p:cNvSpPr>
          <p:nvPr>
            <p:ph type="title"/>
          </p:nvPr>
        </p:nvSpPr>
        <p:spPr/>
        <p:txBody>
          <a:bodyPr/>
          <a:lstStyle/>
          <a:p>
            <a:pPr algn="just"/>
            <a:r>
              <a:rPr lang="fr-FR" dirty="0"/>
              <a:t>Le Digital est un facteur important qui aide le pays à faire face aux défis socio-économiques qu’il rencontre, en particulier :</a:t>
            </a:r>
          </a:p>
        </p:txBody>
      </p:sp>
      <p:grpSp>
        <p:nvGrpSpPr>
          <p:cNvPr id="5" name="Groupe 4">
            <a:extLst>
              <a:ext uri="{FF2B5EF4-FFF2-40B4-BE49-F238E27FC236}">
                <a16:creationId xmlns:a16="http://schemas.microsoft.com/office/drawing/2014/main" id="{3C0087E8-0DC3-4759-9C1B-0917FBC4A546}"/>
              </a:ext>
            </a:extLst>
          </p:cNvPr>
          <p:cNvGrpSpPr/>
          <p:nvPr/>
        </p:nvGrpSpPr>
        <p:grpSpPr>
          <a:xfrm>
            <a:off x="579516" y="1738280"/>
            <a:ext cx="11077829" cy="2490820"/>
            <a:chOff x="233993" y="2321287"/>
            <a:chExt cx="7356629" cy="672120"/>
          </a:xfrm>
        </p:grpSpPr>
        <p:sp>
          <p:nvSpPr>
            <p:cNvPr id="12" name="Rectangle 11">
              <a:extLst>
                <a:ext uri="{FF2B5EF4-FFF2-40B4-BE49-F238E27FC236}">
                  <a16:creationId xmlns:a16="http://schemas.microsoft.com/office/drawing/2014/main" id="{3D7EB304-89E9-41F5-B6A0-E3F3BB31A501}"/>
                </a:ext>
              </a:extLst>
            </p:cNvPr>
            <p:cNvSpPr>
              <a:spLocks noChangeArrowheads="1"/>
            </p:cNvSpPr>
            <p:nvPr/>
          </p:nvSpPr>
          <p:spPr bwMode="auto">
            <a:xfrm>
              <a:off x="233993" y="2321287"/>
              <a:ext cx="2354971" cy="672120"/>
            </a:xfrm>
            <a:prstGeom prst="rect">
              <a:avLst/>
            </a:prstGeom>
            <a:solidFill>
              <a:schemeClr val="accent6"/>
            </a:solidFill>
            <a:ln w="19050" algn="ctr">
              <a:noFill/>
              <a:miter lim="800000"/>
              <a:headEnd/>
              <a:tailEnd/>
            </a:ln>
          </p:spPr>
          <p:txBody>
            <a:bodyPr wrap="square" lIns="36731" tIns="36731" rIns="36731" bIns="36731"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37" b="1" i="0" u="none" strike="noStrike" kern="1200" cap="none" spc="0" normalizeH="0" baseline="0" noProof="0" dirty="0">
                  <a:ln>
                    <a:noFill/>
                  </a:ln>
                  <a:solidFill>
                    <a:srgbClr val="FFFFFF"/>
                  </a:solidFill>
                  <a:effectLst/>
                  <a:uLnTx/>
                  <a:uFillTx/>
                  <a:latin typeface="Arial Nova Light (Corps)"/>
                  <a:ea typeface="ＭＳ Ｐゴシック" pitchFamily="50" charset="-128"/>
                  <a:cs typeface="+mn-cs"/>
                </a:rPr>
                <a:t>L’amélioration de la qualité des interactions entre Citoyens et administrations</a:t>
              </a:r>
            </a:p>
          </p:txBody>
        </p:sp>
        <p:sp>
          <p:nvSpPr>
            <p:cNvPr id="14" name="Rectangle 13">
              <a:extLst>
                <a:ext uri="{FF2B5EF4-FFF2-40B4-BE49-F238E27FC236}">
                  <a16:creationId xmlns:a16="http://schemas.microsoft.com/office/drawing/2014/main" id="{69753796-9F91-4F53-B0E5-4EC3403E2BCA}"/>
                </a:ext>
              </a:extLst>
            </p:cNvPr>
            <p:cNvSpPr>
              <a:spLocks noChangeArrowheads="1"/>
            </p:cNvSpPr>
            <p:nvPr/>
          </p:nvSpPr>
          <p:spPr bwMode="auto">
            <a:xfrm>
              <a:off x="2729313" y="2321287"/>
              <a:ext cx="2354971" cy="672120"/>
            </a:xfrm>
            <a:prstGeom prst="rect">
              <a:avLst/>
            </a:prstGeom>
            <a:solidFill>
              <a:schemeClr val="accent6"/>
            </a:solidFill>
            <a:ln w="19050" algn="ctr">
              <a:noFill/>
              <a:miter lim="800000"/>
              <a:headEnd/>
              <a:tailEnd/>
            </a:ln>
          </p:spPr>
          <p:txBody>
            <a:bodyPr wrap="square" lIns="36731" tIns="36731" rIns="36731" bIns="36731"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37" b="1" i="0" u="none" strike="noStrike" kern="1200" cap="none" spc="0" normalizeH="0" baseline="0" noProof="0" dirty="0">
                  <a:ln>
                    <a:noFill/>
                  </a:ln>
                  <a:solidFill>
                    <a:srgbClr val="FFFFFF"/>
                  </a:solidFill>
                  <a:effectLst/>
                  <a:uLnTx/>
                  <a:uFillTx/>
                  <a:latin typeface="Arial Nova Light (Corps)"/>
                  <a:ea typeface="ＭＳ Ｐゴシック" pitchFamily="50" charset="-128"/>
                  <a:cs typeface="+mn-cs"/>
                </a:rPr>
                <a:t>L’amélioration de la productivité et de la compétitivité de l’économie marocaine </a:t>
              </a:r>
            </a:p>
          </p:txBody>
        </p:sp>
        <p:sp>
          <p:nvSpPr>
            <p:cNvPr id="18" name="Rectangle 17">
              <a:extLst>
                <a:ext uri="{FF2B5EF4-FFF2-40B4-BE49-F238E27FC236}">
                  <a16:creationId xmlns:a16="http://schemas.microsoft.com/office/drawing/2014/main" id="{A16281FE-B37C-4A5F-A4A1-7582D64E9F0F}"/>
                </a:ext>
              </a:extLst>
            </p:cNvPr>
            <p:cNvSpPr>
              <a:spLocks noChangeArrowheads="1"/>
            </p:cNvSpPr>
            <p:nvPr/>
          </p:nvSpPr>
          <p:spPr bwMode="auto">
            <a:xfrm>
              <a:off x="5235651" y="2321287"/>
              <a:ext cx="2354971" cy="672120"/>
            </a:xfrm>
            <a:prstGeom prst="rect">
              <a:avLst/>
            </a:prstGeom>
            <a:solidFill>
              <a:schemeClr val="accent6"/>
            </a:solidFill>
            <a:ln w="19050" algn="ctr">
              <a:noFill/>
              <a:miter lim="800000"/>
              <a:headEnd/>
              <a:tailEnd/>
            </a:ln>
          </p:spPr>
          <p:txBody>
            <a:bodyPr wrap="square" lIns="36731" tIns="36731" rIns="36731" bIns="36731"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37" b="1" i="0" u="none" strike="noStrike" kern="1200" cap="none" spc="0" normalizeH="0" baseline="0" noProof="0" dirty="0">
                  <a:ln>
                    <a:noFill/>
                  </a:ln>
                  <a:solidFill>
                    <a:srgbClr val="FFFFFF"/>
                  </a:solidFill>
                  <a:effectLst/>
                  <a:uLnTx/>
                  <a:uFillTx/>
                  <a:latin typeface="Arial Nova Light (Corps)"/>
                  <a:ea typeface="ＭＳ Ｐゴシック" pitchFamily="50" charset="-128"/>
                  <a:cs typeface="+mn-cs"/>
                </a:rPr>
                <a:t>La réduction des inégalités sociales à travers l’utilisation du levier Digital </a:t>
              </a:r>
            </a:p>
          </p:txBody>
        </p:sp>
      </p:grpSp>
    </p:spTree>
    <p:extLst>
      <p:ext uri="{BB962C8B-B14F-4D97-AF65-F5344CB8AC3E}">
        <p14:creationId xmlns:p14="http://schemas.microsoft.com/office/powerpoint/2010/main" val="3758649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B53212-8EC8-3C38-2A62-4A7273D5A942}"/>
              </a:ext>
            </a:extLst>
          </p:cNvPr>
          <p:cNvSpPr>
            <a:spLocks noGrp="1"/>
          </p:cNvSpPr>
          <p:nvPr>
            <p:ph type="title"/>
          </p:nvPr>
        </p:nvSpPr>
        <p:spPr/>
        <p:txBody>
          <a:bodyPr/>
          <a:lstStyle/>
          <a:p>
            <a:r>
              <a:rPr lang="fr-FR" dirty="0"/>
              <a:t>Nouveau modèle de développement: le Digital , un chantier stratégique pour réaliser le développement global du Maroc</a:t>
            </a:r>
          </a:p>
        </p:txBody>
      </p:sp>
      <p:sp>
        <p:nvSpPr>
          <p:cNvPr id="4" name="ZoneTexte 3">
            <a:extLst>
              <a:ext uri="{FF2B5EF4-FFF2-40B4-BE49-F238E27FC236}">
                <a16:creationId xmlns:a16="http://schemas.microsoft.com/office/drawing/2014/main" id="{DC6DEDAA-0515-19A1-CC65-DB49AE558E82}"/>
              </a:ext>
            </a:extLst>
          </p:cNvPr>
          <p:cNvSpPr txBox="1"/>
          <p:nvPr/>
        </p:nvSpPr>
        <p:spPr>
          <a:xfrm>
            <a:off x="674370" y="1958549"/>
            <a:ext cx="11075670" cy="3693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buFont typeface="Arial" panose="020B0604020202020204" pitchFamily="34" charset="0"/>
              <a:buChar char="•"/>
            </a:pPr>
            <a:r>
              <a:rPr lang="fr-FR" dirty="0"/>
              <a:t>« Une unanimité se dégage quant à l’exigence d’efficacité de l’administration. Outre une demande d’expertise et de compétence technique, il est à souligner l’exigence d’une plus grande écoute et proximité des citoyens et des opérateurs privés et une amélioration de la transparence et de l’accès généralisé aux données et à l’information</a:t>
            </a:r>
            <a:r>
              <a:rPr lang="fr-FR" b="1" dirty="0">
                <a:solidFill>
                  <a:schemeClr val="tx2"/>
                </a:solidFill>
              </a:rPr>
              <a:t>. La digitalisation de l’administration est considérée comme une réponse nécessaire pour améliorer la qualité de la relation de l’administration avec les citoyens et les opérateurs et son corollaire : la restauration de la confiance. »</a:t>
            </a:r>
          </a:p>
          <a:p>
            <a:endParaRPr lang="fr-FR" b="1" dirty="0">
              <a:solidFill>
                <a:schemeClr val="tx2"/>
              </a:solidFill>
            </a:endParaRPr>
          </a:p>
          <a:p>
            <a:endParaRPr lang="fr-FR" b="1" dirty="0">
              <a:solidFill>
                <a:schemeClr val="tx2"/>
              </a:solidFill>
            </a:endParaRPr>
          </a:p>
          <a:p>
            <a:pPr marL="285750" indent="-285750">
              <a:buFont typeface="Arial" panose="020B0604020202020204" pitchFamily="34" charset="0"/>
              <a:buChar char="•"/>
            </a:pPr>
            <a:r>
              <a:rPr lang="fr-FR" dirty="0"/>
              <a:t>« La transformation numérique du pays exige une mise à niveau rapide de l’infrastructure numérique, avec la connexion à haut débit de l’ensemble du territoire, la formation de compétences en nombre important et le parachèvement du cadre légal et d’i</a:t>
            </a:r>
            <a:r>
              <a:rPr lang="fr-FR" b="1" dirty="0">
                <a:solidFill>
                  <a:schemeClr val="tx2"/>
                </a:solidFill>
              </a:rPr>
              <a:t>nteropérabilité permettant de digitaliser les services publics de bout en bout et de renforcer la confiance numérique »</a:t>
            </a:r>
            <a:r>
              <a:rPr lang="fr-FR" dirty="0"/>
              <a:t>.</a:t>
            </a:r>
          </a:p>
          <a:p>
            <a:endParaRPr lang="fr-FR" dirty="0"/>
          </a:p>
        </p:txBody>
      </p:sp>
    </p:spTree>
    <p:extLst>
      <p:ext uri="{BB962C8B-B14F-4D97-AF65-F5344CB8AC3E}">
        <p14:creationId xmlns:p14="http://schemas.microsoft.com/office/powerpoint/2010/main" val="741915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38294D-7A0A-471B-8358-AA78DF88A6D4}"/>
              </a:ext>
            </a:extLst>
          </p:cNvPr>
          <p:cNvSpPr>
            <a:spLocks noGrp="1"/>
          </p:cNvSpPr>
          <p:nvPr>
            <p:ph type="title"/>
          </p:nvPr>
        </p:nvSpPr>
        <p:spPr/>
        <p:txBody>
          <a:bodyPr/>
          <a:lstStyle/>
          <a:p>
            <a:r>
              <a:rPr lang="fr-FR" dirty="0"/>
              <a:t>Pour accélérer la transformation digitale, la vision de développement du Digital s’articule autour de 3 volets:</a:t>
            </a:r>
            <a:br>
              <a:rPr lang="fr-FR" dirty="0"/>
            </a:br>
            <a:endParaRPr lang="fr-MA" dirty="0"/>
          </a:p>
        </p:txBody>
      </p:sp>
      <p:sp>
        <p:nvSpPr>
          <p:cNvPr id="3" name="Espace réservé du texte 2">
            <a:extLst>
              <a:ext uri="{FF2B5EF4-FFF2-40B4-BE49-F238E27FC236}">
                <a16:creationId xmlns:a16="http://schemas.microsoft.com/office/drawing/2014/main" id="{173D2F76-64FD-402C-8C5B-6DC5F0A6A559}"/>
              </a:ext>
            </a:extLst>
          </p:cNvPr>
          <p:cNvSpPr txBox="1">
            <a:spLocks/>
          </p:cNvSpPr>
          <p:nvPr/>
        </p:nvSpPr>
        <p:spPr>
          <a:xfrm>
            <a:off x="233346" y="1166007"/>
            <a:ext cx="11620413" cy="904393"/>
          </a:xfrm>
          <a:prstGeom prst="rect">
            <a:avLst/>
          </a:prstGeom>
        </p:spPr>
        <p:txBody>
          <a:bodyPr/>
          <a:lstStyle>
            <a:lvl1pPr marL="0" indent="0" algn="l" defTabSz="1193860" rtl="0" eaLnBrk="1" fontAlgn="base" hangingPunct="1">
              <a:spcBef>
                <a:spcPct val="0"/>
              </a:spcBef>
              <a:spcAft>
                <a:spcPct val="0"/>
              </a:spcAft>
              <a:buClr>
                <a:schemeClr val="tx2"/>
              </a:buClr>
              <a:defRPr sz="1600" baseline="0">
                <a:solidFill>
                  <a:schemeClr val="tx1"/>
                </a:solidFill>
                <a:latin typeface="+mn-lt"/>
                <a:ea typeface="+mn-ea"/>
                <a:cs typeface="+mn-cs"/>
                <a:sym typeface="+mn-lt"/>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mn-ea"/>
                <a:cs typeface="+mn-cs"/>
                <a:sym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mn-ea"/>
                <a:cs typeface="+mn-cs"/>
                <a:sym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ea typeface="+mn-ea"/>
                <a:cs typeface="+mn-cs"/>
                <a:sym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mn-ea"/>
                <a:cs typeface="+mn-cs"/>
                <a:sym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just" defTabSz="1218095">
              <a:buClr>
                <a:srgbClr val="149AC2"/>
              </a:buClr>
            </a:pPr>
            <a:endParaRPr lang="fr-FR" sz="1632" dirty="0">
              <a:solidFill>
                <a:srgbClr val="4F388F"/>
              </a:solidFill>
              <a:latin typeface="Arial Nova Light"/>
              <a:ea typeface="ＭＳ Ｐゴシック"/>
            </a:endParaRPr>
          </a:p>
        </p:txBody>
      </p:sp>
      <p:sp>
        <p:nvSpPr>
          <p:cNvPr id="6" name="Rectangle 5">
            <a:extLst>
              <a:ext uri="{FF2B5EF4-FFF2-40B4-BE49-F238E27FC236}">
                <a16:creationId xmlns:a16="http://schemas.microsoft.com/office/drawing/2014/main" id="{8AE0EC7C-BB1D-4D75-81F1-717CEFE24323}"/>
              </a:ext>
            </a:extLst>
          </p:cNvPr>
          <p:cNvSpPr>
            <a:spLocks noChangeArrowheads="1"/>
          </p:cNvSpPr>
          <p:nvPr/>
        </p:nvSpPr>
        <p:spPr bwMode="auto">
          <a:xfrm>
            <a:off x="356686" y="1761516"/>
            <a:ext cx="3680392" cy="904393"/>
          </a:xfrm>
          <a:prstGeom prst="rect">
            <a:avLst/>
          </a:prstGeom>
          <a:solidFill>
            <a:schemeClr val="accent6"/>
          </a:solidFill>
          <a:ln w="19050" algn="ctr">
            <a:noFill/>
            <a:miter lim="800000"/>
            <a:headEnd/>
            <a:tailEnd/>
          </a:ln>
        </p:spPr>
        <p:txBody>
          <a:bodyPr wrap="square" lIns="36731" tIns="36731" rIns="36731" bIns="36731" anchor="ctr"/>
          <a:lstStyle/>
          <a:p>
            <a:pPr algn="ctr" defTabSz="932962" fontAlgn="base">
              <a:spcBef>
                <a:spcPct val="0"/>
              </a:spcBef>
              <a:spcAft>
                <a:spcPct val="0"/>
              </a:spcAft>
              <a:defRPr/>
            </a:pPr>
            <a:r>
              <a:rPr lang="fr-FR" sz="2041" b="1" dirty="0">
                <a:solidFill>
                  <a:srgbClr val="FFFFFF"/>
                </a:solidFill>
                <a:latin typeface="Arial Nova Light (Corps)"/>
                <a:ea typeface="ＭＳ Ｐゴシック" pitchFamily="50" charset="-128"/>
              </a:rPr>
              <a:t>1 – Administration digitale</a:t>
            </a:r>
            <a:endParaRPr lang="fr-FR" altLang="ja-JP" sz="2041" b="1" dirty="0">
              <a:solidFill>
                <a:srgbClr val="FFFFFF"/>
              </a:solidFill>
              <a:latin typeface="Arial Nova Light (Corps)"/>
              <a:ea typeface="ＭＳ Ｐゴシック" pitchFamily="50" charset="-128"/>
            </a:endParaRPr>
          </a:p>
        </p:txBody>
      </p:sp>
      <p:sp>
        <p:nvSpPr>
          <p:cNvPr id="7" name="Rectangle 6">
            <a:extLst>
              <a:ext uri="{FF2B5EF4-FFF2-40B4-BE49-F238E27FC236}">
                <a16:creationId xmlns:a16="http://schemas.microsoft.com/office/drawing/2014/main" id="{054EFCA7-49DB-4C85-99F2-7EB9383A5D8D}"/>
              </a:ext>
            </a:extLst>
          </p:cNvPr>
          <p:cNvSpPr>
            <a:spLocks noChangeArrowheads="1"/>
          </p:cNvSpPr>
          <p:nvPr/>
        </p:nvSpPr>
        <p:spPr bwMode="auto">
          <a:xfrm>
            <a:off x="4256417" y="1761516"/>
            <a:ext cx="3680392" cy="904393"/>
          </a:xfrm>
          <a:prstGeom prst="rect">
            <a:avLst/>
          </a:prstGeom>
          <a:solidFill>
            <a:schemeClr val="accent6"/>
          </a:solidFill>
          <a:ln w="19050" algn="ctr">
            <a:noFill/>
            <a:miter lim="800000"/>
            <a:headEnd/>
            <a:tailEnd/>
          </a:ln>
        </p:spPr>
        <p:txBody>
          <a:bodyPr wrap="square" lIns="36731" tIns="36731" rIns="36731" bIns="36731" anchor="ctr"/>
          <a:lstStyle/>
          <a:p>
            <a:pPr algn="ctr" defTabSz="932962" fontAlgn="base">
              <a:spcBef>
                <a:spcPct val="0"/>
              </a:spcBef>
              <a:spcAft>
                <a:spcPct val="0"/>
              </a:spcAft>
              <a:defRPr/>
            </a:pPr>
            <a:r>
              <a:rPr lang="fr-FR" sz="2041" b="1" dirty="0">
                <a:solidFill>
                  <a:srgbClr val="FFFFFF"/>
                </a:solidFill>
                <a:latin typeface="Arial Nova Light (Corps)"/>
                <a:ea typeface="ＭＳ Ｐゴシック" pitchFamily="50" charset="-128"/>
              </a:rPr>
              <a:t>2 – Ecosystème digital</a:t>
            </a:r>
            <a:endParaRPr lang="fr-FR" altLang="ja-JP" sz="2041" b="1" dirty="0">
              <a:solidFill>
                <a:srgbClr val="FFFFFF"/>
              </a:solidFill>
              <a:latin typeface="Arial Nova Light (Corps)"/>
              <a:ea typeface="ＭＳ Ｐゴシック" pitchFamily="50" charset="-128"/>
            </a:endParaRPr>
          </a:p>
        </p:txBody>
      </p:sp>
      <p:sp>
        <p:nvSpPr>
          <p:cNvPr id="8" name="Rectangle 7">
            <a:extLst>
              <a:ext uri="{FF2B5EF4-FFF2-40B4-BE49-F238E27FC236}">
                <a16:creationId xmlns:a16="http://schemas.microsoft.com/office/drawing/2014/main" id="{84581246-96A2-4F02-B57F-E8787E5B3D2B}"/>
              </a:ext>
            </a:extLst>
          </p:cNvPr>
          <p:cNvSpPr>
            <a:spLocks noChangeArrowheads="1"/>
          </p:cNvSpPr>
          <p:nvPr/>
        </p:nvSpPr>
        <p:spPr bwMode="auto">
          <a:xfrm>
            <a:off x="8173368" y="1761516"/>
            <a:ext cx="3680392" cy="904393"/>
          </a:xfrm>
          <a:prstGeom prst="rect">
            <a:avLst/>
          </a:prstGeom>
          <a:solidFill>
            <a:schemeClr val="accent6"/>
          </a:solidFill>
          <a:ln w="19050" algn="ctr">
            <a:noFill/>
            <a:miter lim="800000"/>
            <a:headEnd/>
            <a:tailEnd/>
          </a:ln>
        </p:spPr>
        <p:txBody>
          <a:bodyPr wrap="square" lIns="36731" tIns="36731" rIns="36731" bIns="36731" anchor="ctr"/>
          <a:lstStyle/>
          <a:p>
            <a:pPr algn="ctr" defTabSz="932962" fontAlgn="base">
              <a:spcBef>
                <a:spcPct val="0"/>
              </a:spcBef>
              <a:spcAft>
                <a:spcPct val="0"/>
              </a:spcAft>
              <a:defRPr/>
            </a:pPr>
            <a:r>
              <a:rPr lang="fr-FR" sz="2041" b="1" dirty="0">
                <a:solidFill>
                  <a:srgbClr val="FFFFFF"/>
                </a:solidFill>
                <a:latin typeface="Arial Nova Light (Corps)"/>
                <a:ea typeface="ＭＳ Ｐゴシック" pitchFamily="50" charset="-128"/>
              </a:rPr>
              <a:t>3 – Inclusion sociale et développement humain</a:t>
            </a:r>
            <a:endParaRPr lang="fr-FR" altLang="ja-JP" sz="2041" b="1" dirty="0">
              <a:solidFill>
                <a:srgbClr val="FFFFFF"/>
              </a:solidFill>
              <a:latin typeface="Arial Nova Light (Corps)"/>
              <a:ea typeface="ＭＳ Ｐゴシック" pitchFamily="50" charset="-128"/>
            </a:endParaRPr>
          </a:p>
        </p:txBody>
      </p:sp>
      <p:sp>
        <p:nvSpPr>
          <p:cNvPr id="9" name="Rectangle 8">
            <a:extLst>
              <a:ext uri="{FF2B5EF4-FFF2-40B4-BE49-F238E27FC236}">
                <a16:creationId xmlns:a16="http://schemas.microsoft.com/office/drawing/2014/main" id="{EF094AD4-9504-4E9B-8966-ADF1BC15F893}"/>
              </a:ext>
            </a:extLst>
          </p:cNvPr>
          <p:cNvSpPr/>
          <p:nvPr/>
        </p:nvSpPr>
        <p:spPr>
          <a:xfrm>
            <a:off x="356686" y="2764793"/>
            <a:ext cx="3680392" cy="1693843"/>
          </a:xfrm>
          <a:prstGeom prst="rect">
            <a:avLst/>
          </a:prstGeom>
          <a:solidFill>
            <a:schemeClr val="accent2">
              <a:lumMod val="20000"/>
              <a:lumOff val="80000"/>
            </a:schemeClr>
          </a:solidFill>
        </p:spPr>
        <p:txBody>
          <a:bodyPr wrap="square" anchor="ctr">
            <a:noAutofit/>
          </a:bodyPr>
          <a:lstStyle/>
          <a:p>
            <a:pPr marL="0" lvl="1" algn="ctr" defTabSz="932962" fontAlgn="base">
              <a:spcBef>
                <a:spcPts val="918"/>
              </a:spcBef>
              <a:spcAft>
                <a:spcPct val="0"/>
              </a:spcAft>
            </a:pPr>
            <a:r>
              <a:rPr lang="fr-FR" sz="1632" dirty="0">
                <a:solidFill>
                  <a:srgbClr val="333333"/>
                </a:solidFill>
                <a:latin typeface="Arial Nova Light (Corps)"/>
                <a:ea typeface="ＭＳ Ｐゴシック"/>
              </a:rPr>
              <a:t>Une </a:t>
            </a:r>
            <a:r>
              <a:rPr lang="fr-FR" sz="1632" b="1" dirty="0">
                <a:solidFill>
                  <a:srgbClr val="149AC2"/>
                </a:solidFill>
                <a:latin typeface="Arial Nova Light (Corps)"/>
                <a:ea typeface="ＭＳ Ｐゴシック"/>
              </a:rPr>
              <a:t>administration digitale </a:t>
            </a:r>
            <a:r>
              <a:rPr lang="fr-FR" sz="1632" dirty="0">
                <a:solidFill>
                  <a:srgbClr val="333333"/>
                </a:solidFill>
                <a:latin typeface="Arial Nova Light (Corps)"/>
                <a:ea typeface="ＭＳ Ｐゴシック"/>
              </a:rPr>
              <a:t>au service des citoyens et des entreprises avec comme objectif un </a:t>
            </a:r>
            <a:r>
              <a:rPr lang="fr-FR" sz="1632" b="1" dirty="0">
                <a:solidFill>
                  <a:srgbClr val="149AC2"/>
                </a:solidFill>
                <a:latin typeface="Arial Nova Light (Corps)"/>
                <a:ea typeface="ＭＳ Ｐゴシック"/>
              </a:rPr>
              <a:t>taux de satisfaction des citoyens et entreprises de plus de 85 %</a:t>
            </a:r>
            <a:endParaRPr lang="fr-FR" sz="1632" dirty="0">
              <a:solidFill>
                <a:srgbClr val="333333"/>
              </a:solidFill>
              <a:latin typeface="Arial Nova Light (Corps)"/>
              <a:ea typeface="ＭＳ Ｐゴシック"/>
            </a:endParaRPr>
          </a:p>
        </p:txBody>
      </p:sp>
      <p:sp>
        <p:nvSpPr>
          <p:cNvPr id="10" name="Rectangle 9">
            <a:extLst>
              <a:ext uri="{FF2B5EF4-FFF2-40B4-BE49-F238E27FC236}">
                <a16:creationId xmlns:a16="http://schemas.microsoft.com/office/drawing/2014/main" id="{54DDC615-D58D-4F92-BE73-4221D4EDBAC9}"/>
              </a:ext>
            </a:extLst>
          </p:cNvPr>
          <p:cNvSpPr/>
          <p:nvPr/>
        </p:nvSpPr>
        <p:spPr>
          <a:xfrm>
            <a:off x="4256417" y="2764793"/>
            <a:ext cx="3680392" cy="1693843"/>
          </a:xfrm>
          <a:prstGeom prst="rect">
            <a:avLst/>
          </a:prstGeom>
          <a:solidFill>
            <a:schemeClr val="accent2">
              <a:lumMod val="20000"/>
              <a:lumOff val="80000"/>
            </a:schemeClr>
          </a:solidFill>
        </p:spPr>
        <p:txBody>
          <a:bodyPr wrap="square" anchor="ctr">
            <a:noAutofit/>
          </a:bodyPr>
          <a:lstStyle/>
          <a:p>
            <a:pPr marL="0" lvl="1" algn="ctr" defTabSz="932962" fontAlgn="base">
              <a:spcBef>
                <a:spcPts val="918"/>
              </a:spcBef>
              <a:spcAft>
                <a:spcPct val="0"/>
              </a:spcAft>
            </a:pPr>
            <a:r>
              <a:rPr lang="fr-FR" sz="1632" b="1" dirty="0">
                <a:solidFill>
                  <a:srgbClr val="149AC2"/>
                </a:solidFill>
                <a:latin typeface="Arial Nova Light (Corps)"/>
                <a:ea typeface="ＭＳ Ｐゴシック"/>
              </a:rPr>
              <a:t>Une économie compétitive </a:t>
            </a:r>
            <a:r>
              <a:rPr lang="fr-FR" sz="1632" dirty="0">
                <a:solidFill>
                  <a:srgbClr val="333333"/>
                </a:solidFill>
                <a:latin typeface="Arial Nova Light (Corps)"/>
                <a:ea typeface="ＭＳ Ｐゴシック"/>
              </a:rPr>
              <a:t>grâce aux gains de performances amenés par le Digital et au développement des secteurs technologiques</a:t>
            </a:r>
            <a:r>
              <a:rPr lang="fr-FR" sz="1632" b="1" dirty="0">
                <a:solidFill>
                  <a:srgbClr val="333333"/>
                </a:solidFill>
                <a:latin typeface="Arial Nova Light (Corps)"/>
                <a:ea typeface="ＭＳ Ｐゴシック"/>
              </a:rPr>
              <a:t>, </a:t>
            </a:r>
            <a:r>
              <a:rPr lang="fr-FR" sz="1632" dirty="0">
                <a:solidFill>
                  <a:srgbClr val="333333"/>
                </a:solidFill>
                <a:latin typeface="Arial Nova Light (Corps)"/>
                <a:ea typeface="ＭＳ Ｐゴシック"/>
              </a:rPr>
              <a:t>faire du Maroc le </a:t>
            </a:r>
            <a:r>
              <a:rPr lang="fr-FR" sz="1632" b="1" dirty="0">
                <a:solidFill>
                  <a:srgbClr val="149AC2"/>
                </a:solidFill>
                <a:latin typeface="Arial Nova Light (Corps)"/>
                <a:ea typeface="ＭＳ Ｐゴシック"/>
              </a:rPr>
              <a:t>Hub Digital &amp; Technologique Africain</a:t>
            </a:r>
          </a:p>
        </p:txBody>
      </p:sp>
      <p:sp>
        <p:nvSpPr>
          <p:cNvPr id="11" name="Rectangle 10">
            <a:extLst>
              <a:ext uri="{FF2B5EF4-FFF2-40B4-BE49-F238E27FC236}">
                <a16:creationId xmlns:a16="http://schemas.microsoft.com/office/drawing/2014/main" id="{099EEA44-9370-4C90-AE8F-A8683F8BE579}"/>
              </a:ext>
            </a:extLst>
          </p:cNvPr>
          <p:cNvSpPr/>
          <p:nvPr/>
        </p:nvSpPr>
        <p:spPr>
          <a:xfrm>
            <a:off x="8173368" y="2764793"/>
            <a:ext cx="3680392" cy="1693843"/>
          </a:xfrm>
          <a:prstGeom prst="rect">
            <a:avLst/>
          </a:prstGeom>
          <a:solidFill>
            <a:schemeClr val="accent2">
              <a:lumMod val="20000"/>
              <a:lumOff val="80000"/>
            </a:schemeClr>
          </a:solidFill>
        </p:spPr>
        <p:txBody>
          <a:bodyPr wrap="square" anchor="ctr">
            <a:noAutofit/>
          </a:bodyPr>
          <a:lstStyle/>
          <a:p>
            <a:pPr marL="0" lvl="1" algn="ctr" defTabSz="932962" fontAlgn="base">
              <a:spcBef>
                <a:spcPts val="918"/>
              </a:spcBef>
              <a:spcAft>
                <a:spcPct val="0"/>
              </a:spcAft>
            </a:pPr>
            <a:r>
              <a:rPr lang="fr-FR" sz="1632" dirty="0">
                <a:solidFill>
                  <a:srgbClr val="333333"/>
                </a:solidFill>
                <a:latin typeface="Arial Nova Light (Corps)"/>
                <a:ea typeface="ＭＳ Ｐゴシック"/>
              </a:rPr>
              <a:t>Une</a:t>
            </a:r>
            <a:r>
              <a:rPr lang="fr-FR" sz="1632" b="1" dirty="0">
                <a:solidFill>
                  <a:srgbClr val="333333"/>
                </a:solidFill>
                <a:latin typeface="Arial Nova Light (Corps)"/>
                <a:ea typeface="ＭＳ Ｐゴシック"/>
              </a:rPr>
              <a:t> </a:t>
            </a:r>
            <a:r>
              <a:rPr lang="fr-FR" sz="1632" b="1" dirty="0">
                <a:solidFill>
                  <a:srgbClr val="149AC2"/>
                </a:solidFill>
                <a:latin typeface="Arial Nova Light (Corps)"/>
                <a:ea typeface="ＭＳ Ｐゴシック"/>
              </a:rPr>
              <a:t>société inclusive </a:t>
            </a:r>
            <a:r>
              <a:rPr lang="fr-FR" sz="1632" dirty="0">
                <a:solidFill>
                  <a:srgbClr val="333333"/>
                </a:solidFill>
                <a:latin typeface="Arial Nova Light (Corps)"/>
                <a:ea typeface="ＭＳ Ｐゴシック"/>
              </a:rPr>
              <a:t>grâce au Digital à travers la mise en place de services numériques dans les secteurs sociaux, plus simples et mieux adaptés aux besoins des bénéficiaires</a:t>
            </a:r>
          </a:p>
        </p:txBody>
      </p:sp>
    </p:spTree>
    <p:extLst>
      <p:ext uri="{BB962C8B-B14F-4D97-AF65-F5344CB8AC3E}">
        <p14:creationId xmlns:p14="http://schemas.microsoft.com/office/powerpoint/2010/main" val="3785058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18A7E0-C62A-46D3-9833-FDA9AD40D137}"/>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418A7E0-C62A-46D3-9833-FDA9AD40D137}"/>
                          </a:ext>
                        </a:extLst>
                      </p:cNvPr>
                      <p:cNvPicPr/>
                      <p:nvPr/>
                    </p:nvPicPr>
                    <p:blipFill>
                      <a:blip r:embed="rId5"/>
                      <a:stretch>
                        <a:fillRect/>
                      </a:stretch>
                    </p:blipFill>
                    <p:spPr>
                      <a:xfrm>
                        <a:off x="1711" y="1621"/>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6AFCB2B-3A77-47A8-B463-7E887EB54CBD}"/>
              </a:ext>
            </a:extLst>
          </p:cNvPr>
          <p:cNvSpPr/>
          <p:nvPr>
            <p:custDataLst>
              <p:tags r:id="rId2"/>
            </p:custDataLst>
          </p:nvPr>
        </p:nvSpPr>
        <p:spPr>
          <a:xfrm>
            <a:off x="90" y="1"/>
            <a:ext cx="161974"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2449" b="1" dirty="0" err="1">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2" name="Title 1">
            <a:extLst>
              <a:ext uri="{FF2B5EF4-FFF2-40B4-BE49-F238E27FC236}">
                <a16:creationId xmlns:a16="http://schemas.microsoft.com/office/drawing/2014/main" id="{E17C9498-0A7F-4E9A-9203-5B35A88B108D}"/>
              </a:ext>
            </a:extLst>
          </p:cNvPr>
          <p:cNvSpPr>
            <a:spLocks noGrp="1"/>
          </p:cNvSpPr>
          <p:nvPr>
            <p:ph type="title"/>
          </p:nvPr>
        </p:nvSpPr>
        <p:spPr>
          <a:xfrm>
            <a:off x="233345" y="246609"/>
            <a:ext cx="10842809" cy="4132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fr-FR" dirty="0"/>
              <a:t>Plusieurs projets pour l’accélération de la transformation digitale de l’administration</a:t>
            </a:r>
          </a:p>
        </p:txBody>
      </p:sp>
      <p:sp>
        <p:nvSpPr>
          <p:cNvPr id="20" name="TextBox 19">
            <a:extLst>
              <a:ext uri="{FF2B5EF4-FFF2-40B4-BE49-F238E27FC236}">
                <a16:creationId xmlns:a16="http://schemas.microsoft.com/office/drawing/2014/main" id="{7FE30ED1-35E1-4F6D-BE5D-5C7D3DD0BA29}"/>
              </a:ext>
            </a:extLst>
          </p:cNvPr>
          <p:cNvSpPr txBox="1">
            <a:spLocks/>
          </p:cNvSpPr>
          <p:nvPr/>
        </p:nvSpPr>
        <p:spPr>
          <a:xfrm>
            <a:off x="883069" y="5741331"/>
            <a:ext cx="2838682" cy="879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endParaRPr lang="fr-FR" sz="1428" dirty="0"/>
          </a:p>
        </p:txBody>
      </p:sp>
      <p:sp>
        <p:nvSpPr>
          <p:cNvPr id="27" name="Rectangle 26">
            <a:extLst>
              <a:ext uri="{FF2B5EF4-FFF2-40B4-BE49-F238E27FC236}">
                <a16:creationId xmlns:a16="http://schemas.microsoft.com/office/drawing/2014/main" id="{5A7B70A8-521D-4171-8C97-75444CE20825}"/>
              </a:ext>
            </a:extLst>
          </p:cNvPr>
          <p:cNvSpPr>
            <a:spLocks/>
          </p:cNvSpPr>
          <p:nvPr/>
        </p:nvSpPr>
        <p:spPr>
          <a:xfrm>
            <a:off x="3518367" y="1371185"/>
            <a:ext cx="2287604" cy="19353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solidFill>
                <a:schemeClr val="tx1"/>
              </a:solidFill>
            </a:endParaRPr>
          </a:p>
        </p:txBody>
      </p:sp>
      <p:sp>
        <p:nvSpPr>
          <p:cNvPr id="28" name="Title 1">
            <a:extLst>
              <a:ext uri="{FF2B5EF4-FFF2-40B4-BE49-F238E27FC236}">
                <a16:creationId xmlns:a16="http://schemas.microsoft.com/office/drawing/2014/main" id="{4561329B-8122-4906-89C3-83C159FCF7C1}"/>
              </a:ext>
            </a:extLst>
          </p:cNvPr>
          <p:cNvSpPr txBox="1">
            <a:spLocks/>
          </p:cNvSpPr>
          <p:nvPr/>
        </p:nvSpPr>
        <p:spPr bwMode="gray">
          <a:xfrm>
            <a:off x="3633721" y="1894378"/>
            <a:ext cx="2172249" cy="830997"/>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L’</a:t>
            </a:r>
            <a:r>
              <a:rPr lang="fr-FR" sz="1800" kern="0" dirty="0" err="1">
                <a:solidFill>
                  <a:schemeClr val="bg1"/>
                </a:solidFill>
                <a:latin typeface="+mn-lt"/>
              </a:rPr>
              <a:t>interoéprabilité</a:t>
            </a:r>
            <a:r>
              <a:rPr lang="fr-FR" sz="1800" kern="0" dirty="0">
                <a:solidFill>
                  <a:schemeClr val="bg1"/>
                </a:solidFill>
                <a:latin typeface="+mn-lt"/>
              </a:rPr>
              <a:t> entre les SI des organismes publics</a:t>
            </a:r>
          </a:p>
        </p:txBody>
      </p:sp>
      <p:sp>
        <p:nvSpPr>
          <p:cNvPr id="34" name="Rectangle 33">
            <a:extLst>
              <a:ext uri="{FF2B5EF4-FFF2-40B4-BE49-F238E27FC236}">
                <a16:creationId xmlns:a16="http://schemas.microsoft.com/office/drawing/2014/main" id="{6E06F51D-5D6D-4367-A201-E8116C5987C1}"/>
              </a:ext>
            </a:extLst>
          </p:cNvPr>
          <p:cNvSpPr>
            <a:spLocks/>
          </p:cNvSpPr>
          <p:nvPr/>
        </p:nvSpPr>
        <p:spPr>
          <a:xfrm>
            <a:off x="6281481" y="1371185"/>
            <a:ext cx="2287604" cy="19353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solidFill>
                <a:schemeClr val="tx1"/>
              </a:solidFill>
            </a:endParaRPr>
          </a:p>
        </p:txBody>
      </p:sp>
      <p:sp>
        <p:nvSpPr>
          <p:cNvPr id="35" name="Rectangle 34">
            <a:extLst>
              <a:ext uri="{FF2B5EF4-FFF2-40B4-BE49-F238E27FC236}">
                <a16:creationId xmlns:a16="http://schemas.microsoft.com/office/drawing/2014/main" id="{C092682B-795E-479D-B1C7-D07F66C06DC2}"/>
              </a:ext>
            </a:extLst>
          </p:cNvPr>
          <p:cNvSpPr>
            <a:spLocks/>
          </p:cNvSpPr>
          <p:nvPr/>
        </p:nvSpPr>
        <p:spPr>
          <a:xfrm>
            <a:off x="3518366" y="3464453"/>
            <a:ext cx="2287604" cy="19353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solidFill>
                <a:schemeClr val="tx1"/>
              </a:solidFill>
            </a:endParaRPr>
          </a:p>
        </p:txBody>
      </p:sp>
      <p:sp>
        <p:nvSpPr>
          <p:cNvPr id="36" name="Title 1">
            <a:extLst>
              <a:ext uri="{FF2B5EF4-FFF2-40B4-BE49-F238E27FC236}">
                <a16:creationId xmlns:a16="http://schemas.microsoft.com/office/drawing/2014/main" id="{0034123E-534C-4142-A289-0EA57679A37E}"/>
              </a:ext>
            </a:extLst>
          </p:cNvPr>
          <p:cNvSpPr txBox="1">
            <a:spLocks/>
          </p:cNvSpPr>
          <p:nvPr/>
        </p:nvSpPr>
        <p:spPr bwMode="gray">
          <a:xfrm>
            <a:off x="6421423" y="1755878"/>
            <a:ext cx="2007720" cy="1107996"/>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Une digital </a:t>
            </a:r>
            <a:r>
              <a:rPr lang="fr-FR" sz="1800" kern="0" dirty="0" err="1">
                <a:solidFill>
                  <a:schemeClr val="bg1"/>
                </a:solidFill>
                <a:latin typeface="+mn-lt"/>
              </a:rPr>
              <a:t>Factory</a:t>
            </a:r>
            <a:r>
              <a:rPr lang="fr-FR" sz="1800" kern="0" dirty="0">
                <a:solidFill>
                  <a:schemeClr val="bg1"/>
                </a:solidFill>
                <a:latin typeface="+mn-lt"/>
              </a:rPr>
              <a:t> pour stimuler des transformations digitales</a:t>
            </a:r>
          </a:p>
        </p:txBody>
      </p:sp>
      <p:sp>
        <p:nvSpPr>
          <p:cNvPr id="37" name="Title 1">
            <a:extLst>
              <a:ext uri="{FF2B5EF4-FFF2-40B4-BE49-F238E27FC236}">
                <a16:creationId xmlns:a16="http://schemas.microsoft.com/office/drawing/2014/main" id="{21A84046-3B84-4DD0-9429-A6395A84BB7E}"/>
              </a:ext>
            </a:extLst>
          </p:cNvPr>
          <p:cNvSpPr txBox="1">
            <a:spLocks/>
          </p:cNvSpPr>
          <p:nvPr/>
        </p:nvSpPr>
        <p:spPr bwMode="gray">
          <a:xfrm>
            <a:off x="6406437" y="4461182"/>
            <a:ext cx="2162648" cy="276999"/>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Open Data</a:t>
            </a:r>
          </a:p>
        </p:txBody>
      </p:sp>
      <p:sp>
        <p:nvSpPr>
          <p:cNvPr id="40" name="Title 1">
            <a:extLst>
              <a:ext uri="{FF2B5EF4-FFF2-40B4-BE49-F238E27FC236}">
                <a16:creationId xmlns:a16="http://schemas.microsoft.com/office/drawing/2014/main" id="{783F73EB-DA02-4ECB-B462-C4CBC620A158}"/>
              </a:ext>
            </a:extLst>
          </p:cNvPr>
          <p:cNvSpPr txBox="1">
            <a:spLocks/>
          </p:cNvSpPr>
          <p:nvPr/>
        </p:nvSpPr>
        <p:spPr bwMode="gray">
          <a:xfrm>
            <a:off x="3715985" y="3829744"/>
            <a:ext cx="2007720" cy="1107996"/>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Modules communs catalyseurs de la transformation digitale</a:t>
            </a:r>
          </a:p>
        </p:txBody>
      </p:sp>
      <p:sp>
        <p:nvSpPr>
          <p:cNvPr id="26" name="Title 1">
            <a:extLst>
              <a:ext uri="{FF2B5EF4-FFF2-40B4-BE49-F238E27FC236}">
                <a16:creationId xmlns:a16="http://schemas.microsoft.com/office/drawing/2014/main" id="{45BC1429-9EBA-43AF-ACE6-1302C2D19F18}"/>
              </a:ext>
            </a:extLst>
          </p:cNvPr>
          <p:cNvSpPr txBox="1">
            <a:spLocks/>
          </p:cNvSpPr>
          <p:nvPr/>
        </p:nvSpPr>
        <p:spPr bwMode="gray">
          <a:xfrm>
            <a:off x="9370358" y="1921556"/>
            <a:ext cx="1911961" cy="1384995"/>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Des modules communs catalyseurs de la transformation digitale</a:t>
            </a:r>
          </a:p>
        </p:txBody>
      </p:sp>
      <p:sp>
        <p:nvSpPr>
          <p:cNvPr id="3" name="Rectangle 2">
            <a:extLst>
              <a:ext uri="{FF2B5EF4-FFF2-40B4-BE49-F238E27FC236}">
                <a16:creationId xmlns:a16="http://schemas.microsoft.com/office/drawing/2014/main" id="{145127DD-D13D-A339-A0E3-E4168705A16E}"/>
              </a:ext>
            </a:extLst>
          </p:cNvPr>
          <p:cNvSpPr>
            <a:spLocks/>
          </p:cNvSpPr>
          <p:nvPr/>
        </p:nvSpPr>
        <p:spPr>
          <a:xfrm>
            <a:off x="6281481" y="3483119"/>
            <a:ext cx="2287604" cy="19353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solidFill>
                <a:schemeClr val="tx1"/>
              </a:solidFill>
            </a:endParaRPr>
          </a:p>
        </p:txBody>
      </p:sp>
      <p:sp>
        <p:nvSpPr>
          <p:cNvPr id="4" name="Title 1">
            <a:extLst>
              <a:ext uri="{FF2B5EF4-FFF2-40B4-BE49-F238E27FC236}">
                <a16:creationId xmlns:a16="http://schemas.microsoft.com/office/drawing/2014/main" id="{06311B64-04AE-3394-D55D-4E1BEC43EEED}"/>
              </a:ext>
            </a:extLst>
          </p:cNvPr>
          <p:cNvSpPr txBox="1">
            <a:spLocks/>
          </p:cNvSpPr>
          <p:nvPr/>
        </p:nvSpPr>
        <p:spPr bwMode="gray">
          <a:xfrm>
            <a:off x="6406437" y="3907184"/>
            <a:ext cx="2007720" cy="1107996"/>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spcBef>
                <a:spcPts val="1200"/>
              </a:spcBef>
              <a:buClr>
                <a:schemeClr val="tx2"/>
              </a:buClr>
            </a:pPr>
            <a:r>
              <a:rPr lang="fr-FR" sz="1800" kern="0" dirty="0">
                <a:solidFill>
                  <a:schemeClr val="bg1"/>
                </a:solidFill>
                <a:latin typeface="+mn-lt"/>
              </a:rPr>
              <a:t>Open DAT, pour l’innovation économique et sociale</a:t>
            </a:r>
          </a:p>
        </p:txBody>
      </p:sp>
    </p:spTree>
    <p:extLst>
      <p:ext uri="{BB962C8B-B14F-4D97-AF65-F5344CB8AC3E}">
        <p14:creationId xmlns:p14="http://schemas.microsoft.com/office/powerpoint/2010/main" val="2060965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5BD01-7938-40C3-B7D0-CE56AB4B6759}"/>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22" imgW="592" imgH="595" progId="TCLayout.ActiveDocument.1">
                  <p:embed/>
                </p:oleObj>
              </mc:Choice>
              <mc:Fallback>
                <p:oleObj name="think-cell Slide" r:id="rId22" imgW="592" imgH="595" progId="TCLayout.ActiveDocument.1">
                  <p:embed/>
                  <p:pic>
                    <p:nvPicPr>
                      <p:cNvPr id="3" name="Object 2" hidden="1">
                        <a:extLst>
                          <a:ext uri="{FF2B5EF4-FFF2-40B4-BE49-F238E27FC236}">
                            <a16:creationId xmlns:a16="http://schemas.microsoft.com/office/drawing/2014/main" id="{C825BD01-7938-40C3-B7D0-CE56AB4B6759}"/>
                          </a:ext>
                        </a:extLst>
                      </p:cNvPr>
                      <p:cNvPicPr/>
                      <p:nvPr/>
                    </p:nvPicPr>
                    <p:blipFill>
                      <a:blip r:embed="rId23"/>
                      <a:stretch>
                        <a:fillRect/>
                      </a:stretch>
                    </p:blipFill>
                    <p:spPr>
                      <a:xfrm>
                        <a:off x="1711" y="1621"/>
                        <a:ext cx="1620" cy="162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C0F1BA-1494-4C8B-B5A6-50B2154C7A6A}"/>
              </a:ext>
            </a:extLst>
          </p:cNvPr>
          <p:cNvSpPr>
            <a:spLocks noGrp="1"/>
          </p:cNvSpPr>
          <p:nvPr>
            <p:ph type="title"/>
          </p:nvPr>
        </p:nvSpPr>
        <p:spPr/>
        <p:txBody>
          <a:bodyPr vert="horz"/>
          <a:lstStyle/>
          <a:p>
            <a:r>
              <a:rPr lang="fr-FR" dirty="0"/>
              <a:t>L’interopérabilité devrait permettre de passer d’un parcours siloté à un parcours consolidé et simplifié pour l’usager</a:t>
            </a:r>
          </a:p>
        </p:txBody>
      </p:sp>
      <p:pic>
        <p:nvPicPr>
          <p:cNvPr id="12" name="Graphic 11">
            <a:extLst>
              <a:ext uri="{FF2B5EF4-FFF2-40B4-BE49-F238E27FC236}">
                <a16:creationId xmlns:a16="http://schemas.microsoft.com/office/drawing/2014/main" id="{07B62274-BCF0-4A5D-AE89-E2DA3952B03C}"/>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233346" y="1405923"/>
            <a:ext cx="619076" cy="619076"/>
          </a:xfrm>
          <a:prstGeom prst="rect">
            <a:avLst/>
          </a:prstGeom>
        </p:spPr>
      </p:pic>
      <p:sp>
        <p:nvSpPr>
          <p:cNvPr id="13" name="Title 1">
            <a:extLst>
              <a:ext uri="{FF2B5EF4-FFF2-40B4-BE49-F238E27FC236}">
                <a16:creationId xmlns:a16="http://schemas.microsoft.com/office/drawing/2014/main" id="{0BDA75AF-AF7A-4791-8C6D-110ADBA50BDA}"/>
              </a:ext>
            </a:extLst>
          </p:cNvPr>
          <p:cNvSpPr txBox="1">
            <a:spLocks/>
          </p:cNvSpPr>
          <p:nvPr/>
        </p:nvSpPr>
        <p:spPr bwMode="gray">
          <a:xfrm>
            <a:off x="253618" y="2170011"/>
            <a:ext cx="2252470" cy="39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fr-FR" sz="1428" u="sng" kern="0" dirty="0"/>
              <a:t>Objectif de la vision cible:</a:t>
            </a:r>
            <a:r>
              <a:rPr lang="fr-FR" sz="1428" kern="0" dirty="0"/>
              <a:t> réaliser une seule demande pour un acte A auprès de l’administration en charge, qui collecte les données et documents requis en tant que pièces justificatives directement auprès des administrations B et C</a:t>
            </a:r>
          </a:p>
          <a:p>
            <a:endParaRPr lang="fr-FR" sz="1428" kern="0" dirty="0"/>
          </a:p>
          <a:p>
            <a:r>
              <a:rPr lang="fr-FR" sz="1428" kern="0" dirty="0"/>
              <a:t>L’interopérabilité appuie la loi 55.19 (art.23) requérant des administrations d’identifier et d’échanger entre elles les données et documents relevant de leurs domaines lors d’une demande de l’usager sans le solliciter pour les produire</a:t>
            </a:r>
          </a:p>
        </p:txBody>
      </p:sp>
      <p:cxnSp>
        <p:nvCxnSpPr>
          <p:cNvPr id="14" name="Straight Connector 13">
            <a:extLst>
              <a:ext uri="{FF2B5EF4-FFF2-40B4-BE49-F238E27FC236}">
                <a16:creationId xmlns:a16="http://schemas.microsoft.com/office/drawing/2014/main" id="{2430A89E-0C0E-4605-B2CC-E7FBEC020354}"/>
              </a:ext>
            </a:extLst>
          </p:cNvPr>
          <p:cNvCxnSpPr>
            <a:cxnSpLocks/>
          </p:cNvCxnSpPr>
          <p:nvPr/>
        </p:nvCxnSpPr>
        <p:spPr>
          <a:xfrm>
            <a:off x="2654730" y="1750530"/>
            <a:ext cx="0" cy="496302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6D9C43D-C2A4-4EBD-A4B4-C22E3F516399}"/>
              </a:ext>
            </a:extLst>
          </p:cNvPr>
          <p:cNvSpPr/>
          <p:nvPr/>
        </p:nvSpPr>
        <p:spPr>
          <a:xfrm>
            <a:off x="7500463" y="1511010"/>
            <a:ext cx="4320529" cy="5202547"/>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sp>
        <p:nvSpPr>
          <p:cNvPr id="8" name="TextBox 7">
            <a:extLst>
              <a:ext uri="{FF2B5EF4-FFF2-40B4-BE49-F238E27FC236}">
                <a16:creationId xmlns:a16="http://schemas.microsoft.com/office/drawing/2014/main" id="{0414C071-839E-4C55-9F37-8135DE2CB74D}"/>
              </a:ext>
            </a:extLst>
          </p:cNvPr>
          <p:cNvSpPr txBox="1"/>
          <p:nvPr/>
        </p:nvSpPr>
        <p:spPr>
          <a:xfrm>
            <a:off x="2799009" y="1610359"/>
            <a:ext cx="3833054"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kern="0" dirty="0">
                <a:solidFill>
                  <a:schemeClr val="tx2"/>
                </a:solidFill>
                <a:latin typeface="+mj-lt"/>
                <a:ea typeface="+mj-ea"/>
                <a:cs typeface="+mj-cs"/>
                <a:sym typeface="+mj-lt"/>
              </a:rPr>
              <a:t>Principes du parcours actuel</a:t>
            </a:r>
          </a:p>
        </p:txBody>
      </p:sp>
      <p:sp>
        <p:nvSpPr>
          <p:cNvPr id="9" name="TextBox 8">
            <a:extLst>
              <a:ext uri="{FF2B5EF4-FFF2-40B4-BE49-F238E27FC236}">
                <a16:creationId xmlns:a16="http://schemas.microsoft.com/office/drawing/2014/main" id="{FC4022A6-DF1C-4105-A45D-B9FA07152188}"/>
              </a:ext>
            </a:extLst>
          </p:cNvPr>
          <p:cNvSpPr txBox="1"/>
          <p:nvPr/>
        </p:nvSpPr>
        <p:spPr>
          <a:xfrm>
            <a:off x="7640092" y="1610360"/>
            <a:ext cx="4180933"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kern="0" dirty="0">
                <a:solidFill>
                  <a:schemeClr val="tx2"/>
                </a:solidFill>
                <a:latin typeface="+mj-lt"/>
                <a:ea typeface="+mj-ea"/>
                <a:cs typeface="+mj-cs"/>
              </a:rPr>
              <a:t>Principes du parcours cible</a:t>
            </a:r>
          </a:p>
        </p:txBody>
      </p:sp>
      <p:cxnSp>
        <p:nvCxnSpPr>
          <p:cNvPr id="44" name="Straight Connector 43">
            <a:extLst>
              <a:ext uri="{FF2B5EF4-FFF2-40B4-BE49-F238E27FC236}">
                <a16:creationId xmlns:a16="http://schemas.microsoft.com/office/drawing/2014/main" id="{90653017-8591-4423-B33A-49863C629D7F}"/>
              </a:ext>
            </a:extLst>
          </p:cNvPr>
          <p:cNvCxnSpPr>
            <a:cxnSpLocks/>
          </p:cNvCxnSpPr>
          <p:nvPr/>
        </p:nvCxnSpPr>
        <p:spPr>
          <a:xfrm>
            <a:off x="2808000" y="1886801"/>
            <a:ext cx="90130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6C1A0D47-D179-495A-BA62-95BDF26F6E33}"/>
              </a:ext>
            </a:extLst>
          </p:cNvPr>
          <p:cNvGrpSpPr/>
          <p:nvPr/>
        </p:nvGrpSpPr>
        <p:grpSpPr>
          <a:xfrm>
            <a:off x="6933977" y="1631568"/>
            <a:ext cx="357000" cy="510465"/>
            <a:chOff x="7853891" y="2228850"/>
            <a:chExt cx="450850" cy="679450"/>
          </a:xfrm>
        </p:grpSpPr>
        <p:sp>
          <p:nvSpPr>
            <p:cNvPr id="17" name="Rectangle 16">
              <a:extLst>
                <a:ext uri="{FF2B5EF4-FFF2-40B4-BE49-F238E27FC236}">
                  <a16:creationId xmlns:a16="http://schemas.microsoft.com/office/drawing/2014/main" id="{F74EE81C-9EBB-4837-8B1F-F73B2F5D7AB8}"/>
                </a:ext>
              </a:extLst>
            </p:cNvPr>
            <p:cNvSpPr/>
            <p:nvPr/>
          </p:nvSpPr>
          <p:spPr>
            <a:xfrm>
              <a:off x="8012112" y="2228850"/>
              <a:ext cx="134409" cy="6794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58"/>
              <a:endParaRPr lang="fr-FR" sz="1600" dirty="0">
                <a:solidFill>
                  <a:srgbClr val="333333"/>
                </a:solidFill>
                <a:latin typeface="Arial Nova Light"/>
                <a:ea typeface="ＭＳ Ｐゴシック"/>
              </a:endParaRPr>
            </a:p>
          </p:txBody>
        </p:sp>
        <p:grpSp>
          <p:nvGrpSpPr>
            <p:cNvPr id="18" name="DoubleChevron3 23">
              <a:extLst>
                <a:ext uri="{FF2B5EF4-FFF2-40B4-BE49-F238E27FC236}">
                  <a16:creationId xmlns:a16="http://schemas.microsoft.com/office/drawing/2014/main" id="{C6B7A77E-F67C-4553-BDAF-6DC88597DEF5}"/>
                </a:ext>
              </a:extLst>
            </p:cNvPr>
            <p:cNvGrpSpPr/>
            <p:nvPr>
              <p:custDataLst>
                <p:tags r:id="rId19"/>
              </p:custDataLst>
            </p:nvPr>
          </p:nvGrpSpPr>
          <p:grpSpPr>
            <a:xfrm>
              <a:off x="7853891" y="2314575"/>
              <a:ext cx="450850" cy="508000"/>
              <a:chOff x="1270000" y="1270000"/>
              <a:chExt cx="450850" cy="508000"/>
            </a:xfrm>
          </p:grpSpPr>
          <p:sp>
            <p:nvSpPr>
              <p:cNvPr id="19" name="ChevronA1">
                <a:extLst>
                  <a:ext uri="{FF2B5EF4-FFF2-40B4-BE49-F238E27FC236}">
                    <a16:creationId xmlns:a16="http://schemas.microsoft.com/office/drawing/2014/main" id="{3BAABE89-27D1-44A3-85C6-0E1EBC84603A}"/>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58"/>
                <a:endParaRPr lang="fr-FR" sz="1600" dirty="0">
                  <a:solidFill>
                    <a:srgbClr val="333333"/>
                  </a:solidFill>
                  <a:latin typeface="Arial Nova Light"/>
                  <a:ea typeface="ＭＳ Ｐゴシック"/>
                </a:endParaRPr>
              </a:p>
            </p:txBody>
          </p:sp>
          <p:sp>
            <p:nvSpPr>
              <p:cNvPr id="20" name="ChevronB1">
                <a:extLst>
                  <a:ext uri="{FF2B5EF4-FFF2-40B4-BE49-F238E27FC236}">
                    <a16:creationId xmlns:a16="http://schemas.microsoft.com/office/drawing/2014/main" id="{0C5EBB9E-5985-4C48-84C0-C61C2E8B4877}"/>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58"/>
                <a:endParaRPr lang="fr-FR" sz="1600" dirty="0">
                  <a:solidFill>
                    <a:srgbClr val="333333"/>
                  </a:solidFill>
                  <a:latin typeface="Arial Nova Light"/>
                  <a:ea typeface="ＭＳ Ｐゴシック"/>
                </a:endParaRPr>
              </a:p>
            </p:txBody>
          </p:sp>
        </p:grpSp>
      </p:grpSp>
      <p:cxnSp>
        <p:nvCxnSpPr>
          <p:cNvPr id="48" name="Connector: Elbow 47">
            <a:extLst>
              <a:ext uri="{FF2B5EF4-FFF2-40B4-BE49-F238E27FC236}">
                <a16:creationId xmlns:a16="http://schemas.microsoft.com/office/drawing/2014/main" id="{E5307D51-DA0E-4E9A-968F-0B37367E1CAB}"/>
              </a:ext>
            </a:extLst>
          </p:cNvPr>
          <p:cNvCxnSpPr>
            <a:cxnSpLocks/>
            <a:stCxn id="98" idx="3"/>
            <a:endCxn id="11" idx="1"/>
          </p:cNvCxnSpPr>
          <p:nvPr/>
        </p:nvCxnSpPr>
        <p:spPr>
          <a:xfrm>
            <a:off x="8181408" y="3062682"/>
            <a:ext cx="1003412" cy="1640"/>
          </a:xfrm>
          <a:prstGeom prst="bentConnector3">
            <a:avLst>
              <a:gd name="adj1" fmla="val 50000"/>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D94EF45-53FA-4F06-AF5E-8763437BE14D}"/>
              </a:ext>
            </a:extLst>
          </p:cNvPr>
          <p:cNvCxnSpPr>
            <a:cxnSpLocks/>
            <a:endCxn id="11" idx="0"/>
          </p:cNvCxnSpPr>
          <p:nvPr/>
        </p:nvCxnSpPr>
        <p:spPr>
          <a:xfrm rot="10800000" flipV="1">
            <a:off x="9467539" y="2455337"/>
            <a:ext cx="1333476" cy="326265"/>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DD484953-DD9B-48CF-A8D7-9EB1BD023D2D}"/>
              </a:ext>
            </a:extLst>
          </p:cNvPr>
          <p:cNvCxnSpPr>
            <a:cxnSpLocks/>
            <a:stCxn id="104" idx="1"/>
            <a:endCxn id="72" idx="2"/>
          </p:cNvCxnSpPr>
          <p:nvPr/>
        </p:nvCxnSpPr>
        <p:spPr>
          <a:xfrm rot="10800000">
            <a:off x="9447709" y="3790794"/>
            <a:ext cx="1359467" cy="216798"/>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61" name="CustomIcon">
            <a:extLst>
              <a:ext uri="{FF2B5EF4-FFF2-40B4-BE49-F238E27FC236}">
                <a16:creationId xmlns:a16="http://schemas.microsoft.com/office/drawing/2014/main" id="{C2B37BA3-D697-449E-A940-B7DC486337B0}"/>
              </a:ext>
            </a:extLst>
          </p:cNvPr>
          <p:cNvGrpSpPr>
            <a:grpSpLocks noChangeAspect="1"/>
          </p:cNvGrpSpPr>
          <p:nvPr>
            <p:custDataLst>
              <p:tags r:id="rId2"/>
            </p:custDataLst>
          </p:nvPr>
        </p:nvGrpSpPr>
        <p:grpSpPr>
          <a:xfrm>
            <a:off x="8434074" y="2842040"/>
            <a:ext cx="441284" cy="441284"/>
            <a:chOff x="-205105" y="-205105"/>
            <a:chExt cx="1019810" cy="1019810"/>
          </a:xfrm>
        </p:grpSpPr>
        <p:sp>
          <p:nvSpPr>
            <p:cNvPr id="62" name="Oval 61">
              <a:extLst>
                <a:ext uri="{FF2B5EF4-FFF2-40B4-BE49-F238E27FC236}">
                  <a16:creationId xmlns:a16="http://schemas.microsoft.com/office/drawing/2014/main" id="{6AE433F9-CAF0-4F1A-B8AA-05855216A555}"/>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63" name="Graphic 62">
              <a:extLst>
                <a:ext uri="{FF2B5EF4-FFF2-40B4-BE49-F238E27FC236}">
                  <a16:creationId xmlns:a16="http://schemas.microsoft.com/office/drawing/2014/main" id="{F1D9CB17-6D68-43AB-A013-F64398E80B8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nvGrpSpPr>
          <p:cNvPr id="85" name="Group 84">
            <a:extLst>
              <a:ext uri="{FF2B5EF4-FFF2-40B4-BE49-F238E27FC236}">
                <a16:creationId xmlns:a16="http://schemas.microsoft.com/office/drawing/2014/main" id="{1DF914CD-F5E0-4AC7-943D-B7234C934493}"/>
              </a:ext>
            </a:extLst>
          </p:cNvPr>
          <p:cNvGrpSpPr/>
          <p:nvPr/>
        </p:nvGrpSpPr>
        <p:grpSpPr>
          <a:xfrm>
            <a:off x="9082241" y="2781602"/>
            <a:ext cx="730936" cy="1009192"/>
            <a:chOff x="7529235" y="2999668"/>
            <a:chExt cx="716385" cy="989102"/>
          </a:xfrm>
        </p:grpSpPr>
        <p:pic>
          <p:nvPicPr>
            <p:cNvPr id="11" name="CustomIcon">
              <a:extLst>
                <a:ext uri="{FF2B5EF4-FFF2-40B4-BE49-F238E27FC236}">
                  <a16:creationId xmlns:a16="http://schemas.microsoft.com/office/drawing/2014/main" id="{36B1E38C-0428-4F23-806A-998098AF4D64}"/>
                </a:ext>
              </a:extLst>
            </p:cNvPr>
            <p:cNvPicPr>
              <a:picLocks noChangeAspect="1"/>
            </p:cNvPicPr>
            <p:nvPr>
              <p:custDataLst>
                <p:tags r:id="rId18"/>
              </p:custDataLst>
            </p:nvPr>
          </p:nvPicPr>
          <p:blipFill>
            <a:blip r:embed="rId28">
              <a:extLst>
                <a:ext uri="{96DAC541-7B7A-43D3-8B79-37D633B846F1}">
                  <asvg:svgBlip xmlns:asvg="http://schemas.microsoft.com/office/drawing/2016/SVG/main" r:embed="rId29"/>
                </a:ext>
              </a:extLst>
            </a:blip>
            <a:stretch>
              <a:fillRect/>
            </a:stretch>
          </p:blipFill>
          <p:spPr>
            <a:xfrm>
              <a:off x="7629772" y="2999668"/>
              <a:ext cx="554182" cy="554182"/>
            </a:xfrm>
            <a:prstGeom prst="rect">
              <a:avLst/>
            </a:prstGeom>
          </p:spPr>
        </p:pic>
        <p:sp>
          <p:nvSpPr>
            <p:cNvPr id="72" name="TextBox 71">
              <a:extLst>
                <a:ext uri="{FF2B5EF4-FFF2-40B4-BE49-F238E27FC236}">
                  <a16:creationId xmlns:a16="http://schemas.microsoft.com/office/drawing/2014/main" id="{5FE34E52-4B54-42F3-91A5-403A32A5E188}"/>
                </a:ext>
              </a:extLst>
            </p:cNvPr>
            <p:cNvSpPr txBox="1"/>
            <p:nvPr/>
          </p:nvSpPr>
          <p:spPr>
            <a:xfrm>
              <a:off x="7529235" y="3612000"/>
              <a:ext cx="716385" cy="376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224" b="1" dirty="0"/>
                <a:t>Admin en charge</a:t>
              </a:r>
            </a:p>
          </p:txBody>
        </p:sp>
      </p:grpSp>
      <p:grpSp>
        <p:nvGrpSpPr>
          <p:cNvPr id="113" name="Group 112">
            <a:extLst>
              <a:ext uri="{FF2B5EF4-FFF2-40B4-BE49-F238E27FC236}">
                <a16:creationId xmlns:a16="http://schemas.microsoft.com/office/drawing/2014/main" id="{4815DBEF-9BE3-4A90-921E-93077ABA5A4F}"/>
              </a:ext>
            </a:extLst>
          </p:cNvPr>
          <p:cNvGrpSpPr/>
          <p:nvPr/>
        </p:nvGrpSpPr>
        <p:grpSpPr>
          <a:xfrm>
            <a:off x="2937451" y="2112012"/>
            <a:ext cx="730936" cy="848973"/>
            <a:chOff x="9035874" y="2999668"/>
            <a:chExt cx="716385" cy="832072"/>
          </a:xfrm>
        </p:grpSpPr>
        <p:pic>
          <p:nvPicPr>
            <p:cNvPr id="114" name="CustomIcon">
              <a:extLst>
                <a:ext uri="{FF2B5EF4-FFF2-40B4-BE49-F238E27FC236}">
                  <a16:creationId xmlns:a16="http://schemas.microsoft.com/office/drawing/2014/main" id="{9F7B6ED1-1D23-4B47-B592-43D06CA5B6BD}"/>
                </a:ext>
              </a:extLst>
            </p:cNvPr>
            <p:cNvPicPr>
              <a:picLocks noChangeAspect="1"/>
            </p:cNvPicPr>
            <p:nvPr>
              <p:custDataLst>
                <p:tags r:id="rId17"/>
              </p:custDataLst>
            </p:nvPr>
          </p:nvPicPr>
          <p:blipFill>
            <a:blip r:embed="rId28">
              <a:extLst>
                <a:ext uri="{96DAC541-7B7A-43D3-8B79-37D633B846F1}">
                  <asvg:svgBlip xmlns:asvg="http://schemas.microsoft.com/office/drawing/2016/SVG/main" r:embed="rId30"/>
                </a:ext>
              </a:extLst>
            </a:blip>
            <a:stretch>
              <a:fillRect/>
            </a:stretch>
          </p:blipFill>
          <p:spPr>
            <a:xfrm>
              <a:off x="9126694" y="2999668"/>
              <a:ext cx="554182" cy="554182"/>
            </a:xfrm>
            <a:prstGeom prst="rect">
              <a:avLst/>
            </a:prstGeom>
          </p:spPr>
        </p:pic>
        <p:sp>
          <p:nvSpPr>
            <p:cNvPr id="115" name="TextBox 114">
              <a:extLst>
                <a:ext uri="{FF2B5EF4-FFF2-40B4-BE49-F238E27FC236}">
                  <a16:creationId xmlns:a16="http://schemas.microsoft.com/office/drawing/2014/main" id="{A9AF225F-CA60-4369-90D9-104027F022EB}"/>
                </a:ext>
              </a:extLst>
            </p:cNvPr>
            <p:cNvSpPr txBox="1"/>
            <p:nvPr/>
          </p:nvSpPr>
          <p:spPr>
            <a:xfrm>
              <a:off x="9035874" y="3612000"/>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Admin B</a:t>
              </a:r>
            </a:p>
          </p:txBody>
        </p:sp>
      </p:grpSp>
      <p:grpSp>
        <p:nvGrpSpPr>
          <p:cNvPr id="116" name="Group 115">
            <a:extLst>
              <a:ext uri="{FF2B5EF4-FFF2-40B4-BE49-F238E27FC236}">
                <a16:creationId xmlns:a16="http://schemas.microsoft.com/office/drawing/2014/main" id="{4A59F1CF-8017-456D-A20C-FCF8E5FFAED3}"/>
              </a:ext>
            </a:extLst>
          </p:cNvPr>
          <p:cNvGrpSpPr/>
          <p:nvPr/>
        </p:nvGrpSpPr>
        <p:grpSpPr>
          <a:xfrm>
            <a:off x="2937452" y="3709999"/>
            <a:ext cx="730936" cy="848973"/>
            <a:chOff x="10526757" y="2999668"/>
            <a:chExt cx="716385" cy="832072"/>
          </a:xfrm>
        </p:grpSpPr>
        <p:pic>
          <p:nvPicPr>
            <p:cNvPr id="117" name="CustomIcon">
              <a:extLst>
                <a:ext uri="{FF2B5EF4-FFF2-40B4-BE49-F238E27FC236}">
                  <a16:creationId xmlns:a16="http://schemas.microsoft.com/office/drawing/2014/main" id="{8A89F83C-80CD-410D-A716-F17B881CA93A}"/>
                </a:ext>
              </a:extLst>
            </p:cNvPr>
            <p:cNvPicPr>
              <a:picLocks noChangeAspect="1"/>
            </p:cNvPicPr>
            <p:nvPr>
              <p:custDataLst>
                <p:tags r:id="rId16"/>
              </p:custDataLst>
            </p:nvPr>
          </p:nvPicPr>
          <p:blipFill>
            <a:blip r:embed="rId28">
              <a:extLst>
                <a:ext uri="{96DAC541-7B7A-43D3-8B79-37D633B846F1}">
                  <asvg:svgBlip xmlns:asvg="http://schemas.microsoft.com/office/drawing/2016/SVG/main" r:embed="rId29"/>
                </a:ext>
              </a:extLst>
            </a:blip>
            <a:stretch>
              <a:fillRect/>
            </a:stretch>
          </p:blipFill>
          <p:spPr>
            <a:xfrm>
              <a:off x="10623615" y="2999668"/>
              <a:ext cx="554182" cy="554182"/>
            </a:xfrm>
            <a:prstGeom prst="rect">
              <a:avLst/>
            </a:prstGeom>
          </p:spPr>
        </p:pic>
        <p:sp>
          <p:nvSpPr>
            <p:cNvPr id="118" name="TextBox 117">
              <a:extLst>
                <a:ext uri="{FF2B5EF4-FFF2-40B4-BE49-F238E27FC236}">
                  <a16:creationId xmlns:a16="http://schemas.microsoft.com/office/drawing/2014/main" id="{ADD38BDA-D89D-46B3-9747-EC5737530745}"/>
                </a:ext>
              </a:extLst>
            </p:cNvPr>
            <p:cNvSpPr txBox="1"/>
            <p:nvPr/>
          </p:nvSpPr>
          <p:spPr>
            <a:xfrm>
              <a:off x="10526757" y="3612000"/>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Admin C</a:t>
              </a:r>
            </a:p>
          </p:txBody>
        </p:sp>
      </p:grpSp>
      <p:grpSp>
        <p:nvGrpSpPr>
          <p:cNvPr id="119" name="Group 118">
            <a:extLst>
              <a:ext uri="{FF2B5EF4-FFF2-40B4-BE49-F238E27FC236}">
                <a16:creationId xmlns:a16="http://schemas.microsoft.com/office/drawing/2014/main" id="{A1998CAD-F164-4B2A-A632-3D1B0BD8E5FA}"/>
              </a:ext>
            </a:extLst>
          </p:cNvPr>
          <p:cNvGrpSpPr/>
          <p:nvPr/>
        </p:nvGrpSpPr>
        <p:grpSpPr>
          <a:xfrm>
            <a:off x="6062038" y="2781601"/>
            <a:ext cx="730936" cy="1009192"/>
            <a:chOff x="7529235" y="2999668"/>
            <a:chExt cx="716385" cy="989102"/>
          </a:xfrm>
        </p:grpSpPr>
        <p:pic>
          <p:nvPicPr>
            <p:cNvPr id="120" name="CustomIcon">
              <a:extLst>
                <a:ext uri="{FF2B5EF4-FFF2-40B4-BE49-F238E27FC236}">
                  <a16:creationId xmlns:a16="http://schemas.microsoft.com/office/drawing/2014/main" id="{8A2F7D36-544A-4C9B-8BA0-EAD6A715F0D7}"/>
                </a:ext>
              </a:extLst>
            </p:cNvPr>
            <p:cNvPicPr>
              <a:picLocks noChangeAspect="1"/>
            </p:cNvPicPr>
            <p:nvPr>
              <p:custDataLst>
                <p:tags r:id="rId15"/>
              </p:custDataLst>
            </p:nvPr>
          </p:nvPicPr>
          <p:blipFill>
            <a:blip r:embed="rId28">
              <a:extLst>
                <a:ext uri="{96DAC541-7B7A-43D3-8B79-37D633B846F1}">
                  <asvg:svgBlip xmlns:asvg="http://schemas.microsoft.com/office/drawing/2016/SVG/main" r:embed="rId29"/>
                </a:ext>
              </a:extLst>
            </a:blip>
            <a:stretch>
              <a:fillRect/>
            </a:stretch>
          </p:blipFill>
          <p:spPr>
            <a:xfrm>
              <a:off x="7629772" y="2999668"/>
              <a:ext cx="554182" cy="554182"/>
            </a:xfrm>
            <a:prstGeom prst="rect">
              <a:avLst/>
            </a:prstGeom>
          </p:spPr>
        </p:pic>
        <p:sp>
          <p:nvSpPr>
            <p:cNvPr id="121" name="TextBox 120">
              <a:extLst>
                <a:ext uri="{FF2B5EF4-FFF2-40B4-BE49-F238E27FC236}">
                  <a16:creationId xmlns:a16="http://schemas.microsoft.com/office/drawing/2014/main" id="{E1474308-DB1D-4B6A-8E3E-65F8BFF8844C}"/>
                </a:ext>
              </a:extLst>
            </p:cNvPr>
            <p:cNvSpPr txBox="1"/>
            <p:nvPr/>
          </p:nvSpPr>
          <p:spPr>
            <a:xfrm>
              <a:off x="7529235" y="3612000"/>
              <a:ext cx="716385" cy="376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224" b="1" dirty="0"/>
                <a:t>Admin en charge</a:t>
              </a:r>
            </a:p>
          </p:txBody>
        </p:sp>
      </p:grpSp>
      <p:grpSp>
        <p:nvGrpSpPr>
          <p:cNvPr id="122" name="Group 121">
            <a:extLst>
              <a:ext uri="{FF2B5EF4-FFF2-40B4-BE49-F238E27FC236}">
                <a16:creationId xmlns:a16="http://schemas.microsoft.com/office/drawing/2014/main" id="{4ED22CAA-C4D8-4A31-BAA4-46056D986467}"/>
              </a:ext>
            </a:extLst>
          </p:cNvPr>
          <p:cNvGrpSpPr/>
          <p:nvPr/>
        </p:nvGrpSpPr>
        <p:grpSpPr>
          <a:xfrm>
            <a:off x="4223649" y="2805664"/>
            <a:ext cx="730936" cy="794034"/>
            <a:chOff x="7535585" y="5461731"/>
            <a:chExt cx="716385" cy="778227"/>
          </a:xfrm>
        </p:grpSpPr>
        <p:pic>
          <p:nvPicPr>
            <p:cNvPr id="123" name="CustomIcon">
              <a:extLst>
                <a:ext uri="{FF2B5EF4-FFF2-40B4-BE49-F238E27FC236}">
                  <a16:creationId xmlns:a16="http://schemas.microsoft.com/office/drawing/2014/main" id="{4FA1BF63-5DE9-4F82-986D-ACA2EA84527E}"/>
                </a:ext>
              </a:extLst>
            </p:cNvPr>
            <p:cNvPicPr>
              <a:picLocks noChangeAspect="1"/>
            </p:cNvPicPr>
            <p:nvPr>
              <p:custDataLst>
                <p:tags r:id="rId14"/>
              </p:custDataLst>
            </p:nvPr>
          </p:nvPicPr>
          <p:blipFill>
            <a:blip r:embed="rId31">
              <a:extLst>
                <a:ext uri="{96DAC541-7B7A-43D3-8B79-37D633B846F1}">
                  <asvg:svgBlip xmlns:asvg="http://schemas.microsoft.com/office/drawing/2016/SVG/main" r:embed="rId32"/>
                </a:ext>
              </a:extLst>
            </a:blip>
            <a:stretch>
              <a:fillRect/>
            </a:stretch>
          </p:blipFill>
          <p:spPr>
            <a:xfrm>
              <a:off x="7658439" y="5461731"/>
              <a:ext cx="503802" cy="503802"/>
            </a:xfrm>
            <a:prstGeom prst="rect">
              <a:avLst/>
            </a:prstGeom>
          </p:spPr>
        </p:pic>
        <p:sp>
          <p:nvSpPr>
            <p:cNvPr id="124" name="TextBox 123">
              <a:extLst>
                <a:ext uri="{FF2B5EF4-FFF2-40B4-BE49-F238E27FC236}">
                  <a16:creationId xmlns:a16="http://schemas.microsoft.com/office/drawing/2014/main" id="{F0D3334B-26DB-411E-A507-D393A4353E86}"/>
                </a:ext>
              </a:extLst>
            </p:cNvPr>
            <p:cNvSpPr txBox="1"/>
            <p:nvPr/>
          </p:nvSpPr>
          <p:spPr>
            <a:xfrm>
              <a:off x="7535585" y="6020218"/>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Usager</a:t>
              </a:r>
            </a:p>
          </p:txBody>
        </p:sp>
      </p:grpSp>
      <p:cxnSp>
        <p:nvCxnSpPr>
          <p:cNvPr id="125" name="Connector: Elbow 124">
            <a:extLst>
              <a:ext uri="{FF2B5EF4-FFF2-40B4-BE49-F238E27FC236}">
                <a16:creationId xmlns:a16="http://schemas.microsoft.com/office/drawing/2014/main" id="{95AA41CC-25B2-45F8-A3F2-E8309CECA095}"/>
              </a:ext>
            </a:extLst>
          </p:cNvPr>
          <p:cNvCxnSpPr>
            <a:cxnSpLocks/>
            <a:stCxn id="114" idx="3"/>
            <a:endCxn id="123" idx="0"/>
          </p:cNvCxnSpPr>
          <p:nvPr/>
        </p:nvCxnSpPr>
        <p:spPr>
          <a:xfrm>
            <a:off x="3595553" y="2394732"/>
            <a:ext cx="1010462" cy="410932"/>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71B45A96-C935-4E56-BFC1-17059C018AA8}"/>
              </a:ext>
            </a:extLst>
          </p:cNvPr>
          <p:cNvCxnSpPr>
            <a:cxnSpLocks/>
            <a:stCxn id="117" idx="3"/>
            <a:endCxn id="124" idx="2"/>
          </p:cNvCxnSpPr>
          <p:nvPr/>
        </p:nvCxnSpPr>
        <p:spPr>
          <a:xfrm flipV="1">
            <a:off x="3601716" y="3599698"/>
            <a:ext cx="987402" cy="393021"/>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45772E8-1C8A-41FF-9F7F-FD0301CCBD0E}"/>
              </a:ext>
            </a:extLst>
          </p:cNvPr>
          <p:cNvCxnSpPr>
            <a:cxnSpLocks/>
            <a:stCxn id="123" idx="3"/>
            <a:endCxn id="120" idx="1"/>
          </p:cNvCxnSpPr>
          <p:nvPr/>
        </p:nvCxnSpPr>
        <p:spPr>
          <a:xfrm>
            <a:off x="4863033" y="3062681"/>
            <a:ext cx="1301584" cy="1640"/>
          </a:xfrm>
          <a:prstGeom prst="bentConnector3">
            <a:avLst>
              <a:gd name="adj1" fmla="val 50000"/>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40" name="CustomIcon">
            <a:extLst>
              <a:ext uri="{FF2B5EF4-FFF2-40B4-BE49-F238E27FC236}">
                <a16:creationId xmlns:a16="http://schemas.microsoft.com/office/drawing/2014/main" id="{8D066D48-91BA-4BCB-B444-E9AA8C46756B}"/>
              </a:ext>
            </a:extLst>
          </p:cNvPr>
          <p:cNvGrpSpPr>
            <a:grpSpLocks noChangeAspect="1"/>
          </p:cNvGrpSpPr>
          <p:nvPr>
            <p:custDataLst>
              <p:tags r:id="rId3"/>
            </p:custDataLst>
          </p:nvPr>
        </p:nvGrpSpPr>
        <p:grpSpPr>
          <a:xfrm>
            <a:off x="5046777" y="2945479"/>
            <a:ext cx="249094" cy="249094"/>
            <a:chOff x="-205105" y="-205105"/>
            <a:chExt cx="1019810" cy="1019810"/>
          </a:xfrm>
        </p:grpSpPr>
        <p:sp>
          <p:nvSpPr>
            <p:cNvPr id="141" name="Oval 140">
              <a:extLst>
                <a:ext uri="{FF2B5EF4-FFF2-40B4-BE49-F238E27FC236}">
                  <a16:creationId xmlns:a16="http://schemas.microsoft.com/office/drawing/2014/main" id="{C0246F7F-3AA3-4A62-B03A-5511487D520B}"/>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142" name="Graphic 141">
              <a:extLst>
                <a:ext uri="{FF2B5EF4-FFF2-40B4-BE49-F238E27FC236}">
                  <a16:creationId xmlns:a16="http://schemas.microsoft.com/office/drawing/2014/main" id="{D2DC4E28-35CC-4419-8B45-9CFE8145EE0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sp>
        <p:nvSpPr>
          <p:cNvPr id="156" name="TextBox 155">
            <a:extLst>
              <a:ext uri="{FF2B5EF4-FFF2-40B4-BE49-F238E27FC236}">
                <a16:creationId xmlns:a16="http://schemas.microsoft.com/office/drawing/2014/main" id="{3DEC42F8-7120-4CE7-BEEC-F92A7CD9FCC9}"/>
              </a:ext>
            </a:extLst>
          </p:cNvPr>
          <p:cNvSpPr txBox="1">
            <a:spLocks/>
          </p:cNvSpPr>
          <p:nvPr/>
        </p:nvSpPr>
        <p:spPr>
          <a:xfrm>
            <a:off x="7640092" y="4734240"/>
            <a:ext cx="4111085" cy="17853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spcAft>
                <a:spcPts val="612"/>
              </a:spcAft>
            </a:pPr>
            <a:r>
              <a:rPr lang="fr-FR" sz="1224" dirty="0"/>
              <a:t>L’expérience usager est </a:t>
            </a:r>
            <a:r>
              <a:rPr lang="fr-FR" sz="1224" b="1" dirty="0"/>
              <a:t>entièrement digitalisée</a:t>
            </a:r>
            <a:r>
              <a:rPr lang="fr-FR" sz="1224" dirty="0"/>
              <a:t> </a:t>
            </a:r>
          </a:p>
          <a:p>
            <a:pPr lvl="1">
              <a:spcAft>
                <a:spcPts val="612"/>
              </a:spcAft>
            </a:pPr>
            <a:r>
              <a:rPr lang="fr-FR" sz="1224" dirty="0"/>
              <a:t>Les procédures sont effectuées de manière « </a:t>
            </a:r>
            <a:r>
              <a:rPr lang="fr-FR" sz="1224" b="1" dirty="0"/>
              <a:t>consolidée</a:t>
            </a:r>
            <a:r>
              <a:rPr lang="fr-FR" sz="1224" dirty="0"/>
              <a:t> »</a:t>
            </a:r>
          </a:p>
          <a:p>
            <a:pPr lvl="1">
              <a:spcAft>
                <a:spcPts val="612"/>
              </a:spcAft>
            </a:pPr>
            <a:r>
              <a:rPr lang="fr-FR" sz="1224" dirty="0"/>
              <a:t>L’administration en charge </a:t>
            </a:r>
            <a:r>
              <a:rPr lang="fr-FR" sz="1224" b="1" dirty="0"/>
              <a:t>peut collecter automatiquement </a:t>
            </a:r>
            <a:r>
              <a:rPr lang="fr-FR" sz="1224" dirty="0"/>
              <a:t>les données nécessaires à la demande et </a:t>
            </a:r>
            <a:r>
              <a:rPr lang="fr-FR" sz="1224" b="1" dirty="0"/>
              <a:t>disponibles au niveau d’autres administrations</a:t>
            </a:r>
          </a:p>
          <a:p>
            <a:pPr lvl="1">
              <a:spcAft>
                <a:spcPts val="612"/>
              </a:spcAft>
            </a:pPr>
            <a:r>
              <a:rPr lang="fr-FR" sz="1224" dirty="0"/>
              <a:t>L’usager ne doit fournir </a:t>
            </a:r>
            <a:r>
              <a:rPr lang="fr-FR" sz="1224" b="1" dirty="0"/>
              <a:t>que les données et documents non disponibles </a:t>
            </a:r>
            <a:r>
              <a:rPr lang="fr-FR" sz="1224" dirty="0"/>
              <a:t>au niveau des administrations</a:t>
            </a:r>
            <a:endParaRPr lang="fr-FR" sz="1224" dirty="0">
              <a:solidFill>
                <a:srgbClr val="FF0000"/>
              </a:solidFill>
            </a:endParaRPr>
          </a:p>
        </p:txBody>
      </p:sp>
      <p:sp>
        <p:nvSpPr>
          <p:cNvPr id="157" name="TextBox 156">
            <a:extLst>
              <a:ext uri="{FF2B5EF4-FFF2-40B4-BE49-F238E27FC236}">
                <a16:creationId xmlns:a16="http://schemas.microsoft.com/office/drawing/2014/main" id="{9055D40A-FA04-4199-A226-EE162057B563}"/>
              </a:ext>
            </a:extLst>
          </p:cNvPr>
          <p:cNvSpPr txBox="1">
            <a:spLocks/>
          </p:cNvSpPr>
          <p:nvPr/>
        </p:nvSpPr>
        <p:spPr>
          <a:xfrm>
            <a:off x="2799009" y="4734241"/>
            <a:ext cx="4180900" cy="1475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spcAft>
                <a:spcPts val="612"/>
              </a:spcAft>
            </a:pPr>
            <a:r>
              <a:rPr lang="fr-FR" sz="1224" dirty="0"/>
              <a:t>Les procédures sont effectuées en « </a:t>
            </a:r>
            <a:r>
              <a:rPr lang="fr-FR" sz="1224" b="1" dirty="0"/>
              <a:t>silo</a:t>
            </a:r>
            <a:r>
              <a:rPr lang="fr-FR" sz="1224" dirty="0"/>
              <a:t> » par chaque administration</a:t>
            </a:r>
          </a:p>
          <a:p>
            <a:pPr lvl="1">
              <a:spcAft>
                <a:spcPts val="612"/>
              </a:spcAft>
            </a:pPr>
            <a:r>
              <a:rPr lang="fr-FR" sz="1224" dirty="0"/>
              <a:t>L’usager doit déposer une </a:t>
            </a:r>
            <a:r>
              <a:rPr lang="fr-FR" sz="1224" b="1" dirty="0"/>
              <a:t>demande séparée </a:t>
            </a:r>
            <a:r>
              <a:rPr lang="fr-FR" sz="1224" dirty="0"/>
              <a:t>pour chaque pièce justificative ou donnée devant être fournie par une administration</a:t>
            </a:r>
          </a:p>
        </p:txBody>
      </p:sp>
      <p:grpSp>
        <p:nvGrpSpPr>
          <p:cNvPr id="77" name="CustomIcon">
            <a:extLst>
              <a:ext uri="{FF2B5EF4-FFF2-40B4-BE49-F238E27FC236}">
                <a16:creationId xmlns:a16="http://schemas.microsoft.com/office/drawing/2014/main" id="{574A29C0-94A0-40B5-8FEB-CCB76B4B699C}"/>
              </a:ext>
            </a:extLst>
          </p:cNvPr>
          <p:cNvGrpSpPr>
            <a:grpSpLocks noChangeAspect="1"/>
          </p:cNvGrpSpPr>
          <p:nvPr>
            <p:custDataLst>
              <p:tags r:id="rId4"/>
            </p:custDataLst>
          </p:nvPr>
        </p:nvGrpSpPr>
        <p:grpSpPr>
          <a:xfrm>
            <a:off x="3861759" y="2169521"/>
            <a:ext cx="441284" cy="441284"/>
            <a:chOff x="-205105" y="-205105"/>
            <a:chExt cx="1019810" cy="1019810"/>
          </a:xfrm>
        </p:grpSpPr>
        <p:sp>
          <p:nvSpPr>
            <p:cNvPr id="78" name="Oval 77">
              <a:extLst>
                <a:ext uri="{FF2B5EF4-FFF2-40B4-BE49-F238E27FC236}">
                  <a16:creationId xmlns:a16="http://schemas.microsoft.com/office/drawing/2014/main" id="{73F4EED7-D65E-4B00-93FD-B46B8AFE3F28}"/>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79" name="Graphic 78">
              <a:extLst>
                <a:ext uri="{FF2B5EF4-FFF2-40B4-BE49-F238E27FC236}">
                  <a16:creationId xmlns:a16="http://schemas.microsoft.com/office/drawing/2014/main" id="{AF36388E-5E8F-4941-8588-4C35079E757A}"/>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nvGrpSpPr>
          <p:cNvPr id="80" name="CustomIcon">
            <a:extLst>
              <a:ext uri="{FF2B5EF4-FFF2-40B4-BE49-F238E27FC236}">
                <a16:creationId xmlns:a16="http://schemas.microsoft.com/office/drawing/2014/main" id="{3A52C9A5-2296-4622-B71C-EDD6534BC15A}"/>
              </a:ext>
            </a:extLst>
          </p:cNvPr>
          <p:cNvGrpSpPr>
            <a:grpSpLocks noChangeAspect="1"/>
          </p:cNvGrpSpPr>
          <p:nvPr>
            <p:custDataLst>
              <p:tags r:id="rId5"/>
            </p:custDataLst>
          </p:nvPr>
        </p:nvGrpSpPr>
        <p:grpSpPr>
          <a:xfrm>
            <a:off x="3861759" y="3743766"/>
            <a:ext cx="441284" cy="441284"/>
            <a:chOff x="-205105" y="-205105"/>
            <a:chExt cx="1019810" cy="1019810"/>
          </a:xfrm>
        </p:grpSpPr>
        <p:sp>
          <p:nvSpPr>
            <p:cNvPr id="81" name="Oval 80">
              <a:extLst>
                <a:ext uri="{FF2B5EF4-FFF2-40B4-BE49-F238E27FC236}">
                  <a16:creationId xmlns:a16="http://schemas.microsoft.com/office/drawing/2014/main" id="{D2D9B652-220E-4FC1-832C-49078F96C189}"/>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82" name="Graphic 81">
              <a:extLst>
                <a:ext uri="{FF2B5EF4-FFF2-40B4-BE49-F238E27FC236}">
                  <a16:creationId xmlns:a16="http://schemas.microsoft.com/office/drawing/2014/main" id="{504EBEC8-A5F9-4078-A256-DFCCFC5D6FA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nvGrpSpPr>
          <p:cNvPr id="88" name="CustomIcon">
            <a:extLst>
              <a:ext uri="{FF2B5EF4-FFF2-40B4-BE49-F238E27FC236}">
                <a16:creationId xmlns:a16="http://schemas.microsoft.com/office/drawing/2014/main" id="{330431D7-793A-4960-9A56-B7B50DE40905}"/>
              </a:ext>
            </a:extLst>
          </p:cNvPr>
          <p:cNvGrpSpPr>
            <a:grpSpLocks noChangeAspect="1"/>
          </p:cNvGrpSpPr>
          <p:nvPr>
            <p:custDataLst>
              <p:tags r:id="rId6"/>
            </p:custDataLst>
          </p:nvPr>
        </p:nvGrpSpPr>
        <p:grpSpPr>
          <a:xfrm>
            <a:off x="5355860" y="2945479"/>
            <a:ext cx="249094" cy="249094"/>
            <a:chOff x="-205105" y="-205105"/>
            <a:chExt cx="1019810" cy="1019810"/>
          </a:xfrm>
        </p:grpSpPr>
        <p:sp>
          <p:nvSpPr>
            <p:cNvPr id="89" name="Oval 88">
              <a:extLst>
                <a:ext uri="{FF2B5EF4-FFF2-40B4-BE49-F238E27FC236}">
                  <a16:creationId xmlns:a16="http://schemas.microsoft.com/office/drawing/2014/main" id="{2899E70B-B347-4D02-B1A7-1BE61931C651}"/>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90" name="Graphic 89">
              <a:extLst>
                <a:ext uri="{FF2B5EF4-FFF2-40B4-BE49-F238E27FC236}">
                  <a16:creationId xmlns:a16="http://schemas.microsoft.com/office/drawing/2014/main" id="{64F94D95-FD09-4FB8-AEDC-DA8E283E8D0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nvGrpSpPr>
          <p:cNvPr id="91" name="CustomIcon">
            <a:extLst>
              <a:ext uri="{FF2B5EF4-FFF2-40B4-BE49-F238E27FC236}">
                <a16:creationId xmlns:a16="http://schemas.microsoft.com/office/drawing/2014/main" id="{870AF79B-ECA1-4621-91A8-BE85D8148FE0}"/>
              </a:ext>
            </a:extLst>
          </p:cNvPr>
          <p:cNvGrpSpPr>
            <a:grpSpLocks noChangeAspect="1"/>
          </p:cNvGrpSpPr>
          <p:nvPr>
            <p:custDataLst>
              <p:tags r:id="rId7"/>
            </p:custDataLst>
          </p:nvPr>
        </p:nvGrpSpPr>
        <p:grpSpPr>
          <a:xfrm>
            <a:off x="5664943" y="2945479"/>
            <a:ext cx="249094" cy="249094"/>
            <a:chOff x="-205105" y="-205105"/>
            <a:chExt cx="1019810" cy="1019810"/>
          </a:xfrm>
        </p:grpSpPr>
        <p:sp>
          <p:nvSpPr>
            <p:cNvPr id="92" name="Oval 91">
              <a:extLst>
                <a:ext uri="{FF2B5EF4-FFF2-40B4-BE49-F238E27FC236}">
                  <a16:creationId xmlns:a16="http://schemas.microsoft.com/office/drawing/2014/main" id="{7B5991CB-51E0-4B2E-8D55-15BB2A529BF7}"/>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93" name="Graphic 92">
              <a:extLst>
                <a:ext uri="{FF2B5EF4-FFF2-40B4-BE49-F238E27FC236}">
                  <a16:creationId xmlns:a16="http://schemas.microsoft.com/office/drawing/2014/main" id="{75D7F360-D4D9-4008-8F39-39C0491A75F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nvGrpSpPr>
          <p:cNvPr id="6" name="Groupe 5">
            <a:extLst>
              <a:ext uri="{FF2B5EF4-FFF2-40B4-BE49-F238E27FC236}">
                <a16:creationId xmlns:a16="http://schemas.microsoft.com/office/drawing/2014/main" id="{6C9974BA-588C-4D26-B6D8-D4551C235899}"/>
              </a:ext>
            </a:extLst>
          </p:cNvPr>
          <p:cNvGrpSpPr/>
          <p:nvPr/>
        </p:nvGrpSpPr>
        <p:grpSpPr>
          <a:xfrm>
            <a:off x="9978705" y="2188960"/>
            <a:ext cx="441284" cy="441284"/>
            <a:chOff x="9779966" y="2145383"/>
            <a:chExt cx="432499" cy="432499"/>
          </a:xfrm>
        </p:grpSpPr>
        <p:sp>
          <p:nvSpPr>
            <p:cNvPr id="4" name="Oval 3">
              <a:extLst>
                <a:ext uri="{FF2B5EF4-FFF2-40B4-BE49-F238E27FC236}">
                  <a16:creationId xmlns:a16="http://schemas.microsoft.com/office/drawing/2014/main" id="{BF905875-678A-4970-AB7B-138AE2C2C0DD}"/>
                </a:ext>
              </a:extLst>
            </p:cNvPr>
            <p:cNvSpPr>
              <a:spLocks noChangeAspect="1"/>
            </p:cNvSpPr>
            <p:nvPr/>
          </p:nvSpPr>
          <p:spPr>
            <a:xfrm>
              <a:off x="9779966" y="2145383"/>
              <a:ext cx="432499" cy="432499"/>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10" name="Graphic 9">
              <a:extLst>
                <a:ext uri="{FF2B5EF4-FFF2-40B4-BE49-F238E27FC236}">
                  <a16:creationId xmlns:a16="http://schemas.microsoft.com/office/drawing/2014/main" id="{B71E6F82-0E76-4C1B-9AFC-E9FF435AE60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866951" y="2232368"/>
              <a:ext cx="258530" cy="258530"/>
            </a:xfrm>
            <a:prstGeom prst="rect">
              <a:avLst/>
            </a:prstGeom>
          </p:spPr>
        </p:pic>
      </p:grpSp>
      <p:grpSp>
        <p:nvGrpSpPr>
          <p:cNvPr id="94" name="CustomIcon">
            <a:extLst>
              <a:ext uri="{FF2B5EF4-FFF2-40B4-BE49-F238E27FC236}">
                <a16:creationId xmlns:a16="http://schemas.microsoft.com/office/drawing/2014/main" id="{AA92F4D7-0DDE-4F2E-87AA-1CC66EC27096}"/>
              </a:ext>
            </a:extLst>
          </p:cNvPr>
          <p:cNvGrpSpPr>
            <a:grpSpLocks/>
          </p:cNvGrpSpPr>
          <p:nvPr>
            <p:custDataLst>
              <p:tags r:id="rId8"/>
            </p:custDataLst>
          </p:nvPr>
        </p:nvGrpSpPr>
        <p:grpSpPr>
          <a:xfrm>
            <a:off x="9978706" y="3808308"/>
            <a:ext cx="441284" cy="441284"/>
            <a:chOff x="-205105" y="-205105"/>
            <a:chExt cx="1019810" cy="1019810"/>
          </a:xfrm>
        </p:grpSpPr>
        <p:sp>
          <p:nvSpPr>
            <p:cNvPr id="95" name="Oval 94">
              <a:extLst>
                <a:ext uri="{FF2B5EF4-FFF2-40B4-BE49-F238E27FC236}">
                  <a16:creationId xmlns:a16="http://schemas.microsoft.com/office/drawing/2014/main" id="{FA9B0F65-8AA3-4500-A741-2143914DAF50}"/>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96" name="Graphic 95">
              <a:extLst>
                <a:ext uri="{FF2B5EF4-FFF2-40B4-BE49-F238E27FC236}">
                  <a16:creationId xmlns:a16="http://schemas.microsoft.com/office/drawing/2014/main" id="{AE746BF1-1AA5-4719-9FB4-49F92EFED52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grpSp>
        <p:nvGrpSpPr>
          <p:cNvPr id="97" name="Group 96">
            <a:extLst>
              <a:ext uri="{FF2B5EF4-FFF2-40B4-BE49-F238E27FC236}">
                <a16:creationId xmlns:a16="http://schemas.microsoft.com/office/drawing/2014/main" id="{1775FFAE-654B-4F70-9D37-BAF340913885}"/>
              </a:ext>
            </a:extLst>
          </p:cNvPr>
          <p:cNvGrpSpPr/>
          <p:nvPr/>
        </p:nvGrpSpPr>
        <p:grpSpPr>
          <a:xfrm>
            <a:off x="7542023" y="2805665"/>
            <a:ext cx="730936" cy="794034"/>
            <a:chOff x="7535585" y="5461731"/>
            <a:chExt cx="716385" cy="778227"/>
          </a:xfrm>
        </p:grpSpPr>
        <p:pic>
          <p:nvPicPr>
            <p:cNvPr id="98" name="CustomIcon">
              <a:extLst>
                <a:ext uri="{FF2B5EF4-FFF2-40B4-BE49-F238E27FC236}">
                  <a16:creationId xmlns:a16="http://schemas.microsoft.com/office/drawing/2014/main" id="{830BCC7C-02BE-4D96-AB29-431E17662DAB}"/>
                </a:ext>
              </a:extLst>
            </p:cNvPr>
            <p:cNvPicPr>
              <a:picLocks noChangeAspect="1"/>
            </p:cNvPicPr>
            <p:nvPr>
              <p:custDataLst>
                <p:tags r:id="rId13"/>
              </p:custDataLst>
            </p:nvPr>
          </p:nvPicPr>
          <p:blipFill>
            <a:blip r:embed="rId31">
              <a:extLst>
                <a:ext uri="{96DAC541-7B7A-43D3-8B79-37D633B846F1}">
                  <asvg:svgBlip xmlns:asvg="http://schemas.microsoft.com/office/drawing/2016/SVG/main" r:embed="rId32"/>
                </a:ext>
              </a:extLst>
            </a:blip>
            <a:stretch>
              <a:fillRect/>
            </a:stretch>
          </p:blipFill>
          <p:spPr>
            <a:xfrm>
              <a:off x="7658439" y="5461731"/>
              <a:ext cx="503802" cy="503802"/>
            </a:xfrm>
            <a:prstGeom prst="rect">
              <a:avLst/>
            </a:prstGeom>
          </p:spPr>
        </p:pic>
        <p:sp>
          <p:nvSpPr>
            <p:cNvPr id="99" name="TextBox 98">
              <a:extLst>
                <a:ext uri="{FF2B5EF4-FFF2-40B4-BE49-F238E27FC236}">
                  <a16:creationId xmlns:a16="http://schemas.microsoft.com/office/drawing/2014/main" id="{C9C0FCBA-84E7-441B-8ACB-CBECC2A7AFA9}"/>
                </a:ext>
              </a:extLst>
            </p:cNvPr>
            <p:cNvSpPr txBox="1"/>
            <p:nvPr/>
          </p:nvSpPr>
          <p:spPr>
            <a:xfrm>
              <a:off x="7535585" y="6020218"/>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Usager</a:t>
              </a:r>
            </a:p>
          </p:txBody>
        </p:sp>
      </p:grpSp>
      <p:grpSp>
        <p:nvGrpSpPr>
          <p:cNvPr id="100" name="Group 99">
            <a:extLst>
              <a:ext uri="{FF2B5EF4-FFF2-40B4-BE49-F238E27FC236}">
                <a16:creationId xmlns:a16="http://schemas.microsoft.com/office/drawing/2014/main" id="{6E225D17-183F-4A55-A173-A3BABD7402BB}"/>
              </a:ext>
            </a:extLst>
          </p:cNvPr>
          <p:cNvGrpSpPr/>
          <p:nvPr/>
        </p:nvGrpSpPr>
        <p:grpSpPr>
          <a:xfrm>
            <a:off x="10708350" y="2126886"/>
            <a:ext cx="730936" cy="848973"/>
            <a:chOff x="9035874" y="2999668"/>
            <a:chExt cx="716385" cy="832072"/>
          </a:xfrm>
        </p:grpSpPr>
        <p:pic>
          <p:nvPicPr>
            <p:cNvPr id="101" name="CustomIcon">
              <a:extLst>
                <a:ext uri="{FF2B5EF4-FFF2-40B4-BE49-F238E27FC236}">
                  <a16:creationId xmlns:a16="http://schemas.microsoft.com/office/drawing/2014/main" id="{1B937F3E-33A2-4C87-86ED-37B28975DA3E}"/>
                </a:ext>
              </a:extLst>
            </p:cNvPr>
            <p:cNvPicPr>
              <a:picLocks noChangeAspect="1"/>
            </p:cNvPicPr>
            <p:nvPr>
              <p:custDataLst>
                <p:tags r:id="rId12"/>
              </p:custDataLst>
            </p:nvPr>
          </p:nvPicPr>
          <p:blipFill>
            <a:blip r:embed="rId28">
              <a:extLst>
                <a:ext uri="{96DAC541-7B7A-43D3-8B79-37D633B846F1}">
                  <asvg:svgBlip xmlns:asvg="http://schemas.microsoft.com/office/drawing/2016/SVG/main" r:embed="rId30"/>
                </a:ext>
              </a:extLst>
            </a:blip>
            <a:stretch>
              <a:fillRect/>
            </a:stretch>
          </p:blipFill>
          <p:spPr>
            <a:xfrm>
              <a:off x="9126694" y="2999668"/>
              <a:ext cx="554182" cy="554182"/>
            </a:xfrm>
            <a:prstGeom prst="rect">
              <a:avLst/>
            </a:prstGeom>
          </p:spPr>
        </p:pic>
        <p:sp>
          <p:nvSpPr>
            <p:cNvPr id="102" name="TextBox 101">
              <a:extLst>
                <a:ext uri="{FF2B5EF4-FFF2-40B4-BE49-F238E27FC236}">
                  <a16:creationId xmlns:a16="http://schemas.microsoft.com/office/drawing/2014/main" id="{D9E25FA6-E9F3-4615-A899-DD6841FB6E66}"/>
                </a:ext>
              </a:extLst>
            </p:cNvPr>
            <p:cNvSpPr txBox="1"/>
            <p:nvPr/>
          </p:nvSpPr>
          <p:spPr>
            <a:xfrm>
              <a:off x="9035874" y="3612000"/>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Admin B</a:t>
              </a:r>
            </a:p>
          </p:txBody>
        </p:sp>
      </p:grpSp>
      <p:grpSp>
        <p:nvGrpSpPr>
          <p:cNvPr id="103" name="Group 102">
            <a:extLst>
              <a:ext uri="{FF2B5EF4-FFF2-40B4-BE49-F238E27FC236}">
                <a16:creationId xmlns:a16="http://schemas.microsoft.com/office/drawing/2014/main" id="{C5FBBBC8-336D-4216-8601-055FA42FF001}"/>
              </a:ext>
            </a:extLst>
          </p:cNvPr>
          <p:cNvGrpSpPr/>
          <p:nvPr/>
        </p:nvGrpSpPr>
        <p:grpSpPr>
          <a:xfrm>
            <a:off x="10708351" y="3724873"/>
            <a:ext cx="730936" cy="848973"/>
            <a:chOff x="10526757" y="2999668"/>
            <a:chExt cx="716385" cy="832072"/>
          </a:xfrm>
        </p:grpSpPr>
        <p:pic>
          <p:nvPicPr>
            <p:cNvPr id="104" name="CustomIcon">
              <a:extLst>
                <a:ext uri="{FF2B5EF4-FFF2-40B4-BE49-F238E27FC236}">
                  <a16:creationId xmlns:a16="http://schemas.microsoft.com/office/drawing/2014/main" id="{0F30AE52-79EB-4D92-9CC5-E616BBEC68CA}"/>
                </a:ext>
              </a:extLst>
            </p:cNvPr>
            <p:cNvPicPr>
              <a:picLocks noChangeAspect="1"/>
            </p:cNvPicPr>
            <p:nvPr>
              <p:custDataLst>
                <p:tags r:id="rId11"/>
              </p:custDataLst>
            </p:nvPr>
          </p:nvPicPr>
          <p:blipFill>
            <a:blip r:embed="rId28">
              <a:extLst>
                <a:ext uri="{96DAC541-7B7A-43D3-8B79-37D633B846F1}">
                  <asvg:svgBlip xmlns:asvg="http://schemas.microsoft.com/office/drawing/2016/SVG/main" r:embed="rId29"/>
                </a:ext>
              </a:extLst>
            </a:blip>
            <a:stretch>
              <a:fillRect/>
            </a:stretch>
          </p:blipFill>
          <p:spPr>
            <a:xfrm>
              <a:off x="10623615" y="2999668"/>
              <a:ext cx="554182" cy="554182"/>
            </a:xfrm>
            <a:prstGeom prst="rect">
              <a:avLst/>
            </a:prstGeom>
          </p:spPr>
        </p:pic>
        <p:sp>
          <p:nvSpPr>
            <p:cNvPr id="105" name="TextBox 104">
              <a:extLst>
                <a:ext uri="{FF2B5EF4-FFF2-40B4-BE49-F238E27FC236}">
                  <a16:creationId xmlns:a16="http://schemas.microsoft.com/office/drawing/2014/main" id="{C9BC1F3F-F196-4E62-B7A7-14954959ED5E}"/>
                </a:ext>
              </a:extLst>
            </p:cNvPr>
            <p:cNvSpPr txBox="1"/>
            <p:nvPr/>
          </p:nvSpPr>
          <p:spPr>
            <a:xfrm>
              <a:off x="10526757" y="3612000"/>
              <a:ext cx="716385" cy="2197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428" b="1" dirty="0"/>
                <a:t>Admin C</a:t>
              </a:r>
            </a:p>
          </p:txBody>
        </p:sp>
      </p:grpSp>
      <p:grpSp>
        <p:nvGrpSpPr>
          <p:cNvPr id="31" name="Group 30">
            <a:extLst>
              <a:ext uri="{FF2B5EF4-FFF2-40B4-BE49-F238E27FC236}">
                <a16:creationId xmlns:a16="http://schemas.microsoft.com/office/drawing/2014/main" id="{035547F4-164D-4451-9FCD-EFE65A1754A7}"/>
              </a:ext>
            </a:extLst>
          </p:cNvPr>
          <p:cNvGrpSpPr/>
          <p:nvPr/>
        </p:nvGrpSpPr>
        <p:grpSpPr>
          <a:xfrm>
            <a:off x="2804342" y="1103604"/>
            <a:ext cx="4041194" cy="384423"/>
            <a:chOff x="5796215" y="967769"/>
            <a:chExt cx="3960744" cy="376770"/>
          </a:xfrm>
        </p:grpSpPr>
        <p:grpSp>
          <p:nvGrpSpPr>
            <p:cNvPr id="29" name="Group 28">
              <a:extLst>
                <a:ext uri="{FF2B5EF4-FFF2-40B4-BE49-F238E27FC236}">
                  <a16:creationId xmlns:a16="http://schemas.microsoft.com/office/drawing/2014/main" id="{5452DEF9-FBAC-4FB5-A4B6-EF39C7C20ABE}"/>
                </a:ext>
              </a:extLst>
            </p:cNvPr>
            <p:cNvGrpSpPr/>
            <p:nvPr/>
          </p:nvGrpSpPr>
          <p:grpSpPr>
            <a:xfrm>
              <a:off x="7351060" y="967769"/>
              <a:ext cx="1123153" cy="376770"/>
              <a:chOff x="5899800" y="892649"/>
              <a:chExt cx="1123153" cy="376770"/>
            </a:xfrm>
          </p:grpSpPr>
          <p:grpSp>
            <p:nvGrpSpPr>
              <p:cNvPr id="107" name="CustomIcon">
                <a:extLst>
                  <a:ext uri="{FF2B5EF4-FFF2-40B4-BE49-F238E27FC236}">
                    <a16:creationId xmlns:a16="http://schemas.microsoft.com/office/drawing/2014/main" id="{1AE428B9-CC3B-4704-88FF-96BC66B03288}"/>
                  </a:ext>
                </a:extLst>
              </p:cNvPr>
              <p:cNvGrpSpPr>
                <a:grpSpLocks/>
              </p:cNvGrpSpPr>
              <p:nvPr>
                <p:custDataLst>
                  <p:tags r:id="rId10"/>
                </p:custDataLst>
              </p:nvPr>
            </p:nvGrpSpPr>
            <p:grpSpPr>
              <a:xfrm>
                <a:off x="5899800" y="914844"/>
                <a:ext cx="324943" cy="324943"/>
                <a:chOff x="-205105" y="-205105"/>
                <a:chExt cx="1019810" cy="1019810"/>
              </a:xfrm>
            </p:grpSpPr>
            <p:sp>
              <p:nvSpPr>
                <p:cNvPr id="108" name="Oval 107">
                  <a:extLst>
                    <a:ext uri="{FF2B5EF4-FFF2-40B4-BE49-F238E27FC236}">
                      <a16:creationId xmlns:a16="http://schemas.microsoft.com/office/drawing/2014/main" id="{9429D0CD-8F22-48B4-BB43-A9AE2FFD6443}"/>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109" name="Graphic 108">
                  <a:extLst>
                    <a:ext uri="{FF2B5EF4-FFF2-40B4-BE49-F238E27FC236}">
                      <a16:creationId xmlns:a16="http://schemas.microsoft.com/office/drawing/2014/main" id="{A4DEF31C-6C16-4E71-BE33-89AF8F5A158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C55AE4BC-AA63-47FA-BAC8-FDBFEC4A8DF5}"/>
                  </a:ext>
                </a:extLst>
              </p:cNvPr>
              <p:cNvSpPr txBox="1"/>
              <p:nvPr/>
            </p:nvSpPr>
            <p:spPr>
              <a:xfrm>
                <a:off x="6299462" y="892649"/>
                <a:ext cx="723491" cy="376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24" dirty="0"/>
                  <a:t>Document/acte</a:t>
                </a:r>
              </a:p>
            </p:txBody>
          </p:sp>
        </p:grpSp>
        <p:grpSp>
          <p:nvGrpSpPr>
            <p:cNvPr id="30" name="Group 29">
              <a:extLst>
                <a:ext uri="{FF2B5EF4-FFF2-40B4-BE49-F238E27FC236}">
                  <a16:creationId xmlns:a16="http://schemas.microsoft.com/office/drawing/2014/main" id="{600B2BDB-9E7F-4F2F-A5CC-3C988A17C508}"/>
                </a:ext>
              </a:extLst>
            </p:cNvPr>
            <p:cNvGrpSpPr/>
            <p:nvPr/>
          </p:nvGrpSpPr>
          <p:grpSpPr>
            <a:xfrm>
              <a:off x="8597004" y="975597"/>
              <a:ext cx="1159955" cy="324943"/>
              <a:chOff x="7145744" y="900477"/>
              <a:chExt cx="1159955" cy="324943"/>
            </a:xfrm>
          </p:grpSpPr>
          <p:grpSp>
            <p:nvGrpSpPr>
              <p:cNvPr id="110" name="CustomIcon">
                <a:extLst>
                  <a:ext uri="{FF2B5EF4-FFF2-40B4-BE49-F238E27FC236}">
                    <a16:creationId xmlns:a16="http://schemas.microsoft.com/office/drawing/2014/main" id="{39B6204A-9B9C-40D0-AC5D-2A77CC37DA55}"/>
                  </a:ext>
                </a:extLst>
              </p:cNvPr>
              <p:cNvGrpSpPr>
                <a:grpSpLocks/>
              </p:cNvGrpSpPr>
              <p:nvPr>
                <p:custDataLst>
                  <p:tags r:id="rId9"/>
                </p:custDataLst>
              </p:nvPr>
            </p:nvGrpSpPr>
            <p:grpSpPr>
              <a:xfrm>
                <a:off x="7145744" y="900477"/>
                <a:ext cx="324943" cy="324943"/>
                <a:chOff x="-205105" y="-205105"/>
                <a:chExt cx="1019810" cy="1019810"/>
              </a:xfrm>
            </p:grpSpPr>
            <p:sp>
              <p:nvSpPr>
                <p:cNvPr id="111" name="Oval 110">
                  <a:extLst>
                    <a:ext uri="{FF2B5EF4-FFF2-40B4-BE49-F238E27FC236}">
                      <a16:creationId xmlns:a16="http://schemas.microsoft.com/office/drawing/2014/main" id="{F6EC5712-2259-4D60-9FF7-2FD9E526F373}"/>
                    </a:ext>
                  </a:extLst>
                </p:cNvPr>
                <p:cNvSpPr>
                  <a:spLocks noChangeAspect="1"/>
                </p:cNvSpPr>
                <p:nvPr/>
              </p:nvSpPr>
              <p:spPr>
                <a:xfrm>
                  <a:off x="-205105" y="-205105"/>
                  <a:ext cx="1019810" cy="1019810"/>
                </a:xfrm>
                <a:prstGeom prst="ellipse">
                  <a:avLst/>
                </a:pr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dirty="0" err="1">
                    <a:solidFill>
                      <a:schemeClr val="tx1"/>
                    </a:solidFill>
                  </a:endParaRPr>
                </a:p>
              </p:txBody>
            </p:sp>
            <p:pic>
              <p:nvPicPr>
                <p:cNvPr id="112" name="Graphic 111">
                  <a:extLst>
                    <a:ext uri="{FF2B5EF4-FFF2-40B4-BE49-F238E27FC236}">
                      <a16:creationId xmlns:a16="http://schemas.microsoft.com/office/drawing/2014/main" id="{D38F9357-D0AC-4797-A4C4-90F73D2B9D0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130" name="TextBox 129">
                <a:extLst>
                  <a:ext uri="{FF2B5EF4-FFF2-40B4-BE49-F238E27FC236}">
                    <a16:creationId xmlns:a16="http://schemas.microsoft.com/office/drawing/2014/main" id="{2BC78CB6-6CAC-47CE-B9A2-D91F48EF6513}"/>
                  </a:ext>
                </a:extLst>
              </p:cNvPr>
              <p:cNvSpPr txBox="1"/>
              <p:nvPr/>
            </p:nvSpPr>
            <p:spPr>
              <a:xfrm>
                <a:off x="7582208" y="970615"/>
                <a:ext cx="723491"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24" dirty="0"/>
                  <a:t>Donnée</a:t>
                </a:r>
              </a:p>
            </p:txBody>
          </p:sp>
        </p:grpSp>
        <p:sp>
          <p:nvSpPr>
            <p:cNvPr id="132" name="TextBox 131">
              <a:extLst>
                <a:ext uri="{FF2B5EF4-FFF2-40B4-BE49-F238E27FC236}">
                  <a16:creationId xmlns:a16="http://schemas.microsoft.com/office/drawing/2014/main" id="{CD5F7B2A-171A-4C90-81DB-22DC4458A221}"/>
                </a:ext>
              </a:extLst>
            </p:cNvPr>
            <p:cNvSpPr txBox="1"/>
            <p:nvPr/>
          </p:nvSpPr>
          <p:spPr>
            <a:xfrm>
              <a:off x="5796215" y="1066698"/>
              <a:ext cx="1347577"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24" dirty="0"/>
                <a:t>Pièces justificatives:</a:t>
              </a:r>
            </a:p>
          </p:txBody>
        </p:sp>
      </p:grpSp>
    </p:spTree>
    <p:extLst>
      <p:ext uri="{BB962C8B-B14F-4D97-AF65-F5344CB8AC3E}">
        <p14:creationId xmlns:p14="http://schemas.microsoft.com/office/powerpoint/2010/main" val="4216283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0CCFA-7075-4135-A5BA-337675C7595B}"/>
              </a:ext>
            </a:extLst>
          </p:cNvPr>
          <p:cNvSpPr>
            <a:spLocks noGrp="1"/>
          </p:cNvSpPr>
          <p:nvPr>
            <p:ph type="title"/>
          </p:nvPr>
        </p:nvSpPr>
        <p:spPr>
          <a:xfrm>
            <a:off x="282309" y="150997"/>
            <a:ext cx="11071414" cy="1325543"/>
          </a:xfrm>
        </p:spPr>
        <p:txBody>
          <a:bodyPr>
            <a:normAutofit/>
          </a:bodyPr>
          <a:lstStyle/>
          <a:p>
            <a:r>
              <a:rPr lang="en-US" dirty="0" err="1"/>
              <a:t>Plateforme</a:t>
            </a:r>
            <a:r>
              <a:rPr lang="en-US" dirty="0"/>
              <a:t> </a:t>
            </a:r>
            <a:r>
              <a:rPr lang="en-US" dirty="0" err="1"/>
              <a:t>nationale</a:t>
            </a:r>
            <a:r>
              <a:rPr lang="en-US" dirty="0"/>
              <a:t> </a:t>
            </a:r>
            <a:r>
              <a:rPr lang="en-US" dirty="0" err="1"/>
              <a:t>d’interopérabilité</a:t>
            </a:r>
            <a:r>
              <a:rPr lang="en-US" dirty="0"/>
              <a:t> GISRE</a:t>
            </a:r>
          </a:p>
        </p:txBody>
      </p:sp>
      <p:sp>
        <p:nvSpPr>
          <p:cNvPr id="3" name="Rectangle 2">
            <a:extLst>
              <a:ext uri="{FF2B5EF4-FFF2-40B4-BE49-F238E27FC236}">
                <a16:creationId xmlns:a16="http://schemas.microsoft.com/office/drawing/2014/main" id="{9134EED3-D1BA-4A83-B887-B199787A060A}"/>
              </a:ext>
            </a:extLst>
          </p:cNvPr>
          <p:cNvSpPr/>
          <p:nvPr/>
        </p:nvSpPr>
        <p:spPr>
          <a:xfrm>
            <a:off x="4930786" y="4443612"/>
            <a:ext cx="6762018" cy="1565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3" name="Rectangle 22">
            <a:extLst>
              <a:ext uri="{FF2B5EF4-FFF2-40B4-BE49-F238E27FC236}">
                <a16:creationId xmlns:a16="http://schemas.microsoft.com/office/drawing/2014/main" id="{061E7971-3803-4E72-AB3D-144C5F19E10A}"/>
              </a:ext>
            </a:extLst>
          </p:cNvPr>
          <p:cNvSpPr/>
          <p:nvPr/>
        </p:nvSpPr>
        <p:spPr>
          <a:xfrm>
            <a:off x="4930786" y="3389266"/>
            <a:ext cx="6762018" cy="9206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7" name="Rectangle 26">
            <a:extLst>
              <a:ext uri="{FF2B5EF4-FFF2-40B4-BE49-F238E27FC236}">
                <a16:creationId xmlns:a16="http://schemas.microsoft.com/office/drawing/2014/main" id="{0FCD8670-021F-4E6D-8800-A50EAE6BCE48}"/>
              </a:ext>
            </a:extLst>
          </p:cNvPr>
          <p:cNvSpPr/>
          <p:nvPr/>
        </p:nvSpPr>
        <p:spPr>
          <a:xfrm>
            <a:off x="4930786" y="2169875"/>
            <a:ext cx="6762018" cy="11049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9" name="Rectangle 28">
            <a:extLst>
              <a:ext uri="{FF2B5EF4-FFF2-40B4-BE49-F238E27FC236}">
                <a16:creationId xmlns:a16="http://schemas.microsoft.com/office/drawing/2014/main" id="{563C3BFB-9A07-4260-BDE1-F04DABD33574}"/>
              </a:ext>
            </a:extLst>
          </p:cNvPr>
          <p:cNvSpPr/>
          <p:nvPr/>
        </p:nvSpPr>
        <p:spPr>
          <a:xfrm>
            <a:off x="4930786" y="849056"/>
            <a:ext cx="6762018" cy="9547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8" name="Graphic 7">
            <a:extLst>
              <a:ext uri="{FF2B5EF4-FFF2-40B4-BE49-F238E27FC236}">
                <a16:creationId xmlns:a16="http://schemas.microsoft.com/office/drawing/2014/main" id="{A96FDDA4-4EF6-47A6-AF18-B767CAC41514}"/>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1778" t="5500" r="22055" b="26055"/>
          <a:stretch/>
        </p:blipFill>
        <p:spPr>
          <a:xfrm>
            <a:off x="8782976" y="3452351"/>
            <a:ext cx="573974" cy="699446"/>
          </a:xfrm>
          <a:prstGeom prst="rect">
            <a:avLst/>
          </a:prstGeom>
        </p:spPr>
      </p:pic>
      <p:grpSp>
        <p:nvGrpSpPr>
          <p:cNvPr id="37" name="Group 36">
            <a:extLst>
              <a:ext uri="{FF2B5EF4-FFF2-40B4-BE49-F238E27FC236}">
                <a16:creationId xmlns:a16="http://schemas.microsoft.com/office/drawing/2014/main" id="{8DD992E5-3BF9-4AEC-BAED-1FCBE8F9C554}"/>
              </a:ext>
            </a:extLst>
          </p:cNvPr>
          <p:cNvGrpSpPr/>
          <p:nvPr/>
        </p:nvGrpSpPr>
        <p:grpSpPr>
          <a:xfrm>
            <a:off x="5490938" y="4783202"/>
            <a:ext cx="1224031" cy="523888"/>
            <a:chOff x="7454227" y="5187531"/>
            <a:chExt cx="1224049" cy="523896"/>
          </a:xfrm>
        </p:grpSpPr>
        <p:pic>
          <p:nvPicPr>
            <p:cNvPr id="38" name="Graphic 37">
              <a:extLst>
                <a:ext uri="{FF2B5EF4-FFF2-40B4-BE49-F238E27FC236}">
                  <a16:creationId xmlns:a16="http://schemas.microsoft.com/office/drawing/2014/main" id="{FA2030D2-BCEA-4745-84DB-98F6A8B37C60}"/>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778" t="12886" r="15889" b="33281"/>
            <a:stretch/>
          </p:blipFill>
          <p:spPr>
            <a:xfrm>
              <a:off x="7454227" y="5187531"/>
              <a:ext cx="665009" cy="523896"/>
            </a:xfrm>
            <a:prstGeom prst="rect">
              <a:avLst/>
            </a:prstGeom>
          </p:spPr>
        </p:pic>
        <p:pic>
          <p:nvPicPr>
            <p:cNvPr id="39" name="Graphic 38">
              <a:extLst>
                <a:ext uri="{FF2B5EF4-FFF2-40B4-BE49-F238E27FC236}">
                  <a16:creationId xmlns:a16="http://schemas.microsoft.com/office/drawing/2014/main" id="{454C1644-AA80-4771-AA53-A9D849775B5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277" t="2201" r="11890" b="23591"/>
            <a:stretch/>
          </p:blipFill>
          <p:spPr>
            <a:xfrm>
              <a:off x="8158211" y="5187531"/>
              <a:ext cx="520065" cy="515719"/>
            </a:xfrm>
            <a:prstGeom prst="rect">
              <a:avLst/>
            </a:prstGeom>
          </p:spPr>
        </p:pic>
      </p:grpSp>
      <p:grpSp>
        <p:nvGrpSpPr>
          <p:cNvPr id="40" name="Group 39">
            <a:extLst>
              <a:ext uri="{FF2B5EF4-FFF2-40B4-BE49-F238E27FC236}">
                <a16:creationId xmlns:a16="http://schemas.microsoft.com/office/drawing/2014/main" id="{0093AD90-727D-457C-9F51-E7CDD58FDD69}"/>
              </a:ext>
            </a:extLst>
          </p:cNvPr>
          <p:cNvGrpSpPr/>
          <p:nvPr/>
        </p:nvGrpSpPr>
        <p:grpSpPr>
          <a:xfrm>
            <a:off x="7644372" y="4781390"/>
            <a:ext cx="1224031" cy="523888"/>
            <a:chOff x="7454227" y="5187531"/>
            <a:chExt cx="1224049" cy="523896"/>
          </a:xfrm>
        </p:grpSpPr>
        <p:pic>
          <p:nvPicPr>
            <p:cNvPr id="41" name="Graphic 40">
              <a:extLst>
                <a:ext uri="{FF2B5EF4-FFF2-40B4-BE49-F238E27FC236}">
                  <a16:creationId xmlns:a16="http://schemas.microsoft.com/office/drawing/2014/main" id="{224B560C-50FA-4012-B8F7-731E78795CB3}"/>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778" t="12886" r="15889" b="33281"/>
            <a:stretch/>
          </p:blipFill>
          <p:spPr>
            <a:xfrm>
              <a:off x="7454227" y="5187531"/>
              <a:ext cx="665009" cy="523896"/>
            </a:xfrm>
            <a:prstGeom prst="rect">
              <a:avLst/>
            </a:prstGeom>
          </p:spPr>
        </p:pic>
        <p:pic>
          <p:nvPicPr>
            <p:cNvPr id="42" name="Graphic 41">
              <a:extLst>
                <a:ext uri="{FF2B5EF4-FFF2-40B4-BE49-F238E27FC236}">
                  <a16:creationId xmlns:a16="http://schemas.microsoft.com/office/drawing/2014/main" id="{B082A700-17A9-4023-BFD6-631B2CD2EA2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277" t="2201" r="11890" b="23591"/>
            <a:stretch/>
          </p:blipFill>
          <p:spPr>
            <a:xfrm>
              <a:off x="8158211" y="5187531"/>
              <a:ext cx="520065" cy="515719"/>
            </a:xfrm>
            <a:prstGeom prst="rect">
              <a:avLst/>
            </a:prstGeom>
          </p:spPr>
        </p:pic>
      </p:grpSp>
      <p:sp>
        <p:nvSpPr>
          <p:cNvPr id="17" name="TextBox 16">
            <a:extLst>
              <a:ext uri="{FF2B5EF4-FFF2-40B4-BE49-F238E27FC236}">
                <a16:creationId xmlns:a16="http://schemas.microsoft.com/office/drawing/2014/main" id="{2224AE5C-ED35-450B-9E5B-AA40FAD71F1B}"/>
              </a:ext>
            </a:extLst>
          </p:cNvPr>
          <p:cNvSpPr txBox="1"/>
          <p:nvPr/>
        </p:nvSpPr>
        <p:spPr>
          <a:xfrm>
            <a:off x="2563293" y="4909977"/>
            <a:ext cx="1779940" cy="596653"/>
          </a:xfrm>
          <a:prstGeom prst="rect">
            <a:avLst/>
          </a:prstGeom>
          <a:noFill/>
        </p:spPr>
        <p:txBody>
          <a:bodyPr wrap="square" rtlCol="0">
            <a:spAutoFit/>
          </a:bodyPr>
          <a:lstStyle/>
          <a:p>
            <a:pPr algn="r"/>
            <a:r>
              <a:rPr lang="en-US" sz="1600" b="1" dirty="0" err="1">
                <a:solidFill>
                  <a:schemeClr val="accent6"/>
                </a:solidFill>
                <a:latin typeface="Avenir Next LT Pro" panose="020B0504020202020204" pitchFamily="34" charset="0"/>
              </a:rPr>
              <a:t>Systèmes</a:t>
            </a:r>
            <a:r>
              <a:rPr lang="en-US" sz="1600" b="1" dirty="0">
                <a:solidFill>
                  <a:schemeClr val="accent6"/>
                </a:solidFill>
                <a:latin typeface="Avenir Next LT Pro" panose="020B0504020202020204" pitchFamily="34" charset="0"/>
              </a:rPr>
              <a:t> </a:t>
            </a:r>
            <a:r>
              <a:rPr lang="en-US" sz="1600" b="1" dirty="0" err="1">
                <a:solidFill>
                  <a:schemeClr val="accent6"/>
                </a:solidFill>
                <a:latin typeface="Avenir Next LT Pro" panose="020B0504020202020204" pitchFamily="34" charset="0"/>
              </a:rPr>
              <a:t>d'information</a:t>
            </a:r>
            <a:r>
              <a:rPr lang="en-US" sz="1600" b="1" dirty="0">
                <a:solidFill>
                  <a:schemeClr val="accent6"/>
                </a:solidFill>
                <a:latin typeface="Avenir Next LT Pro" panose="020B0504020202020204" pitchFamily="34" charset="0"/>
              </a:rPr>
              <a:t> </a:t>
            </a:r>
            <a:endParaRPr lang="fr-FR" sz="1600" b="1" dirty="0">
              <a:solidFill>
                <a:schemeClr val="accent6"/>
              </a:solidFill>
              <a:latin typeface="Avenir Next LT Pro" panose="020B0504020202020204" pitchFamily="34" charset="0"/>
            </a:endParaRPr>
          </a:p>
        </p:txBody>
      </p:sp>
      <p:pic>
        <p:nvPicPr>
          <p:cNvPr id="48" name="Graphic 47">
            <a:extLst>
              <a:ext uri="{FF2B5EF4-FFF2-40B4-BE49-F238E27FC236}">
                <a16:creationId xmlns:a16="http://schemas.microsoft.com/office/drawing/2014/main" id="{7BB7F8A8-D195-40CB-AEAC-188DF479288B}"/>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11278" t="6334" r="9924" b="26181"/>
          <a:stretch/>
        </p:blipFill>
        <p:spPr>
          <a:xfrm>
            <a:off x="10329912" y="2231622"/>
            <a:ext cx="708524" cy="606804"/>
          </a:xfrm>
          <a:prstGeom prst="rect">
            <a:avLst/>
          </a:prstGeom>
        </p:spPr>
      </p:pic>
      <p:pic>
        <p:nvPicPr>
          <p:cNvPr id="50" name="Graphic 49">
            <a:extLst>
              <a:ext uri="{FF2B5EF4-FFF2-40B4-BE49-F238E27FC236}">
                <a16:creationId xmlns:a16="http://schemas.microsoft.com/office/drawing/2014/main" id="{DB5F456D-808D-4F3B-BCDB-9906921866EF}"/>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0051" r="9889" b="20000"/>
          <a:stretch/>
        </p:blipFill>
        <p:spPr>
          <a:xfrm>
            <a:off x="8414701" y="2201510"/>
            <a:ext cx="655264" cy="654773"/>
          </a:xfrm>
          <a:prstGeom prst="rect">
            <a:avLst/>
          </a:prstGeom>
        </p:spPr>
      </p:pic>
      <p:pic>
        <p:nvPicPr>
          <p:cNvPr id="52" name="Graphic 51">
            <a:extLst>
              <a:ext uri="{FF2B5EF4-FFF2-40B4-BE49-F238E27FC236}">
                <a16:creationId xmlns:a16="http://schemas.microsoft.com/office/drawing/2014/main" id="{69EBF508-1507-4041-9B3C-12057D727FD1}"/>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10555" t="13653" r="10805" b="33713"/>
          <a:stretch/>
        </p:blipFill>
        <p:spPr>
          <a:xfrm>
            <a:off x="6392907" y="2290102"/>
            <a:ext cx="744748" cy="498465"/>
          </a:xfrm>
          <a:prstGeom prst="rect">
            <a:avLst/>
          </a:prstGeom>
        </p:spPr>
      </p:pic>
      <p:pic>
        <p:nvPicPr>
          <p:cNvPr id="54" name="Graphic 53">
            <a:extLst>
              <a:ext uri="{FF2B5EF4-FFF2-40B4-BE49-F238E27FC236}">
                <a16:creationId xmlns:a16="http://schemas.microsoft.com/office/drawing/2014/main" id="{DF268ADE-50E9-4AD9-9CCF-443C8D29891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0051" r="9924" b="19833"/>
          <a:stretch/>
        </p:blipFill>
        <p:spPr>
          <a:xfrm>
            <a:off x="5115861" y="2270051"/>
            <a:ext cx="567370" cy="568375"/>
          </a:xfrm>
          <a:prstGeom prst="rect">
            <a:avLst/>
          </a:prstGeom>
        </p:spPr>
      </p:pic>
      <p:pic>
        <p:nvPicPr>
          <p:cNvPr id="56" name="Graphic 55" descr="Universal access with solid fill">
            <a:extLst>
              <a:ext uri="{FF2B5EF4-FFF2-40B4-BE49-F238E27FC236}">
                <a16:creationId xmlns:a16="http://schemas.microsoft.com/office/drawing/2014/main" id="{B9679F90-DE32-4911-A0A6-B767D753497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79246" y="856227"/>
            <a:ext cx="637169" cy="637169"/>
          </a:xfrm>
          <a:prstGeom prst="rect">
            <a:avLst/>
          </a:prstGeom>
        </p:spPr>
      </p:pic>
      <p:sp>
        <p:nvSpPr>
          <p:cNvPr id="62" name="TextBox 61">
            <a:extLst>
              <a:ext uri="{FF2B5EF4-FFF2-40B4-BE49-F238E27FC236}">
                <a16:creationId xmlns:a16="http://schemas.microsoft.com/office/drawing/2014/main" id="{01BC796A-D0C1-4208-B39A-76AE72B6D904}"/>
              </a:ext>
            </a:extLst>
          </p:cNvPr>
          <p:cNvSpPr txBox="1"/>
          <p:nvPr/>
        </p:nvSpPr>
        <p:spPr>
          <a:xfrm>
            <a:off x="3238284" y="2429967"/>
            <a:ext cx="1104949" cy="596653"/>
          </a:xfrm>
          <a:prstGeom prst="rect">
            <a:avLst/>
          </a:prstGeom>
          <a:noFill/>
        </p:spPr>
        <p:txBody>
          <a:bodyPr wrap="square" rtlCol="0">
            <a:spAutoFit/>
          </a:bodyPr>
          <a:lstStyle/>
          <a:p>
            <a:pPr algn="r"/>
            <a:r>
              <a:rPr lang="en-US" sz="1600" b="1" dirty="0" err="1">
                <a:solidFill>
                  <a:schemeClr val="accent6"/>
                </a:solidFill>
                <a:latin typeface="Avenir Next LT Pro" panose="020B0504020202020204" pitchFamily="34" charset="0"/>
              </a:rPr>
              <a:t>Canaux</a:t>
            </a:r>
            <a:r>
              <a:rPr lang="en-US" sz="1600" b="1" dirty="0">
                <a:solidFill>
                  <a:schemeClr val="accent6"/>
                </a:solidFill>
                <a:latin typeface="Avenir Next LT Pro" panose="020B0504020202020204" pitchFamily="34" charset="0"/>
              </a:rPr>
              <a:t> </a:t>
            </a:r>
            <a:r>
              <a:rPr lang="en-US" sz="1600" b="1" dirty="0" err="1">
                <a:solidFill>
                  <a:schemeClr val="accent6"/>
                </a:solidFill>
                <a:latin typeface="Avenir Next LT Pro" panose="020B0504020202020204" pitchFamily="34" charset="0"/>
              </a:rPr>
              <a:t>d'accès</a:t>
            </a:r>
            <a:endParaRPr lang="fr-FR" sz="1600" b="1" dirty="0">
              <a:solidFill>
                <a:schemeClr val="accent6"/>
              </a:solidFill>
              <a:latin typeface="Avenir Next LT Pro" panose="020B0504020202020204" pitchFamily="34" charset="0"/>
            </a:endParaRPr>
          </a:p>
        </p:txBody>
      </p:sp>
      <p:sp>
        <p:nvSpPr>
          <p:cNvPr id="63" name="TextBox 62">
            <a:extLst>
              <a:ext uri="{FF2B5EF4-FFF2-40B4-BE49-F238E27FC236}">
                <a16:creationId xmlns:a16="http://schemas.microsoft.com/office/drawing/2014/main" id="{46CA420F-76E0-45A0-8915-1216287CBC99}"/>
              </a:ext>
            </a:extLst>
          </p:cNvPr>
          <p:cNvSpPr txBox="1"/>
          <p:nvPr/>
        </p:nvSpPr>
        <p:spPr>
          <a:xfrm>
            <a:off x="10283388" y="1359620"/>
            <a:ext cx="1028887" cy="345431"/>
          </a:xfrm>
          <a:prstGeom prst="rect">
            <a:avLst/>
          </a:prstGeom>
          <a:noFill/>
        </p:spPr>
        <p:txBody>
          <a:bodyPr wrap="square" rtlCol="0">
            <a:spAutoFit/>
          </a:bodyPr>
          <a:lstStyle/>
          <a:p>
            <a:pPr algn="ctr"/>
            <a:r>
              <a:rPr lang="en-US" sz="1600" dirty="0" err="1">
                <a:solidFill>
                  <a:schemeClr val="bg1"/>
                </a:solidFill>
                <a:latin typeface="Avenir Next LT Pro" panose="020B0504020202020204" pitchFamily="34" charset="0"/>
              </a:rPr>
              <a:t>Citoyens</a:t>
            </a:r>
            <a:endParaRPr lang="fr-FR" sz="1600" dirty="0">
              <a:solidFill>
                <a:schemeClr val="bg1"/>
              </a:solidFill>
              <a:latin typeface="Avenir Next LT Pro" panose="020B0504020202020204" pitchFamily="34" charset="0"/>
            </a:endParaRPr>
          </a:p>
        </p:txBody>
      </p:sp>
      <p:grpSp>
        <p:nvGrpSpPr>
          <p:cNvPr id="65" name="Group 64">
            <a:extLst>
              <a:ext uri="{FF2B5EF4-FFF2-40B4-BE49-F238E27FC236}">
                <a16:creationId xmlns:a16="http://schemas.microsoft.com/office/drawing/2014/main" id="{58A9D241-58E7-46B9-899F-D2AA964FACD0}"/>
              </a:ext>
            </a:extLst>
          </p:cNvPr>
          <p:cNvGrpSpPr/>
          <p:nvPr/>
        </p:nvGrpSpPr>
        <p:grpSpPr>
          <a:xfrm>
            <a:off x="6096000" y="849055"/>
            <a:ext cx="1425020" cy="855996"/>
            <a:chOff x="5340248" y="1190760"/>
            <a:chExt cx="1425042" cy="856008"/>
          </a:xfrm>
        </p:grpSpPr>
        <p:pic>
          <p:nvPicPr>
            <p:cNvPr id="60" name="Graphic 59" descr="Group brainstorm with solid fill">
              <a:extLst>
                <a:ext uri="{FF2B5EF4-FFF2-40B4-BE49-F238E27FC236}">
                  <a16:creationId xmlns:a16="http://schemas.microsoft.com/office/drawing/2014/main" id="{FBA8FAA3-28B6-4335-B5EE-8AB0D8ADE45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734179" y="1190760"/>
              <a:ext cx="637180" cy="637180"/>
            </a:xfrm>
            <a:prstGeom prst="rect">
              <a:avLst/>
            </a:prstGeom>
          </p:spPr>
        </p:pic>
        <p:sp>
          <p:nvSpPr>
            <p:cNvPr id="64" name="TextBox 63">
              <a:extLst>
                <a:ext uri="{FF2B5EF4-FFF2-40B4-BE49-F238E27FC236}">
                  <a16:creationId xmlns:a16="http://schemas.microsoft.com/office/drawing/2014/main" id="{D0276DB8-7E78-42C6-8DC4-478151D0A75F}"/>
                </a:ext>
              </a:extLst>
            </p:cNvPr>
            <p:cNvSpPr txBox="1"/>
            <p:nvPr/>
          </p:nvSpPr>
          <p:spPr>
            <a:xfrm>
              <a:off x="5340248" y="1701332"/>
              <a:ext cx="1425042" cy="345436"/>
            </a:xfrm>
            <a:prstGeom prst="rect">
              <a:avLst/>
            </a:prstGeom>
            <a:noFill/>
          </p:spPr>
          <p:txBody>
            <a:bodyPr wrap="square" rtlCol="0">
              <a:spAutoFit/>
            </a:bodyPr>
            <a:lstStyle/>
            <a:p>
              <a:pPr algn="ctr"/>
              <a:r>
                <a:rPr lang="en-US" sz="1600" dirty="0" err="1">
                  <a:solidFill>
                    <a:schemeClr val="bg1"/>
                  </a:solidFill>
                  <a:latin typeface="Avenir Next LT Pro" panose="020B0504020202020204" pitchFamily="34" charset="0"/>
                </a:rPr>
                <a:t>Investisseurs</a:t>
              </a:r>
              <a:r>
                <a:rPr lang="en-US" sz="1600" dirty="0">
                  <a:solidFill>
                    <a:schemeClr val="bg1"/>
                  </a:solidFill>
                  <a:latin typeface="Avenir Next LT Pro" panose="020B0504020202020204" pitchFamily="34" charset="0"/>
                </a:rPr>
                <a:t> </a:t>
              </a:r>
              <a:endParaRPr lang="fr-FR" sz="1600" dirty="0">
                <a:solidFill>
                  <a:schemeClr val="bg1"/>
                </a:solidFill>
                <a:latin typeface="Avenir Next LT Pro" panose="020B0504020202020204" pitchFamily="34" charset="0"/>
              </a:endParaRPr>
            </a:p>
          </p:txBody>
        </p:sp>
      </p:grpSp>
      <p:grpSp>
        <p:nvGrpSpPr>
          <p:cNvPr id="67" name="Group 66">
            <a:extLst>
              <a:ext uri="{FF2B5EF4-FFF2-40B4-BE49-F238E27FC236}">
                <a16:creationId xmlns:a16="http://schemas.microsoft.com/office/drawing/2014/main" id="{A1B5C2C5-4036-43FD-B915-252AA304EB47}"/>
              </a:ext>
            </a:extLst>
          </p:cNvPr>
          <p:cNvGrpSpPr/>
          <p:nvPr/>
        </p:nvGrpSpPr>
        <p:grpSpPr>
          <a:xfrm>
            <a:off x="7490718" y="849056"/>
            <a:ext cx="2772033" cy="855995"/>
            <a:chOff x="7241499" y="1190761"/>
            <a:chExt cx="2772074" cy="856007"/>
          </a:xfrm>
        </p:grpSpPr>
        <p:pic>
          <p:nvPicPr>
            <p:cNvPr id="58" name="Graphic 57" descr="Bank with solid fill">
              <a:extLst>
                <a:ext uri="{FF2B5EF4-FFF2-40B4-BE49-F238E27FC236}">
                  <a16:creationId xmlns:a16="http://schemas.microsoft.com/office/drawing/2014/main" id="{7EA074E4-23D0-4DDF-AAE5-9FF76AAF807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336865" y="1190761"/>
              <a:ext cx="637179" cy="637179"/>
            </a:xfrm>
            <a:prstGeom prst="rect">
              <a:avLst/>
            </a:prstGeom>
          </p:spPr>
        </p:pic>
        <p:sp>
          <p:nvSpPr>
            <p:cNvPr id="66" name="TextBox 65">
              <a:extLst>
                <a:ext uri="{FF2B5EF4-FFF2-40B4-BE49-F238E27FC236}">
                  <a16:creationId xmlns:a16="http://schemas.microsoft.com/office/drawing/2014/main" id="{FB046522-454F-49FC-BECE-E8EE9CB5287A}"/>
                </a:ext>
              </a:extLst>
            </p:cNvPr>
            <p:cNvSpPr txBox="1"/>
            <p:nvPr/>
          </p:nvSpPr>
          <p:spPr>
            <a:xfrm>
              <a:off x="7241499" y="1701332"/>
              <a:ext cx="2772074" cy="345436"/>
            </a:xfrm>
            <a:prstGeom prst="rect">
              <a:avLst/>
            </a:prstGeom>
            <a:noFill/>
          </p:spPr>
          <p:txBody>
            <a:bodyPr wrap="square" rtlCol="0">
              <a:spAutoFit/>
            </a:bodyPr>
            <a:lstStyle/>
            <a:p>
              <a:pPr algn="ctr"/>
              <a:r>
                <a:rPr lang="en-US" sz="1600" dirty="0">
                  <a:solidFill>
                    <a:schemeClr val="bg1"/>
                  </a:solidFill>
                  <a:latin typeface="Avenir Next LT Pro" panose="020B0504020202020204" pitchFamily="34" charset="0"/>
                </a:rPr>
                <a:t>Administrations </a:t>
              </a:r>
              <a:r>
                <a:rPr lang="en-US" sz="1600" dirty="0" err="1">
                  <a:solidFill>
                    <a:schemeClr val="bg1"/>
                  </a:solidFill>
                  <a:latin typeface="Avenir Next LT Pro" panose="020B0504020202020204" pitchFamily="34" charset="0"/>
                </a:rPr>
                <a:t>publiques</a:t>
              </a:r>
              <a:r>
                <a:rPr lang="en-US" sz="1600" dirty="0">
                  <a:solidFill>
                    <a:schemeClr val="bg1"/>
                  </a:solidFill>
                  <a:latin typeface="Avenir Next LT Pro" panose="020B0504020202020204" pitchFamily="34" charset="0"/>
                </a:rPr>
                <a:t> </a:t>
              </a:r>
              <a:endParaRPr lang="fr-FR" sz="1600" dirty="0">
                <a:solidFill>
                  <a:schemeClr val="bg1"/>
                </a:solidFill>
                <a:latin typeface="Avenir Next LT Pro" panose="020B0504020202020204" pitchFamily="34" charset="0"/>
              </a:endParaRPr>
            </a:p>
          </p:txBody>
        </p:sp>
      </p:grpSp>
      <p:sp>
        <p:nvSpPr>
          <p:cNvPr id="68" name="TextBox 67">
            <a:extLst>
              <a:ext uri="{FF2B5EF4-FFF2-40B4-BE49-F238E27FC236}">
                <a16:creationId xmlns:a16="http://schemas.microsoft.com/office/drawing/2014/main" id="{04EA3D6C-2EBA-4490-BD79-146B2903092B}"/>
              </a:ext>
            </a:extLst>
          </p:cNvPr>
          <p:cNvSpPr txBox="1"/>
          <p:nvPr/>
        </p:nvSpPr>
        <p:spPr>
          <a:xfrm>
            <a:off x="3238283" y="1154886"/>
            <a:ext cx="1104951" cy="345431"/>
          </a:xfrm>
          <a:prstGeom prst="rect">
            <a:avLst/>
          </a:prstGeom>
          <a:noFill/>
        </p:spPr>
        <p:txBody>
          <a:bodyPr wrap="square" rtlCol="0">
            <a:spAutoFit/>
          </a:bodyPr>
          <a:lstStyle/>
          <a:p>
            <a:pPr algn="r"/>
            <a:r>
              <a:rPr lang="en-US" sz="1600" b="1" dirty="0" err="1">
                <a:solidFill>
                  <a:schemeClr val="accent6"/>
                </a:solidFill>
                <a:latin typeface="Avenir Next LT Pro" panose="020B0504020202020204" pitchFamily="34" charset="0"/>
              </a:rPr>
              <a:t>Usagers</a:t>
            </a:r>
            <a:endParaRPr lang="fr-FR" sz="1600" b="1" dirty="0">
              <a:solidFill>
                <a:schemeClr val="accent6"/>
              </a:solidFill>
              <a:latin typeface="Avenir Next LT Pro" panose="020B0504020202020204" pitchFamily="34" charset="0"/>
            </a:endParaRPr>
          </a:p>
        </p:txBody>
      </p:sp>
      <p:sp>
        <p:nvSpPr>
          <p:cNvPr id="69" name="TextBox 68">
            <a:extLst>
              <a:ext uri="{FF2B5EF4-FFF2-40B4-BE49-F238E27FC236}">
                <a16:creationId xmlns:a16="http://schemas.microsoft.com/office/drawing/2014/main" id="{AFCC4E00-B55D-457F-B724-E7FF724366A2}"/>
              </a:ext>
            </a:extLst>
          </p:cNvPr>
          <p:cNvSpPr txBox="1"/>
          <p:nvPr/>
        </p:nvSpPr>
        <p:spPr>
          <a:xfrm>
            <a:off x="3238282" y="3671232"/>
            <a:ext cx="1104951" cy="345431"/>
          </a:xfrm>
          <a:prstGeom prst="rect">
            <a:avLst/>
          </a:prstGeom>
          <a:noFill/>
        </p:spPr>
        <p:txBody>
          <a:bodyPr wrap="square" rtlCol="0">
            <a:spAutoFit/>
          </a:bodyPr>
          <a:lstStyle/>
          <a:p>
            <a:pPr algn="r"/>
            <a:r>
              <a:rPr lang="en-US" sz="1600" b="1" dirty="0">
                <a:solidFill>
                  <a:schemeClr val="accent6"/>
                </a:solidFill>
                <a:latin typeface="Avenir Next LT Pro" panose="020B0504020202020204" pitchFamily="34" charset="0"/>
              </a:rPr>
              <a:t>Gateway</a:t>
            </a:r>
            <a:endParaRPr lang="fr-FR" sz="1600" b="1" dirty="0">
              <a:solidFill>
                <a:schemeClr val="accent6"/>
              </a:solidFill>
              <a:latin typeface="Avenir Next LT Pro" panose="020B0504020202020204" pitchFamily="34" charset="0"/>
            </a:endParaRPr>
          </a:p>
        </p:txBody>
      </p:sp>
      <p:sp>
        <p:nvSpPr>
          <p:cNvPr id="70" name="TextBox 69">
            <a:extLst>
              <a:ext uri="{FF2B5EF4-FFF2-40B4-BE49-F238E27FC236}">
                <a16:creationId xmlns:a16="http://schemas.microsoft.com/office/drawing/2014/main" id="{2B6BF915-E6E1-4909-83B7-D550487C195A}"/>
              </a:ext>
            </a:extLst>
          </p:cNvPr>
          <p:cNvSpPr txBox="1"/>
          <p:nvPr/>
        </p:nvSpPr>
        <p:spPr>
          <a:xfrm>
            <a:off x="7543876" y="5325470"/>
            <a:ext cx="1582708" cy="596653"/>
          </a:xfrm>
          <a:prstGeom prst="rect">
            <a:avLst/>
          </a:prstGeom>
          <a:noFill/>
        </p:spPr>
        <p:txBody>
          <a:bodyPr wrap="square" rtlCol="0">
            <a:spAutoFit/>
          </a:bodyPr>
          <a:lstStyle/>
          <a:p>
            <a:pPr algn="ctr"/>
            <a:r>
              <a:rPr lang="en-US" sz="1600" dirty="0" err="1">
                <a:solidFill>
                  <a:schemeClr val="bg1"/>
                </a:solidFill>
                <a:latin typeface="Avenir Next LT Pro" panose="020B0504020202020204" pitchFamily="34" charset="0"/>
              </a:rPr>
              <a:t>Départements</a:t>
            </a:r>
            <a:r>
              <a:rPr lang="en-US" sz="1600" dirty="0">
                <a:solidFill>
                  <a:schemeClr val="bg1"/>
                </a:solidFill>
                <a:latin typeface="Avenir Next LT Pro" panose="020B0504020202020204" pitchFamily="34" charset="0"/>
              </a:rPr>
              <a:t> </a:t>
            </a:r>
            <a:r>
              <a:rPr lang="en-US" sz="1600" dirty="0" err="1">
                <a:solidFill>
                  <a:schemeClr val="bg1"/>
                </a:solidFill>
                <a:latin typeface="Avenir Next LT Pro" panose="020B0504020202020204" pitchFamily="34" charset="0"/>
              </a:rPr>
              <a:t>Ministériels</a:t>
            </a:r>
            <a:endParaRPr lang="fr-FR" sz="1600" dirty="0">
              <a:solidFill>
                <a:schemeClr val="bg1"/>
              </a:solidFill>
              <a:latin typeface="Avenir Next LT Pro" panose="020B0504020202020204" pitchFamily="34" charset="0"/>
            </a:endParaRPr>
          </a:p>
        </p:txBody>
      </p:sp>
      <p:pic>
        <p:nvPicPr>
          <p:cNvPr id="71" name="Graphic 70">
            <a:extLst>
              <a:ext uri="{FF2B5EF4-FFF2-40B4-BE49-F238E27FC236}">
                <a16:creationId xmlns:a16="http://schemas.microsoft.com/office/drawing/2014/main" id="{5F067926-A237-42C2-8716-61A4784512A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004933" y="3616687"/>
            <a:ext cx="1012453" cy="385997"/>
          </a:xfrm>
          <a:prstGeom prst="rect">
            <a:avLst/>
          </a:prstGeom>
        </p:spPr>
      </p:pic>
      <p:sp>
        <p:nvSpPr>
          <p:cNvPr id="73" name="TextBox 72">
            <a:extLst>
              <a:ext uri="{FF2B5EF4-FFF2-40B4-BE49-F238E27FC236}">
                <a16:creationId xmlns:a16="http://schemas.microsoft.com/office/drawing/2014/main" id="{7CE4CF54-04B9-49E5-B8AA-D7B9968DD53D}"/>
              </a:ext>
            </a:extLst>
          </p:cNvPr>
          <p:cNvSpPr txBox="1"/>
          <p:nvPr/>
        </p:nvSpPr>
        <p:spPr>
          <a:xfrm>
            <a:off x="5045696" y="5327282"/>
            <a:ext cx="2114516" cy="596653"/>
          </a:xfrm>
          <a:prstGeom prst="rect">
            <a:avLst/>
          </a:prstGeom>
          <a:noFill/>
        </p:spPr>
        <p:txBody>
          <a:bodyPr wrap="square" rtlCol="0">
            <a:spAutoFit/>
          </a:bodyPr>
          <a:lstStyle/>
          <a:p>
            <a:pPr algn="ctr"/>
            <a:r>
              <a:rPr lang="fr-FR" sz="1600" dirty="0">
                <a:solidFill>
                  <a:schemeClr val="bg1"/>
                </a:solidFill>
                <a:latin typeface="Avenir Next LT Pro" panose="020B0504020202020204" pitchFamily="34" charset="0"/>
              </a:rPr>
              <a:t>Autres systèmes du secteur public</a:t>
            </a:r>
          </a:p>
        </p:txBody>
      </p:sp>
      <p:cxnSp>
        <p:nvCxnSpPr>
          <p:cNvPr id="75" name="Connector: Elbow 74">
            <a:extLst>
              <a:ext uri="{FF2B5EF4-FFF2-40B4-BE49-F238E27FC236}">
                <a16:creationId xmlns:a16="http://schemas.microsoft.com/office/drawing/2014/main" id="{AB1EB4F2-F7AD-44A8-91A1-8E01506C301C}"/>
              </a:ext>
            </a:extLst>
          </p:cNvPr>
          <p:cNvCxnSpPr>
            <a:cxnSpLocks/>
          </p:cNvCxnSpPr>
          <p:nvPr/>
        </p:nvCxnSpPr>
        <p:spPr>
          <a:xfrm rot="5400000" flipH="1" flipV="1">
            <a:off x="8434544" y="3643954"/>
            <a:ext cx="979317" cy="1310780"/>
          </a:xfrm>
          <a:prstGeom prst="bentConnector2">
            <a:avLst/>
          </a:prstGeom>
          <a:ln w="28575">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D309C207-8A5D-436A-ADC4-F66DA4D23B26}"/>
              </a:ext>
            </a:extLst>
          </p:cNvPr>
          <p:cNvCxnSpPr>
            <a:stCxn id="39" idx="0"/>
            <a:endCxn id="39" idx="0"/>
          </p:cNvCxnSpPr>
          <p:nvPr/>
        </p:nvCxnSpPr>
        <p:spPr>
          <a:xfrm rot="5400000" flipH="1" flipV="1">
            <a:off x="6454941" y="4783202"/>
            <a:ext cx="12958" cy="12958"/>
          </a:xfrm>
          <a:prstGeom prst="bentConnector3">
            <a:avLst>
              <a:gd name="adj1" fmla="val 1800000"/>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2598931F-6341-44E8-A13B-DC9A7BFD4AB2}"/>
              </a:ext>
            </a:extLst>
          </p:cNvPr>
          <p:cNvCxnSpPr>
            <a:cxnSpLocks/>
          </p:cNvCxnSpPr>
          <p:nvPr/>
        </p:nvCxnSpPr>
        <p:spPr>
          <a:xfrm rot="16200000" flipV="1">
            <a:off x="9720361" y="3438664"/>
            <a:ext cx="979317" cy="1706138"/>
          </a:xfrm>
          <a:prstGeom prst="bentConnector2">
            <a:avLst/>
          </a:prstGeom>
          <a:ln w="28575">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A9C4F655-5ADA-4470-8FED-0B1181637D9A}"/>
              </a:ext>
            </a:extLst>
          </p:cNvPr>
          <p:cNvCxnSpPr>
            <a:cxnSpLocks/>
            <a:stCxn id="27" idx="1"/>
            <a:endCxn id="3" idx="1"/>
          </p:cNvCxnSpPr>
          <p:nvPr/>
        </p:nvCxnSpPr>
        <p:spPr>
          <a:xfrm rot="10800000" flipV="1">
            <a:off x="4930786" y="2722349"/>
            <a:ext cx="12700" cy="2503929"/>
          </a:xfrm>
          <a:prstGeom prst="bentConnector3">
            <a:avLst>
              <a:gd name="adj1" fmla="val 1290906"/>
            </a:avLst>
          </a:prstGeom>
          <a:ln w="28575">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34960C1D-432E-4763-89EF-86EEC1604EA6}"/>
              </a:ext>
            </a:extLst>
          </p:cNvPr>
          <p:cNvCxnSpPr/>
          <p:nvPr/>
        </p:nvCxnSpPr>
        <p:spPr>
          <a:xfrm>
            <a:off x="6812689" y="1810449"/>
            <a:ext cx="0" cy="359424"/>
          </a:xfrm>
          <a:prstGeom prst="straightConnector1">
            <a:avLst/>
          </a:prstGeom>
          <a:ln w="317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14E966B0-70F4-483E-AFCF-162749FBB4BC}"/>
              </a:ext>
            </a:extLst>
          </p:cNvPr>
          <p:cNvCxnSpPr/>
          <p:nvPr/>
        </p:nvCxnSpPr>
        <p:spPr>
          <a:xfrm>
            <a:off x="8930712" y="1810449"/>
            <a:ext cx="0" cy="359424"/>
          </a:xfrm>
          <a:prstGeom prst="straightConnector1">
            <a:avLst/>
          </a:prstGeom>
          <a:ln w="317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EE5D1FE5-8025-46DE-916E-66A9B907DCDE}"/>
              </a:ext>
            </a:extLst>
          </p:cNvPr>
          <p:cNvCxnSpPr/>
          <p:nvPr/>
        </p:nvCxnSpPr>
        <p:spPr>
          <a:xfrm>
            <a:off x="10814411" y="1810449"/>
            <a:ext cx="0" cy="359424"/>
          </a:xfrm>
          <a:prstGeom prst="straightConnector1">
            <a:avLst/>
          </a:prstGeom>
          <a:ln w="317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37047378-F328-4AD2-AD9F-315BEB19A679}"/>
              </a:ext>
            </a:extLst>
          </p:cNvPr>
          <p:cNvSpPr txBox="1"/>
          <p:nvPr/>
        </p:nvSpPr>
        <p:spPr>
          <a:xfrm>
            <a:off x="6957245" y="2925687"/>
            <a:ext cx="3707456" cy="345431"/>
          </a:xfrm>
          <a:prstGeom prst="rect">
            <a:avLst/>
          </a:prstGeom>
          <a:noFill/>
        </p:spPr>
        <p:txBody>
          <a:bodyPr wrap="square" rtlCol="0">
            <a:spAutoFit/>
          </a:bodyPr>
          <a:lstStyle/>
          <a:p>
            <a:pPr algn="ctr"/>
            <a:r>
              <a:rPr lang="en-US" sz="1600" dirty="0">
                <a:solidFill>
                  <a:schemeClr val="bg1"/>
                </a:solidFill>
                <a:latin typeface="Avenir Next LT Pro" panose="020B0504020202020204" pitchFamily="34" charset="0"/>
              </a:rPr>
              <a:t>Ex: IDARATI, RSU, OMPIC,…</a:t>
            </a:r>
            <a:endParaRPr lang="fr-FR" sz="1600" dirty="0">
              <a:solidFill>
                <a:schemeClr val="bg1"/>
              </a:solidFill>
              <a:latin typeface="Avenir Next LT Pro" panose="020B0504020202020204" pitchFamily="34" charset="0"/>
            </a:endParaRPr>
          </a:p>
        </p:txBody>
      </p:sp>
      <p:cxnSp>
        <p:nvCxnSpPr>
          <p:cNvPr id="76" name="Straight Connector 75">
            <a:extLst>
              <a:ext uri="{FF2B5EF4-FFF2-40B4-BE49-F238E27FC236}">
                <a16:creationId xmlns:a16="http://schemas.microsoft.com/office/drawing/2014/main" id="{BDB59131-6AE5-486B-99CB-59D9FEF819E0}"/>
              </a:ext>
            </a:extLst>
          </p:cNvPr>
          <p:cNvCxnSpPr>
            <a:cxnSpLocks/>
          </p:cNvCxnSpPr>
          <p:nvPr/>
        </p:nvCxnSpPr>
        <p:spPr>
          <a:xfrm>
            <a:off x="2685909" y="1424412"/>
            <a:ext cx="0" cy="425592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7" name="Graphic 76">
            <a:extLst>
              <a:ext uri="{FF2B5EF4-FFF2-40B4-BE49-F238E27FC236}">
                <a16:creationId xmlns:a16="http://schemas.microsoft.com/office/drawing/2014/main" id="{0265F60A-7FD0-4B36-BE6C-9C0D696AD22F}"/>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10330" r="10493" b="19836"/>
          <a:stretch/>
        </p:blipFill>
        <p:spPr>
          <a:xfrm>
            <a:off x="784138" y="2471807"/>
            <a:ext cx="1003161" cy="1015675"/>
          </a:xfrm>
          <a:prstGeom prst="rect">
            <a:avLst/>
          </a:prstGeom>
        </p:spPr>
      </p:pic>
      <p:sp>
        <p:nvSpPr>
          <p:cNvPr id="79" name="Rectangle 78">
            <a:extLst>
              <a:ext uri="{FF2B5EF4-FFF2-40B4-BE49-F238E27FC236}">
                <a16:creationId xmlns:a16="http://schemas.microsoft.com/office/drawing/2014/main" id="{88A02F70-AC40-4BF6-882E-73ABE602D0C6}"/>
              </a:ext>
            </a:extLst>
          </p:cNvPr>
          <p:cNvSpPr/>
          <p:nvPr/>
        </p:nvSpPr>
        <p:spPr>
          <a:xfrm>
            <a:off x="-87184" y="3564038"/>
            <a:ext cx="2745804" cy="847876"/>
          </a:xfrm>
          <a:prstGeom prst="rect">
            <a:avLst/>
          </a:prstGeom>
          <a:noFill/>
          <a:ln>
            <a:noFill/>
          </a:ln>
          <a:effectLst/>
        </p:spPr>
        <p:txBody>
          <a:bodyPr wrap="square">
            <a:spAutoFit/>
          </a:bodyPr>
          <a:lstStyle/>
          <a:p>
            <a:pPr algn="ctr"/>
            <a:r>
              <a:rPr lang="en-US" sz="2400" dirty="0">
                <a:latin typeface="Avenir Next LT Pro Demi" panose="020B0704020202020204" pitchFamily="34" charset="0"/>
              </a:rPr>
              <a:t>Framework d’</a:t>
            </a:r>
            <a:r>
              <a:rPr lang="fr-FR" sz="2400" dirty="0">
                <a:latin typeface="Avenir Next LT Pro Demi" panose="020B0704020202020204" pitchFamily="34" charset="0"/>
              </a:rPr>
              <a:t>interopérabilité </a:t>
            </a:r>
            <a:endParaRPr lang="fr-FR" sz="2400" b="1" dirty="0">
              <a:latin typeface="Avenir Next LT Pro Demi" panose="020B0704020202020204" pitchFamily="34" charset="0"/>
            </a:endParaRPr>
          </a:p>
        </p:txBody>
      </p:sp>
      <p:sp>
        <p:nvSpPr>
          <p:cNvPr id="80" name="Isosceles Triangle 79">
            <a:extLst>
              <a:ext uri="{FF2B5EF4-FFF2-40B4-BE49-F238E27FC236}">
                <a16:creationId xmlns:a16="http://schemas.microsoft.com/office/drawing/2014/main" id="{46F705E5-684F-4BB2-95C3-FDA9625ECC87}"/>
              </a:ext>
            </a:extLst>
          </p:cNvPr>
          <p:cNvSpPr/>
          <p:nvPr/>
        </p:nvSpPr>
        <p:spPr>
          <a:xfrm rot="5400000">
            <a:off x="2720328" y="3042495"/>
            <a:ext cx="206134" cy="177702"/>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solidFill>
                <a:schemeClr val="tx1"/>
              </a:solidFill>
            </a:endParaRPr>
          </a:p>
        </p:txBody>
      </p:sp>
      <p:pic>
        <p:nvPicPr>
          <p:cNvPr id="47" name="Graphic 46">
            <a:extLst>
              <a:ext uri="{FF2B5EF4-FFF2-40B4-BE49-F238E27FC236}">
                <a16:creationId xmlns:a16="http://schemas.microsoft.com/office/drawing/2014/main" id="{AACB1F6C-E905-4A74-83D4-C1459ADD2CCE}"/>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l="15407" t="10386" r="15629" b="29289"/>
          <a:stretch/>
        </p:blipFill>
        <p:spPr>
          <a:xfrm>
            <a:off x="4373852" y="1154887"/>
            <a:ext cx="425372" cy="372078"/>
          </a:xfrm>
          <a:prstGeom prst="rect">
            <a:avLst/>
          </a:prstGeom>
        </p:spPr>
      </p:pic>
      <p:pic>
        <p:nvPicPr>
          <p:cNvPr id="51" name="Graphic 50">
            <a:extLst>
              <a:ext uri="{FF2B5EF4-FFF2-40B4-BE49-F238E27FC236}">
                <a16:creationId xmlns:a16="http://schemas.microsoft.com/office/drawing/2014/main" id="{E9534DA2-4085-49B9-8146-921804529181}"/>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l="13118" t="3636" r="15258" b="23230"/>
          <a:stretch/>
        </p:blipFill>
        <p:spPr>
          <a:xfrm>
            <a:off x="4343233" y="2519811"/>
            <a:ext cx="396719" cy="405074"/>
          </a:xfrm>
          <a:prstGeom prst="rect">
            <a:avLst/>
          </a:prstGeom>
        </p:spPr>
      </p:pic>
      <p:pic>
        <p:nvPicPr>
          <p:cNvPr id="86" name="Graphic 85">
            <a:extLst>
              <a:ext uri="{FF2B5EF4-FFF2-40B4-BE49-F238E27FC236}">
                <a16:creationId xmlns:a16="http://schemas.microsoft.com/office/drawing/2014/main" id="{F2C3DA59-E797-429D-B491-E5E2BB02DD77}"/>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10330" r="10493" b="19836"/>
          <a:stretch/>
        </p:blipFill>
        <p:spPr>
          <a:xfrm>
            <a:off x="4373493" y="3664066"/>
            <a:ext cx="366458" cy="371029"/>
          </a:xfrm>
          <a:prstGeom prst="rect">
            <a:avLst/>
          </a:prstGeom>
        </p:spPr>
      </p:pic>
      <p:grpSp>
        <p:nvGrpSpPr>
          <p:cNvPr id="87" name="Group 86">
            <a:extLst>
              <a:ext uri="{FF2B5EF4-FFF2-40B4-BE49-F238E27FC236}">
                <a16:creationId xmlns:a16="http://schemas.microsoft.com/office/drawing/2014/main" id="{53EB550C-DAAB-42D7-BA87-55890EF58CD9}"/>
              </a:ext>
            </a:extLst>
          </p:cNvPr>
          <p:cNvGrpSpPr/>
          <p:nvPr/>
        </p:nvGrpSpPr>
        <p:grpSpPr>
          <a:xfrm>
            <a:off x="10451072" y="4801582"/>
            <a:ext cx="1224031" cy="523888"/>
            <a:chOff x="7454227" y="5187531"/>
            <a:chExt cx="1224049" cy="523896"/>
          </a:xfrm>
        </p:grpSpPr>
        <p:pic>
          <p:nvPicPr>
            <p:cNvPr id="88" name="Graphic 87">
              <a:extLst>
                <a:ext uri="{FF2B5EF4-FFF2-40B4-BE49-F238E27FC236}">
                  <a16:creationId xmlns:a16="http://schemas.microsoft.com/office/drawing/2014/main" id="{46C18EF2-0476-4EFE-B2E8-4DBF5DF0F419}"/>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5778" t="12886" r="15889" b="33281"/>
            <a:stretch/>
          </p:blipFill>
          <p:spPr>
            <a:xfrm>
              <a:off x="7454227" y="5187531"/>
              <a:ext cx="665009" cy="523896"/>
            </a:xfrm>
            <a:prstGeom prst="rect">
              <a:avLst/>
            </a:prstGeom>
          </p:spPr>
        </p:pic>
        <p:pic>
          <p:nvPicPr>
            <p:cNvPr id="90" name="Graphic 89">
              <a:extLst>
                <a:ext uri="{FF2B5EF4-FFF2-40B4-BE49-F238E27FC236}">
                  <a16:creationId xmlns:a16="http://schemas.microsoft.com/office/drawing/2014/main" id="{0691105F-ED25-4A70-9910-4DF2535E1FA8}"/>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277" t="2201" r="11890" b="23591"/>
            <a:stretch/>
          </p:blipFill>
          <p:spPr>
            <a:xfrm>
              <a:off x="8158211" y="5187531"/>
              <a:ext cx="520065" cy="515719"/>
            </a:xfrm>
            <a:prstGeom prst="rect">
              <a:avLst/>
            </a:prstGeom>
          </p:spPr>
        </p:pic>
      </p:grpSp>
      <p:sp>
        <p:nvSpPr>
          <p:cNvPr id="91" name="TextBox 90">
            <a:extLst>
              <a:ext uri="{FF2B5EF4-FFF2-40B4-BE49-F238E27FC236}">
                <a16:creationId xmlns:a16="http://schemas.microsoft.com/office/drawing/2014/main" id="{11FD9F26-8ED0-465D-B39E-5EAE3E3818A1}"/>
              </a:ext>
            </a:extLst>
          </p:cNvPr>
          <p:cNvSpPr txBox="1"/>
          <p:nvPr/>
        </p:nvSpPr>
        <p:spPr>
          <a:xfrm>
            <a:off x="10329911" y="5449484"/>
            <a:ext cx="1425020" cy="338554"/>
          </a:xfrm>
          <a:prstGeom prst="rect">
            <a:avLst/>
          </a:prstGeom>
          <a:noFill/>
        </p:spPr>
        <p:txBody>
          <a:bodyPr wrap="square" rtlCol="0">
            <a:spAutoFit/>
          </a:bodyPr>
          <a:lstStyle/>
          <a:p>
            <a:pPr algn="ctr"/>
            <a:r>
              <a:rPr lang="en-US" sz="1600" dirty="0" err="1">
                <a:solidFill>
                  <a:schemeClr val="bg1"/>
                </a:solidFill>
                <a:latin typeface="Avenir Next LT Pro" panose="020B0504020202020204" pitchFamily="34" charset="0"/>
              </a:rPr>
              <a:t>Secteur</a:t>
            </a:r>
            <a:r>
              <a:rPr lang="en-US" sz="1600" dirty="0">
                <a:solidFill>
                  <a:schemeClr val="bg1"/>
                </a:solidFill>
                <a:latin typeface="Avenir Next LT Pro" panose="020B0504020202020204" pitchFamily="34" charset="0"/>
              </a:rPr>
              <a:t> </a:t>
            </a:r>
            <a:r>
              <a:rPr lang="en-US" sz="1600" dirty="0" err="1">
                <a:solidFill>
                  <a:schemeClr val="bg1"/>
                </a:solidFill>
                <a:latin typeface="Avenir Next LT Pro" panose="020B0504020202020204" pitchFamily="34" charset="0"/>
              </a:rPr>
              <a:t>privé</a:t>
            </a:r>
            <a:r>
              <a:rPr lang="en-US" sz="1600" dirty="0">
                <a:solidFill>
                  <a:schemeClr val="bg1"/>
                </a:solidFill>
                <a:latin typeface="Avenir Next LT Pro" panose="020B0504020202020204" pitchFamily="34" charset="0"/>
              </a:rPr>
              <a:t> </a:t>
            </a:r>
            <a:endParaRPr lang="fr-FR" sz="1600" dirty="0">
              <a:solidFill>
                <a:schemeClr val="bg1"/>
              </a:solidFill>
              <a:latin typeface="Avenir Next LT Pro" panose="020B0504020202020204" pitchFamily="34" charset="0"/>
            </a:endParaRPr>
          </a:p>
        </p:txBody>
      </p:sp>
      <p:cxnSp>
        <p:nvCxnSpPr>
          <p:cNvPr id="92" name="Connector: Elbow 91">
            <a:extLst>
              <a:ext uri="{FF2B5EF4-FFF2-40B4-BE49-F238E27FC236}">
                <a16:creationId xmlns:a16="http://schemas.microsoft.com/office/drawing/2014/main" id="{A34CA820-FCD1-44A4-BB0F-EBFF676407BF}"/>
              </a:ext>
            </a:extLst>
          </p:cNvPr>
          <p:cNvCxnSpPr>
            <a:cxnSpLocks/>
          </p:cNvCxnSpPr>
          <p:nvPr/>
        </p:nvCxnSpPr>
        <p:spPr>
          <a:xfrm flipV="1">
            <a:off x="6141930" y="3802074"/>
            <a:ext cx="2641046" cy="979318"/>
          </a:xfrm>
          <a:prstGeom prst="bentConnector3">
            <a:avLst>
              <a:gd name="adj1" fmla="val -10"/>
            </a:avLst>
          </a:prstGeom>
          <a:ln w="28575">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1" name="Graphic 60">
            <a:extLst>
              <a:ext uri="{FF2B5EF4-FFF2-40B4-BE49-F238E27FC236}">
                <a16:creationId xmlns:a16="http://schemas.microsoft.com/office/drawing/2014/main" id="{5EABFFEF-41E7-4C07-94A1-3B988DB19ED0}"/>
              </a:ext>
            </a:extLst>
          </p:cNvPr>
          <p:cNvPicPr>
            <a:picLocks noChangeAspect="1"/>
          </p:cNvPicPr>
          <p:nvPr/>
        </p:nvPicPr>
        <p:blipFill rotWithShape="1">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rcRect l="10260" r="10217" b="19878"/>
          <a:stretch/>
        </p:blipFill>
        <p:spPr>
          <a:xfrm>
            <a:off x="4331746" y="5039246"/>
            <a:ext cx="421245" cy="424415"/>
          </a:xfrm>
          <a:prstGeom prst="rect">
            <a:avLst/>
          </a:prstGeom>
        </p:spPr>
      </p:pic>
    </p:spTree>
    <p:extLst>
      <p:ext uri="{BB962C8B-B14F-4D97-AF65-F5344CB8AC3E}">
        <p14:creationId xmlns:p14="http://schemas.microsoft.com/office/powerpoint/2010/main" val="32356052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Image 74">
            <a:extLst>
              <a:ext uri="{FF2B5EF4-FFF2-40B4-BE49-F238E27FC236}">
                <a16:creationId xmlns:a16="http://schemas.microsoft.com/office/drawing/2014/main" id="{03114697-6C2E-7F5E-EF57-2BE0FCF625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0448" y="3741777"/>
            <a:ext cx="1015279" cy="1015279"/>
          </a:xfrm>
          <a:prstGeom prst="rect">
            <a:avLst/>
          </a:prstGeom>
        </p:spPr>
      </p:pic>
      <p:pic>
        <p:nvPicPr>
          <p:cNvPr id="68" name="Image 67" descr="Une image contenant texte&#10;&#10;Description générée automatiquement">
            <a:extLst>
              <a:ext uri="{FF2B5EF4-FFF2-40B4-BE49-F238E27FC236}">
                <a16:creationId xmlns:a16="http://schemas.microsoft.com/office/drawing/2014/main" id="{7FCCD578-8C4E-1172-C90D-8F573EC630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4275" y="4266646"/>
            <a:ext cx="1105508" cy="580392"/>
          </a:xfrm>
          <a:prstGeom prst="rect">
            <a:avLst/>
          </a:prstGeom>
        </p:spPr>
      </p:pic>
      <p:pic>
        <p:nvPicPr>
          <p:cNvPr id="99" name="Image 98">
            <a:extLst>
              <a:ext uri="{FF2B5EF4-FFF2-40B4-BE49-F238E27FC236}">
                <a16:creationId xmlns:a16="http://schemas.microsoft.com/office/drawing/2014/main" id="{04818266-5699-3555-3633-CE5D4364984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7344" y="3949198"/>
            <a:ext cx="620668" cy="620668"/>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0B59AF77-0E40-7C4F-6AC1-C6A7DE8B58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9502" y="606520"/>
            <a:ext cx="1295662" cy="1295662"/>
          </a:xfrm>
          <a:prstGeom prst="rect">
            <a:avLst/>
          </a:prstGeom>
        </p:spPr>
      </p:pic>
      <p:sp>
        <p:nvSpPr>
          <p:cNvPr id="2" name="Titre 1">
            <a:extLst>
              <a:ext uri="{FF2B5EF4-FFF2-40B4-BE49-F238E27FC236}">
                <a16:creationId xmlns:a16="http://schemas.microsoft.com/office/drawing/2014/main" id="{2070A012-880E-49FF-98EC-8596BFE9F740}"/>
              </a:ext>
            </a:extLst>
          </p:cNvPr>
          <p:cNvSpPr>
            <a:spLocks noGrp="1"/>
          </p:cNvSpPr>
          <p:nvPr>
            <p:ph type="title"/>
          </p:nvPr>
        </p:nvSpPr>
        <p:spPr/>
        <p:txBody>
          <a:bodyPr/>
          <a:lstStyle/>
          <a:p>
            <a:r>
              <a:rPr lang="fr-FR" dirty="0"/>
              <a:t>Plus de 50 partenaires intégrés au niveau de la plateforme nationale d’interopérabilité</a:t>
            </a:r>
          </a:p>
        </p:txBody>
      </p:sp>
      <p:sp>
        <p:nvSpPr>
          <p:cNvPr id="5" name="Rectangle : coins arrondis 4">
            <a:extLst>
              <a:ext uri="{FF2B5EF4-FFF2-40B4-BE49-F238E27FC236}">
                <a16:creationId xmlns:a16="http://schemas.microsoft.com/office/drawing/2014/main" id="{D7258701-AA5E-1DD5-CC17-732935C1B4CD}"/>
              </a:ext>
            </a:extLst>
          </p:cNvPr>
          <p:cNvSpPr/>
          <p:nvPr/>
        </p:nvSpPr>
        <p:spPr>
          <a:xfrm>
            <a:off x="392319" y="1052500"/>
            <a:ext cx="2463515" cy="572131"/>
          </a:xfrm>
          <a:prstGeom prst="roundRect">
            <a:avLst/>
          </a:prstGeom>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bg2"/>
                </a:solidFill>
              </a:rPr>
              <a:t>OMPIC</a:t>
            </a:r>
          </a:p>
        </p:txBody>
      </p:sp>
      <p:sp>
        <p:nvSpPr>
          <p:cNvPr id="7" name="Rectangle : coins arrondis 6">
            <a:extLst>
              <a:ext uri="{FF2B5EF4-FFF2-40B4-BE49-F238E27FC236}">
                <a16:creationId xmlns:a16="http://schemas.microsoft.com/office/drawing/2014/main" id="{0063D314-6145-2461-64F9-CED5FCA64AC0}"/>
              </a:ext>
            </a:extLst>
          </p:cNvPr>
          <p:cNvSpPr/>
          <p:nvPr/>
        </p:nvSpPr>
        <p:spPr>
          <a:xfrm>
            <a:off x="392319" y="1753571"/>
            <a:ext cx="2463514" cy="629148"/>
          </a:xfrm>
          <a:prstGeom prst="roundRect">
            <a:avLst/>
          </a:prstGeom>
          <a:solidFill>
            <a:schemeClr val="accent3">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tx1">
                    <a:lumMod val="60000"/>
                    <a:lumOff val="40000"/>
                  </a:schemeClr>
                </a:solidFill>
              </a:rPr>
              <a:t>MASSAR</a:t>
            </a:r>
          </a:p>
        </p:txBody>
      </p:sp>
      <p:sp>
        <p:nvSpPr>
          <p:cNvPr id="8" name="Rectangle : coins arrondis 7">
            <a:extLst>
              <a:ext uri="{FF2B5EF4-FFF2-40B4-BE49-F238E27FC236}">
                <a16:creationId xmlns:a16="http://schemas.microsoft.com/office/drawing/2014/main" id="{6F8A7DCC-3EB9-C5F9-93C0-4FA5F30036E5}"/>
              </a:ext>
            </a:extLst>
          </p:cNvPr>
          <p:cNvSpPr/>
          <p:nvPr/>
        </p:nvSpPr>
        <p:spPr>
          <a:xfrm>
            <a:off x="392850" y="2632883"/>
            <a:ext cx="2425823" cy="2191607"/>
          </a:xfrm>
          <a:prstGeom prst="roundRect">
            <a:avLst/>
          </a:prstGeom>
          <a:solidFill>
            <a:schemeClr val="accent6"/>
          </a:solidFill>
          <a:ln>
            <a:solidFill>
              <a:schemeClr val="accent2">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bg1"/>
                </a:solidFill>
              </a:rPr>
              <a:t>RSU</a:t>
            </a:r>
          </a:p>
        </p:txBody>
      </p:sp>
      <p:pic>
        <p:nvPicPr>
          <p:cNvPr id="10" name="Image 9">
            <a:extLst>
              <a:ext uri="{FF2B5EF4-FFF2-40B4-BE49-F238E27FC236}">
                <a16:creationId xmlns:a16="http://schemas.microsoft.com/office/drawing/2014/main" id="{428E4D4A-4678-49B2-402D-D4038AEC68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6334" y="1087240"/>
            <a:ext cx="957472" cy="538578"/>
          </a:xfrm>
          <a:prstGeom prst="rect">
            <a:avLst/>
          </a:prstGeom>
        </p:spPr>
      </p:pic>
      <p:pic>
        <p:nvPicPr>
          <p:cNvPr id="11" name="Image 10">
            <a:extLst>
              <a:ext uri="{FF2B5EF4-FFF2-40B4-BE49-F238E27FC236}">
                <a16:creationId xmlns:a16="http://schemas.microsoft.com/office/drawing/2014/main" id="{0DFD0ED2-E7B4-9AF6-2839-1ED5E388F8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45347" y="1006766"/>
            <a:ext cx="622867" cy="480804"/>
          </a:xfrm>
          <a:prstGeom prst="rect">
            <a:avLst/>
          </a:prstGeom>
        </p:spPr>
      </p:pic>
      <p:pic>
        <p:nvPicPr>
          <p:cNvPr id="14" name="Image 13">
            <a:extLst>
              <a:ext uri="{FF2B5EF4-FFF2-40B4-BE49-F238E27FC236}">
                <a16:creationId xmlns:a16="http://schemas.microsoft.com/office/drawing/2014/main" id="{D3777785-1DD4-55B1-D87E-42D349B18856}"/>
              </a:ext>
            </a:extLst>
          </p:cNvPr>
          <p:cNvPicPr>
            <a:picLocks noChangeAspect="1"/>
          </p:cNvPicPr>
          <p:nvPr/>
        </p:nvPicPr>
        <p:blipFill>
          <a:blip r:embed="rId9"/>
          <a:stretch>
            <a:fillRect/>
          </a:stretch>
        </p:blipFill>
        <p:spPr>
          <a:xfrm>
            <a:off x="3463830" y="1882163"/>
            <a:ext cx="927011" cy="633457"/>
          </a:xfrm>
          <a:prstGeom prst="rect">
            <a:avLst/>
          </a:prstGeom>
        </p:spPr>
      </p:pic>
      <p:pic>
        <p:nvPicPr>
          <p:cNvPr id="15" name="Image 14">
            <a:extLst>
              <a:ext uri="{FF2B5EF4-FFF2-40B4-BE49-F238E27FC236}">
                <a16:creationId xmlns:a16="http://schemas.microsoft.com/office/drawing/2014/main" id="{EE0915B7-5EC8-E6F7-7BF7-9BCE7032412D}"/>
              </a:ext>
            </a:extLst>
          </p:cNvPr>
          <p:cNvPicPr>
            <a:picLocks noChangeAspect="1"/>
          </p:cNvPicPr>
          <p:nvPr/>
        </p:nvPicPr>
        <p:blipFill>
          <a:blip r:embed="rId9"/>
          <a:stretch>
            <a:fillRect/>
          </a:stretch>
        </p:blipFill>
        <p:spPr>
          <a:xfrm>
            <a:off x="3451709" y="2695744"/>
            <a:ext cx="927011" cy="633457"/>
          </a:xfrm>
          <a:prstGeom prst="rect">
            <a:avLst/>
          </a:prstGeom>
        </p:spPr>
      </p:pic>
      <p:pic>
        <p:nvPicPr>
          <p:cNvPr id="17" name="Image 16">
            <a:extLst>
              <a:ext uri="{FF2B5EF4-FFF2-40B4-BE49-F238E27FC236}">
                <a16:creationId xmlns:a16="http://schemas.microsoft.com/office/drawing/2014/main" id="{2EF83DB2-5A1E-8CBE-E19C-EE190AFE33C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61176" y="1851154"/>
            <a:ext cx="687274" cy="687274"/>
          </a:xfrm>
          <a:prstGeom prst="rect">
            <a:avLst/>
          </a:prstGeom>
        </p:spPr>
      </p:pic>
      <p:pic>
        <p:nvPicPr>
          <p:cNvPr id="19" name="Image 18">
            <a:extLst>
              <a:ext uri="{FF2B5EF4-FFF2-40B4-BE49-F238E27FC236}">
                <a16:creationId xmlns:a16="http://schemas.microsoft.com/office/drawing/2014/main" id="{17903C86-D241-A0B1-F1EA-A950B20E43F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53797" y="2569917"/>
            <a:ext cx="687274" cy="687274"/>
          </a:xfrm>
          <a:prstGeom prst="rect">
            <a:avLst/>
          </a:prstGeom>
        </p:spPr>
      </p:pic>
      <p:pic>
        <p:nvPicPr>
          <p:cNvPr id="23" name="Image 22">
            <a:extLst>
              <a:ext uri="{FF2B5EF4-FFF2-40B4-BE49-F238E27FC236}">
                <a16:creationId xmlns:a16="http://schemas.microsoft.com/office/drawing/2014/main" id="{6EDBA697-F3EC-66E1-137A-43251DA629A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03419" y="1804805"/>
            <a:ext cx="1548000" cy="575024"/>
          </a:xfrm>
          <a:prstGeom prst="rect">
            <a:avLst/>
          </a:prstGeom>
        </p:spPr>
      </p:pic>
      <p:pic>
        <p:nvPicPr>
          <p:cNvPr id="25" name="Image 24">
            <a:extLst>
              <a:ext uri="{FF2B5EF4-FFF2-40B4-BE49-F238E27FC236}">
                <a16:creationId xmlns:a16="http://schemas.microsoft.com/office/drawing/2014/main" id="{2D3422F1-08F8-4585-EBFC-C32D6E195BE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44514" y="2682223"/>
            <a:ext cx="1548000" cy="575024"/>
          </a:xfrm>
          <a:prstGeom prst="rect">
            <a:avLst/>
          </a:prstGeom>
        </p:spPr>
      </p:pic>
      <p:pic>
        <p:nvPicPr>
          <p:cNvPr id="27" name="Image 26">
            <a:extLst>
              <a:ext uri="{FF2B5EF4-FFF2-40B4-BE49-F238E27FC236}">
                <a16:creationId xmlns:a16="http://schemas.microsoft.com/office/drawing/2014/main" id="{900A1A3F-82B4-1E71-9E68-BB48D1F4D4F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914699" y="1662924"/>
            <a:ext cx="792000" cy="792000"/>
          </a:xfrm>
          <a:prstGeom prst="rect">
            <a:avLst/>
          </a:prstGeom>
        </p:spPr>
      </p:pic>
      <p:pic>
        <p:nvPicPr>
          <p:cNvPr id="29" name="Image 28">
            <a:extLst>
              <a:ext uri="{FF2B5EF4-FFF2-40B4-BE49-F238E27FC236}">
                <a16:creationId xmlns:a16="http://schemas.microsoft.com/office/drawing/2014/main" id="{24415267-8605-77E9-AC39-E1EA5151350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856927" y="1823134"/>
            <a:ext cx="687274" cy="680344"/>
          </a:xfrm>
          <a:prstGeom prst="rect">
            <a:avLst/>
          </a:prstGeom>
        </p:spPr>
      </p:pic>
      <p:pic>
        <p:nvPicPr>
          <p:cNvPr id="32" name="Image 31">
            <a:extLst>
              <a:ext uri="{FF2B5EF4-FFF2-40B4-BE49-F238E27FC236}">
                <a16:creationId xmlns:a16="http://schemas.microsoft.com/office/drawing/2014/main" id="{912AAC41-5EB8-17E8-4EDA-54A8EDB5CE3F}"/>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770237" y="1864881"/>
            <a:ext cx="792000" cy="454872"/>
          </a:xfrm>
          <a:prstGeom prst="rect">
            <a:avLst/>
          </a:prstGeom>
          <a:noFill/>
          <a:ln>
            <a:noFill/>
          </a:ln>
        </p:spPr>
      </p:pic>
      <p:pic>
        <p:nvPicPr>
          <p:cNvPr id="38" name="Image 37">
            <a:extLst>
              <a:ext uri="{FF2B5EF4-FFF2-40B4-BE49-F238E27FC236}">
                <a16:creationId xmlns:a16="http://schemas.microsoft.com/office/drawing/2014/main" id="{DC37D3A1-DAF2-C6E0-ED09-8892315A8E6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auto">
          <a:xfrm>
            <a:off x="7817191" y="1804805"/>
            <a:ext cx="792000" cy="614614"/>
          </a:xfrm>
          <a:prstGeom prst="rect">
            <a:avLst/>
          </a:prstGeom>
          <a:noFill/>
          <a:ln>
            <a:noFill/>
          </a:ln>
        </p:spPr>
      </p:pic>
      <p:pic>
        <p:nvPicPr>
          <p:cNvPr id="40" name="Image 39">
            <a:extLst>
              <a:ext uri="{FF2B5EF4-FFF2-40B4-BE49-F238E27FC236}">
                <a16:creationId xmlns:a16="http://schemas.microsoft.com/office/drawing/2014/main" id="{35C992C3-E89D-5993-55DF-780572B4E90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834592" y="2654722"/>
            <a:ext cx="687274" cy="680344"/>
          </a:xfrm>
          <a:prstGeom prst="rect">
            <a:avLst/>
          </a:prstGeom>
        </p:spPr>
      </p:pic>
      <p:pic>
        <p:nvPicPr>
          <p:cNvPr id="41" name="Image 40">
            <a:extLst>
              <a:ext uri="{FF2B5EF4-FFF2-40B4-BE49-F238E27FC236}">
                <a16:creationId xmlns:a16="http://schemas.microsoft.com/office/drawing/2014/main" id="{E76B5FB2-155A-7D35-501D-B1A07056DBF6}"/>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729241" y="2748049"/>
            <a:ext cx="792000" cy="454872"/>
          </a:xfrm>
          <a:prstGeom prst="rect">
            <a:avLst/>
          </a:prstGeom>
          <a:noFill/>
          <a:ln>
            <a:noFill/>
          </a:ln>
        </p:spPr>
      </p:pic>
      <p:pic>
        <p:nvPicPr>
          <p:cNvPr id="42" name="Image 41">
            <a:extLst>
              <a:ext uri="{FF2B5EF4-FFF2-40B4-BE49-F238E27FC236}">
                <a16:creationId xmlns:a16="http://schemas.microsoft.com/office/drawing/2014/main" id="{A09F63F9-1C8F-E5B3-4AB9-2AFA4EFFD9C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auto">
          <a:xfrm>
            <a:off x="7776195" y="2687973"/>
            <a:ext cx="792000" cy="614614"/>
          </a:xfrm>
          <a:prstGeom prst="rect">
            <a:avLst/>
          </a:prstGeom>
          <a:noFill/>
          <a:ln>
            <a:noFill/>
          </a:ln>
        </p:spPr>
      </p:pic>
      <p:pic>
        <p:nvPicPr>
          <p:cNvPr id="44" name="Image 43">
            <a:extLst>
              <a:ext uri="{FF2B5EF4-FFF2-40B4-BE49-F238E27FC236}">
                <a16:creationId xmlns:a16="http://schemas.microsoft.com/office/drawing/2014/main" id="{D844765B-7E85-AF72-3BFE-F6C96341054B}"/>
              </a:ext>
            </a:extLst>
          </p:cNvPr>
          <p:cNvPicPr>
            <a:picLocks noChangeAspect="1"/>
          </p:cNvPicPr>
          <p:nvPr/>
        </p:nvPicPr>
        <p:blipFill>
          <a:blip r:embed="rId16"/>
          <a:stretch>
            <a:fillRect/>
          </a:stretch>
        </p:blipFill>
        <p:spPr>
          <a:xfrm>
            <a:off x="3474618" y="3354047"/>
            <a:ext cx="971465" cy="681475"/>
          </a:xfrm>
          <a:prstGeom prst="rect">
            <a:avLst/>
          </a:prstGeom>
        </p:spPr>
      </p:pic>
      <p:pic>
        <p:nvPicPr>
          <p:cNvPr id="46" name="Image 45">
            <a:extLst>
              <a:ext uri="{FF2B5EF4-FFF2-40B4-BE49-F238E27FC236}">
                <a16:creationId xmlns:a16="http://schemas.microsoft.com/office/drawing/2014/main" id="{EB44F2F1-AD06-FEA4-1077-A7C7A2B1AA4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14271" y="3247531"/>
            <a:ext cx="732763" cy="732763"/>
          </a:xfrm>
          <a:prstGeom prst="rect">
            <a:avLst/>
          </a:prstGeom>
        </p:spPr>
      </p:pic>
      <p:pic>
        <p:nvPicPr>
          <p:cNvPr id="47" name="Image 46">
            <a:extLst>
              <a:ext uri="{FF2B5EF4-FFF2-40B4-BE49-F238E27FC236}">
                <a16:creationId xmlns:a16="http://schemas.microsoft.com/office/drawing/2014/main" id="{EA0A8FC3-9D8A-189E-9833-59DF7B4182D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561780" y="3388879"/>
            <a:ext cx="691138" cy="450066"/>
          </a:xfrm>
          <a:prstGeom prst="rect">
            <a:avLst/>
          </a:prstGeom>
        </p:spPr>
      </p:pic>
      <p:pic>
        <p:nvPicPr>
          <p:cNvPr id="49" name="Image 48">
            <a:extLst>
              <a:ext uri="{FF2B5EF4-FFF2-40B4-BE49-F238E27FC236}">
                <a16:creationId xmlns:a16="http://schemas.microsoft.com/office/drawing/2014/main" id="{27DD5113-6DB8-1CFA-6B5C-97CBC82731D8}"/>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386116" y="3431160"/>
            <a:ext cx="429385" cy="421057"/>
          </a:xfrm>
          <a:prstGeom prst="rect">
            <a:avLst/>
          </a:prstGeom>
          <a:noFill/>
          <a:ln>
            <a:noFill/>
          </a:ln>
        </p:spPr>
      </p:pic>
      <p:pic>
        <p:nvPicPr>
          <p:cNvPr id="50" name="Image 49" descr="Une image contenant texte, signe&#10;&#10;Description générée automatiquement">
            <a:extLst>
              <a:ext uri="{FF2B5EF4-FFF2-40B4-BE49-F238E27FC236}">
                <a16:creationId xmlns:a16="http://schemas.microsoft.com/office/drawing/2014/main" id="{C209BB7B-DF71-4B82-B104-2C98462A9FA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685610" y="3375607"/>
            <a:ext cx="768363" cy="476610"/>
          </a:xfrm>
          <a:prstGeom prst="rect">
            <a:avLst/>
          </a:prstGeom>
        </p:spPr>
      </p:pic>
      <p:pic>
        <p:nvPicPr>
          <p:cNvPr id="52" name="Image 51">
            <a:extLst>
              <a:ext uri="{FF2B5EF4-FFF2-40B4-BE49-F238E27FC236}">
                <a16:creationId xmlns:a16="http://schemas.microsoft.com/office/drawing/2014/main" id="{179D5D4C-FABA-0931-6C15-19248890B787}"/>
              </a:ext>
            </a:extLst>
          </p:cNvPr>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9001236" y="3377939"/>
            <a:ext cx="624913" cy="463338"/>
          </a:xfrm>
          <a:prstGeom prst="rect">
            <a:avLst/>
          </a:prstGeom>
          <a:noFill/>
          <a:ln>
            <a:noFill/>
          </a:ln>
        </p:spPr>
      </p:pic>
      <p:pic>
        <p:nvPicPr>
          <p:cNvPr id="58" name="Image 57">
            <a:extLst>
              <a:ext uri="{FF2B5EF4-FFF2-40B4-BE49-F238E27FC236}">
                <a16:creationId xmlns:a16="http://schemas.microsoft.com/office/drawing/2014/main" id="{D15B6411-EE15-46C7-C0BC-D65CA59659F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023659" y="3341050"/>
            <a:ext cx="691138" cy="601276"/>
          </a:xfrm>
          <a:prstGeom prst="rect">
            <a:avLst/>
          </a:prstGeom>
        </p:spPr>
      </p:pic>
      <p:pic>
        <p:nvPicPr>
          <p:cNvPr id="60" name="Image 59">
            <a:extLst>
              <a:ext uri="{FF2B5EF4-FFF2-40B4-BE49-F238E27FC236}">
                <a16:creationId xmlns:a16="http://schemas.microsoft.com/office/drawing/2014/main" id="{FBDB7511-EE5A-0B95-12D8-0C4EE369C32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9856288" y="3420387"/>
            <a:ext cx="663062" cy="376834"/>
          </a:xfrm>
          <a:prstGeom prst="rect">
            <a:avLst/>
          </a:prstGeom>
        </p:spPr>
      </p:pic>
      <p:pic>
        <p:nvPicPr>
          <p:cNvPr id="62" name="Graphique 35">
            <a:extLst>
              <a:ext uri="{FF2B5EF4-FFF2-40B4-BE49-F238E27FC236}">
                <a16:creationId xmlns:a16="http://schemas.microsoft.com/office/drawing/2014/main" id="{2CB4F973-E016-4924-0EBF-50B1412B0D1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400350" y="4204344"/>
            <a:ext cx="570520" cy="118847"/>
          </a:xfrm>
          <a:prstGeom prst="rect">
            <a:avLst/>
          </a:prstGeom>
        </p:spPr>
      </p:pic>
      <p:pic>
        <p:nvPicPr>
          <p:cNvPr id="65" name="Image 64">
            <a:extLst>
              <a:ext uri="{FF2B5EF4-FFF2-40B4-BE49-F238E27FC236}">
                <a16:creationId xmlns:a16="http://schemas.microsoft.com/office/drawing/2014/main" id="{E39F6614-57DE-A48D-64C3-C3017DBC1323}"/>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3613576" y="4125377"/>
            <a:ext cx="747208" cy="408611"/>
          </a:xfrm>
          <a:prstGeom prst="rect">
            <a:avLst/>
          </a:prstGeom>
        </p:spPr>
      </p:pic>
      <p:pic>
        <p:nvPicPr>
          <p:cNvPr id="67" name="Image 66">
            <a:extLst>
              <a:ext uri="{FF2B5EF4-FFF2-40B4-BE49-F238E27FC236}">
                <a16:creationId xmlns:a16="http://schemas.microsoft.com/office/drawing/2014/main" id="{389130B0-900E-C3BB-CA98-AB7E8242AF1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475695" y="3897338"/>
            <a:ext cx="816310" cy="630727"/>
          </a:xfrm>
          <a:prstGeom prst="rect">
            <a:avLst/>
          </a:prstGeom>
        </p:spPr>
      </p:pic>
      <p:pic>
        <p:nvPicPr>
          <p:cNvPr id="70" name="Image 69">
            <a:extLst>
              <a:ext uri="{FF2B5EF4-FFF2-40B4-BE49-F238E27FC236}">
                <a16:creationId xmlns:a16="http://schemas.microsoft.com/office/drawing/2014/main" id="{7CC403FF-BE87-86FA-46F3-225C7A7F132F}"/>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6184185" y="3939867"/>
            <a:ext cx="620668" cy="620668"/>
          </a:xfrm>
          <a:prstGeom prst="rect">
            <a:avLst/>
          </a:prstGeom>
        </p:spPr>
      </p:pic>
      <p:pic>
        <p:nvPicPr>
          <p:cNvPr id="73" name="Image 72">
            <a:extLst>
              <a:ext uri="{FF2B5EF4-FFF2-40B4-BE49-F238E27FC236}">
                <a16:creationId xmlns:a16="http://schemas.microsoft.com/office/drawing/2014/main" id="{DA7BE615-0D05-65CE-5F67-C2C96378C655}"/>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636460" y="3251752"/>
            <a:ext cx="951295" cy="567811"/>
          </a:xfrm>
          <a:prstGeom prst="rect">
            <a:avLst/>
          </a:prstGeom>
        </p:spPr>
      </p:pic>
      <p:pic>
        <p:nvPicPr>
          <p:cNvPr id="83" name="Image 82">
            <a:extLst>
              <a:ext uri="{FF2B5EF4-FFF2-40B4-BE49-F238E27FC236}">
                <a16:creationId xmlns:a16="http://schemas.microsoft.com/office/drawing/2014/main" id="{FB9A56D9-B333-33CC-5956-5AE7AEF52A17}"/>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8866782" y="4022002"/>
            <a:ext cx="429385" cy="427954"/>
          </a:xfrm>
          <a:prstGeom prst="rect">
            <a:avLst/>
          </a:prstGeom>
        </p:spPr>
      </p:pic>
      <p:pic>
        <p:nvPicPr>
          <p:cNvPr id="90" name="Image 89">
            <a:extLst>
              <a:ext uri="{FF2B5EF4-FFF2-40B4-BE49-F238E27FC236}">
                <a16:creationId xmlns:a16="http://schemas.microsoft.com/office/drawing/2014/main" id="{42FEA94D-10D4-C6FA-FD09-FB2DD0DAD880}"/>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928651" y="4035522"/>
            <a:ext cx="710954" cy="419166"/>
          </a:xfrm>
          <a:prstGeom prst="rect">
            <a:avLst/>
          </a:prstGeom>
        </p:spPr>
      </p:pic>
      <p:pic>
        <p:nvPicPr>
          <p:cNvPr id="94" name="Image 93">
            <a:extLst>
              <a:ext uri="{FF2B5EF4-FFF2-40B4-BE49-F238E27FC236}">
                <a16:creationId xmlns:a16="http://schemas.microsoft.com/office/drawing/2014/main" id="{E3F6F398-2AA4-E91E-C6FB-73FD11E5C7DC}"/>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1548448" y="3952025"/>
            <a:ext cx="632108" cy="632108"/>
          </a:xfrm>
          <a:prstGeom prst="rect">
            <a:avLst/>
          </a:prstGeom>
        </p:spPr>
      </p:pic>
      <p:pic>
        <p:nvPicPr>
          <p:cNvPr id="95" name="Image 94">
            <a:extLst>
              <a:ext uri="{FF2B5EF4-FFF2-40B4-BE49-F238E27FC236}">
                <a16:creationId xmlns:a16="http://schemas.microsoft.com/office/drawing/2014/main" id="{02109C2A-4F88-459E-AC80-6933009640D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0986719" y="3901541"/>
            <a:ext cx="473207" cy="660000"/>
          </a:xfrm>
          <a:prstGeom prst="rect">
            <a:avLst/>
          </a:prstGeom>
        </p:spPr>
      </p:pic>
      <p:pic>
        <p:nvPicPr>
          <p:cNvPr id="96" name="Image 95">
            <a:extLst>
              <a:ext uri="{FF2B5EF4-FFF2-40B4-BE49-F238E27FC236}">
                <a16:creationId xmlns:a16="http://schemas.microsoft.com/office/drawing/2014/main" id="{5481F6E3-5D1F-ECF1-7245-143D59E7D735}"/>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9987094" y="4011014"/>
            <a:ext cx="869182" cy="454872"/>
          </a:xfrm>
          <a:prstGeom prst="rect">
            <a:avLst/>
          </a:prstGeom>
        </p:spPr>
      </p:pic>
      <p:pic>
        <p:nvPicPr>
          <p:cNvPr id="97" name="Image 96">
            <a:extLst>
              <a:ext uri="{FF2B5EF4-FFF2-40B4-BE49-F238E27FC236}">
                <a16:creationId xmlns:a16="http://schemas.microsoft.com/office/drawing/2014/main" id="{CFCF8E11-6D95-E98D-F65B-2266812FB30E}"/>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083474" y="4345390"/>
            <a:ext cx="319624" cy="445062"/>
          </a:xfrm>
          <a:prstGeom prst="rect">
            <a:avLst/>
          </a:prstGeom>
        </p:spPr>
      </p:pic>
      <p:pic>
        <p:nvPicPr>
          <p:cNvPr id="98" name="Image 97">
            <a:extLst>
              <a:ext uri="{FF2B5EF4-FFF2-40B4-BE49-F238E27FC236}">
                <a16:creationId xmlns:a16="http://schemas.microsoft.com/office/drawing/2014/main" id="{9FA590A5-690C-B057-60DB-27BCA6B41A12}"/>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6582802" y="4386160"/>
            <a:ext cx="995688" cy="497844"/>
          </a:xfrm>
          <a:prstGeom prst="rect">
            <a:avLst/>
          </a:prstGeom>
        </p:spPr>
      </p:pic>
      <p:pic>
        <p:nvPicPr>
          <p:cNvPr id="100" name="Image 99">
            <a:extLst>
              <a:ext uri="{FF2B5EF4-FFF2-40B4-BE49-F238E27FC236}">
                <a16:creationId xmlns:a16="http://schemas.microsoft.com/office/drawing/2014/main" id="{9D269010-BC5D-CE2F-C6B8-6B2FFED022EA}"/>
              </a:ext>
            </a:extLst>
          </p:cNvPr>
          <p:cNvPicPr>
            <a:picLocks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11653933" y="3263613"/>
            <a:ext cx="452317" cy="544088"/>
          </a:xfrm>
          <a:prstGeom prst="rect">
            <a:avLst/>
          </a:prstGeom>
          <a:noFill/>
          <a:ln>
            <a:noFill/>
          </a:ln>
        </p:spPr>
      </p:pic>
      <p:pic>
        <p:nvPicPr>
          <p:cNvPr id="54" name="Image 53">
            <a:extLst>
              <a:ext uri="{FF2B5EF4-FFF2-40B4-BE49-F238E27FC236}">
                <a16:creationId xmlns:a16="http://schemas.microsoft.com/office/drawing/2014/main" id="{0DA474BF-6BE3-0B07-D0A3-A767816E0B4E}"/>
              </a:ext>
            </a:extLst>
          </p:cNvPr>
          <p:cNvPicPr>
            <a:picLocks noChangeAspect="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0812028" y="2798574"/>
            <a:ext cx="1099672" cy="348605"/>
          </a:xfrm>
          <a:prstGeom prst="rect">
            <a:avLst/>
          </a:prstGeom>
          <a:noFill/>
          <a:ln>
            <a:noFill/>
          </a:ln>
        </p:spPr>
      </p:pic>
      <p:cxnSp>
        <p:nvCxnSpPr>
          <p:cNvPr id="102" name="Connecteur droit 101">
            <a:extLst>
              <a:ext uri="{FF2B5EF4-FFF2-40B4-BE49-F238E27FC236}">
                <a16:creationId xmlns:a16="http://schemas.microsoft.com/office/drawing/2014/main" id="{507D5178-2614-2723-8FA7-FD7BCDB0DBF5}"/>
              </a:ext>
            </a:extLst>
          </p:cNvPr>
          <p:cNvCxnSpPr>
            <a:cxnSpLocks/>
          </p:cNvCxnSpPr>
          <p:nvPr/>
        </p:nvCxnSpPr>
        <p:spPr>
          <a:xfrm>
            <a:off x="123143" y="2524197"/>
            <a:ext cx="12192000" cy="0"/>
          </a:xfrm>
          <a:prstGeom prst="line">
            <a:avLst/>
          </a:prstGeom>
          <a:ln>
            <a:prstDash val="dashDot"/>
          </a:ln>
        </p:spPr>
        <p:style>
          <a:lnRef idx="1">
            <a:schemeClr val="accent5"/>
          </a:lnRef>
          <a:fillRef idx="0">
            <a:schemeClr val="accent5"/>
          </a:fillRef>
          <a:effectRef idx="0">
            <a:schemeClr val="accent5"/>
          </a:effectRef>
          <a:fontRef idx="minor">
            <a:schemeClr val="tx1"/>
          </a:fontRef>
        </p:style>
      </p:cxnSp>
      <p:cxnSp>
        <p:nvCxnSpPr>
          <p:cNvPr id="108" name="Connecteur droit 107">
            <a:extLst>
              <a:ext uri="{FF2B5EF4-FFF2-40B4-BE49-F238E27FC236}">
                <a16:creationId xmlns:a16="http://schemas.microsoft.com/office/drawing/2014/main" id="{3197C36B-7397-B04A-9CD7-45A04305BC15}"/>
              </a:ext>
            </a:extLst>
          </p:cNvPr>
          <p:cNvCxnSpPr>
            <a:cxnSpLocks/>
          </p:cNvCxnSpPr>
          <p:nvPr/>
        </p:nvCxnSpPr>
        <p:spPr>
          <a:xfrm flipV="1">
            <a:off x="12594" y="1678136"/>
            <a:ext cx="12192000" cy="26274"/>
          </a:xfrm>
          <a:prstGeom prst="line">
            <a:avLst/>
          </a:prstGeom>
          <a:ln>
            <a:prstDash val="dashDot"/>
          </a:ln>
        </p:spPr>
        <p:style>
          <a:lnRef idx="1">
            <a:schemeClr val="accent5"/>
          </a:lnRef>
          <a:fillRef idx="0">
            <a:schemeClr val="accent5"/>
          </a:fillRef>
          <a:effectRef idx="0">
            <a:schemeClr val="accent5"/>
          </a:effectRef>
          <a:fontRef idx="minor">
            <a:schemeClr val="tx1"/>
          </a:fontRef>
        </p:style>
      </p:cxnSp>
      <p:sp>
        <p:nvSpPr>
          <p:cNvPr id="109" name="Rectangle : coins arrondis 108">
            <a:extLst>
              <a:ext uri="{FF2B5EF4-FFF2-40B4-BE49-F238E27FC236}">
                <a16:creationId xmlns:a16="http://schemas.microsoft.com/office/drawing/2014/main" id="{8E1E0FD9-EBB0-3C15-B98B-15E765F533B7}"/>
              </a:ext>
            </a:extLst>
          </p:cNvPr>
          <p:cNvSpPr/>
          <p:nvPr/>
        </p:nvSpPr>
        <p:spPr>
          <a:xfrm>
            <a:off x="392318" y="4940956"/>
            <a:ext cx="2371160" cy="444348"/>
          </a:xfrm>
          <a:prstGeom prst="roundRect">
            <a:avLst/>
          </a:prstGeom>
          <a:solidFill>
            <a:schemeClr val="tx2"/>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bg2"/>
                </a:solidFill>
              </a:rPr>
              <a:t>AMO Solidaire</a:t>
            </a:r>
          </a:p>
        </p:txBody>
      </p:sp>
      <p:cxnSp>
        <p:nvCxnSpPr>
          <p:cNvPr id="110" name="Connecteur droit 109">
            <a:extLst>
              <a:ext uri="{FF2B5EF4-FFF2-40B4-BE49-F238E27FC236}">
                <a16:creationId xmlns:a16="http://schemas.microsoft.com/office/drawing/2014/main" id="{29E3E902-66FC-73B7-51BD-CC2D61601F96}"/>
              </a:ext>
            </a:extLst>
          </p:cNvPr>
          <p:cNvCxnSpPr>
            <a:cxnSpLocks/>
          </p:cNvCxnSpPr>
          <p:nvPr/>
        </p:nvCxnSpPr>
        <p:spPr>
          <a:xfrm>
            <a:off x="-11444" y="4854247"/>
            <a:ext cx="12192000" cy="0"/>
          </a:xfrm>
          <a:prstGeom prst="line">
            <a:avLst/>
          </a:prstGeom>
          <a:ln>
            <a:prstDash val="dashDot"/>
          </a:ln>
        </p:spPr>
        <p:style>
          <a:lnRef idx="1">
            <a:schemeClr val="accent5"/>
          </a:lnRef>
          <a:fillRef idx="0">
            <a:schemeClr val="accent5"/>
          </a:fillRef>
          <a:effectRef idx="0">
            <a:schemeClr val="accent5"/>
          </a:effectRef>
          <a:fontRef idx="minor">
            <a:schemeClr val="tx1"/>
          </a:fontRef>
        </p:style>
      </p:cxnSp>
      <p:sp>
        <p:nvSpPr>
          <p:cNvPr id="111" name="Rectangle : coins arrondis 110">
            <a:extLst>
              <a:ext uri="{FF2B5EF4-FFF2-40B4-BE49-F238E27FC236}">
                <a16:creationId xmlns:a16="http://schemas.microsoft.com/office/drawing/2014/main" id="{3120A9DD-AB6A-A064-5E5C-10D8E1067B0C}"/>
              </a:ext>
            </a:extLst>
          </p:cNvPr>
          <p:cNvSpPr/>
          <p:nvPr/>
        </p:nvSpPr>
        <p:spPr>
          <a:xfrm>
            <a:off x="392318" y="5534927"/>
            <a:ext cx="2371160" cy="485202"/>
          </a:xfrm>
          <a:prstGeom prst="roundRect">
            <a:avLst/>
          </a:prstGeom>
          <a:solidFill>
            <a:schemeClr val="accent3"/>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bg2"/>
                </a:solidFill>
              </a:rPr>
              <a:t>NARSA</a:t>
            </a:r>
          </a:p>
        </p:txBody>
      </p:sp>
      <p:cxnSp>
        <p:nvCxnSpPr>
          <p:cNvPr id="112" name="Connecteur droit 111">
            <a:extLst>
              <a:ext uri="{FF2B5EF4-FFF2-40B4-BE49-F238E27FC236}">
                <a16:creationId xmlns:a16="http://schemas.microsoft.com/office/drawing/2014/main" id="{3C4C272D-1936-93BE-334F-12ECCA90B413}"/>
              </a:ext>
            </a:extLst>
          </p:cNvPr>
          <p:cNvCxnSpPr>
            <a:cxnSpLocks/>
          </p:cNvCxnSpPr>
          <p:nvPr/>
        </p:nvCxnSpPr>
        <p:spPr>
          <a:xfrm>
            <a:off x="12593" y="5427440"/>
            <a:ext cx="12192000" cy="0"/>
          </a:xfrm>
          <a:prstGeom prst="line">
            <a:avLst/>
          </a:prstGeom>
          <a:ln>
            <a:prstDash val="dashDot"/>
          </a:ln>
        </p:spPr>
        <p:style>
          <a:lnRef idx="1">
            <a:schemeClr val="accent5"/>
          </a:lnRef>
          <a:fillRef idx="0">
            <a:schemeClr val="accent5"/>
          </a:fillRef>
          <a:effectRef idx="0">
            <a:schemeClr val="accent5"/>
          </a:effectRef>
          <a:fontRef idx="minor">
            <a:schemeClr val="tx1"/>
          </a:fontRef>
        </p:style>
      </p:cxnSp>
      <p:pic>
        <p:nvPicPr>
          <p:cNvPr id="113" name="Image 112">
            <a:extLst>
              <a:ext uri="{FF2B5EF4-FFF2-40B4-BE49-F238E27FC236}">
                <a16:creationId xmlns:a16="http://schemas.microsoft.com/office/drawing/2014/main" id="{AECCE20E-A36C-E6A0-237A-32D9D794B831}"/>
              </a:ext>
            </a:extLst>
          </p:cNvPr>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45346" y="5491010"/>
            <a:ext cx="474966" cy="465754"/>
          </a:xfrm>
          <a:prstGeom prst="rect">
            <a:avLst/>
          </a:prstGeom>
          <a:noFill/>
          <a:ln>
            <a:noFill/>
          </a:ln>
        </p:spPr>
      </p:pic>
      <p:pic>
        <p:nvPicPr>
          <p:cNvPr id="114" name="Image 113">
            <a:extLst>
              <a:ext uri="{FF2B5EF4-FFF2-40B4-BE49-F238E27FC236}">
                <a16:creationId xmlns:a16="http://schemas.microsoft.com/office/drawing/2014/main" id="{F5E8648F-E5F8-61EA-1964-8047C48D3B5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auto">
          <a:xfrm>
            <a:off x="4546101" y="4940410"/>
            <a:ext cx="545385" cy="423234"/>
          </a:xfrm>
          <a:prstGeom prst="rect">
            <a:avLst/>
          </a:prstGeom>
          <a:noFill/>
          <a:ln>
            <a:noFill/>
          </a:ln>
        </p:spPr>
      </p:pic>
      <p:pic>
        <p:nvPicPr>
          <p:cNvPr id="115" name="Image 114">
            <a:extLst>
              <a:ext uri="{FF2B5EF4-FFF2-40B4-BE49-F238E27FC236}">
                <a16:creationId xmlns:a16="http://schemas.microsoft.com/office/drawing/2014/main" id="{E6046A92-476A-1997-75BE-6C7B831DD599}"/>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619567" y="4919254"/>
            <a:ext cx="472937" cy="472937"/>
          </a:xfrm>
          <a:prstGeom prst="rect">
            <a:avLst/>
          </a:prstGeom>
        </p:spPr>
      </p:pic>
      <p:grpSp>
        <p:nvGrpSpPr>
          <p:cNvPr id="116" name="Groupe 115">
            <a:extLst>
              <a:ext uri="{FF2B5EF4-FFF2-40B4-BE49-F238E27FC236}">
                <a16:creationId xmlns:a16="http://schemas.microsoft.com/office/drawing/2014/main" id="{F01CDB1E-2CDA-793D-A77D-CCFAC0B3CFB2}"/>
              </a:ext>
            </a:extLst>
          </p:cNvPr>
          <p:cNvGrpSpPr/>
          <p:nvPr/>
        </p:nvGrpSpPr>
        <p:grpSpPr>
          <a:xfrm>
            <a:off x="4360785" y="5469577"/>
            <a:ext cx="730702" cy="519530"/>
            <a:chOff x="4583405" y="3763624"/>
            <a:chExt cx="1033627" cy="727836"/>
          </a:xfrm>
        </p:grpSpPr>
        <p:pic>
          <p:nvPicPr>
            <p:cNvPr id="117" name="Graphique 116" descr="Banque avec un remplissage uni">
              <a:extLst>
                <a:ext uri="{FF2B5EF4-FFF2-40B4-BE49-F238E27FC236}">
                  <a16:creationId xmlns:a16="http://schemas.microsoft.com/office/drawing/2014/main" id="{519ADECF-A52E-0576-4952-4A138852A29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07336" y="3763624"/>
              <a:ext cx="585767" cy="585767"/>
            </a:xfrm>
            <a:prstGeom prst="rect">
              <a:avLst/>
            </a:prstGeom>
          </p:spPr>
        </p:pic>
        <p:sp>
          <p:nvSpPr>
            <p:cNvPr id="118" name="Rectangle 117">
              <a:extLst>
                <a:ext uri="{FF2B5EF4-FFF2-40B4-BE49-F238E27FC236}">
                  <a16:creationId xmlns:a16="http://schemas.microsoft.com/office/drawing/2014/main" id="{A0069EAA-A8BC-3D48-8C93-20C089102167}"/>
                </a:ext>
              </a:extLst>
            </p:cNvPr>
            <p:cNvSpPr/>
            <p:nvPr/>
          </p:nvSpPr>
          <p:spPr>
            <a:xfrm>
              <a:off x="4583405" y="4347721"/>
              <a:ext cx="1033627" cy="1437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a:solidFill>
                    <a:schemeClr val="accent4"/>
                  </a:solidFill>
                </a:rPr>
                <a:t>Organismes de financement</a:t>
              </a:r>
            </a:p>
          </p:txBody>
        </p:sp>
      </p:grpSp>
      <p:grpSp>
        <p:nvGrpSpPr>
          <p:cNvPr id="119" name="Groupe 118">
            <a:extLst>
              <a:ext uri="{FF2B5EF4-FFF2-40B4-BE49-F238E27FC236}">
                <a16:creationId xmlns:a16="http://schemas.microsoft.com/office/drawing/2014/main" id="{25963D21-1B8F-77D0-19DA-CB55B75C1113}"/>
              </a:ext>
            </a:extLst>
          </p:cNvPr>
          <p:cNvGrpSpPr/>
          <p:nvPr/>
        </p:nvGrpSpPr>
        <p:grpSpPr>
          <a:xfrm>
            <a:off x="5091486" y="5457823"/>
            <a:ext cx="816089" cy="564458"/>
            <a:chOff x="4583405" y="3824913"/>
            <a:chExt cx="1033627" cy="666547"/>
          </a:xfrm>
        </p:grpSpPr>
        <p:pic>
          <p:nvPicPr>
            <p:cNvPr id="120" name="Graphique 119" descr="Banque avec un remplissage uni">
              <a:extLst>
                <a:ext uri="{FF2B5EF4-FFF2-40B4-BE49-F238E27FC236}">
                  <a16:creationId xmlns:a16="http://schemas.microsoft.com/office/drawing/2014/main" id="{C4BE632D-EC25-DAC9-D987-3414E39D23FD}"/>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807336" y="3824913"/>
              <a:ext cx="524478" cy="524477"/>
            </a:xfrm>
            <a:prstGeom prst="rect">
              <a:avLst/>
            </a:prstGeom>
          </p:spPr>
        </p:pic>
        <p:sp>
          <p:nvSpPr>
            <p:cNvPr id="121" name="Rectangle 120">
              <a:extLst>
                <a:ext uri="{FF2B5EF4-FFF2-40B4-BE49-F238E27FC236}">
                  <a16:creationId xmlns:a16="http://schemas.microsoft.com/office/drawing/2014/main" id="{37B48892-2C77-4F94-6437-BA27532C25EE}"/>
                </a:ext>
              </a:extLst>
            </p:cNvPr>
            <p:cNvSpPr/>
            <p:nvPr/>
          </p:nvSpPr>
          <p:spPr>
            <a:xfrm>
              <a:off x="4583405" y="4347721"/>
              <a:ext cx="1033627" cy="1437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600" dirty="0">
                  <a:solidFill>
                    <a:schemeClr val="accent2"/>
                  </a:solidFill>
                </a:rPr>
                <a:t>Assurances automobiles</a:t>
              </a:r>
            </a:p>
          </p:txBody>
        </p:sp>
      </p:grpSp>
      <p:sp>
        <p:nvSpPr>
          <p:cNvPr id="3" name="Rectangle : coins arrondis 2">
            <a:extLst>
              <a:ext uri="{FF2B5EF4-FFF2-40B4-BE49-F238E27FC236}">
                <a16:creationId xmlns:a16="http://schemas.microsoft.com/office/drawing/2014/main" id="{24C87A68-B2AA-DC1E-2093-278F7DC08069}"/>
              </a:ext>
            </a:extLst>
          </p:cNvPr>
          <p:cNvSpPr/>
          <p:nvPr/>
        </p:nvSpPr>
        <p:spPr>
          <a:xfrm>
            <a:off x="443157" y="6187914"/>
            <a:ext cx="2320322" cy="540864"/>
          </a:xfrm>
          <a:prstGeom prst="roundRect">
            <a:avLst/>
          </a:prstGeom>
          <a:solidFill>
            <a:schemeClr val="accent3"/>
          </a:solidFill>
          <a:ln>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fr-FR" b="1" dirty="0">
                <a:solidFill>
                  <a:schemeClr val="bg2"/>
                </a:solidFill>
              </a:rPr>
              <a:t>TAYSSIR</a:t>
            </a:r>
          </a:p>
        </p:txBody>
      </p:sp>
      <p:pic>
        <p:nvPicPr>
          <p:cNvPr id="4" name="Image 3">
            <a:extLst>
              <a:ext uri="{FF2B5EF4-FFF2-40B4-BE49-F238E27FC236}">
                <a16:creationId xmlns:a16="http://schemas.microsoft.com/office/drawing/2014/main" id="{B7F5383A-1C39-1810-1EEB-B76537D01C30}"/>
              </a:ext>
            </a:extLst>
          </p:cNvPr>
          <p:cNvPicPr>
            <a:picLocks noChangeAspect="1"/>
          </p:cNvPicPr>
          <p:nvPr/>
        </p:nvPicPr>
        <p:blipFill>
          <a:blip r:embed="rId9"/>
          <a:stretch>
            <a:fillRect/>
          </a:stretch>
        </p:blipFill>
        <p:spPr>
          <a:xfrm>
            <a:off x="3495555" y="6183111"/>
            <a:ext cx="873128" cy="633457"/>
          </a:xfrm>
          <a:prstGeom prst="rect">
            <a:avLst/>
          </a:prstGeom>
        </p:spPr>
      </p:pic>
      <p:pic>
        <p:nvPicPr>
          <p:cNvPr id="12" name="Image 11">
            <a:extLst>
              <a:ext uri="{FF2B5EF4-FFF2-40B4-BE49-F238E27FC236}">
                <a16:creationId xmlns:a16="http://schemas.microsoft.com/office/drawing/2014/main" id="{1C3BF92F-8690-6C22-1F08-ED616839CAA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15614" y="6158416"/>
            <a:ext cx="647326" cy="687274"/>
          </a:xfrm>
          <a:prstGeom prst="rect">
            <a:avLst/>
          </a:prstGeom>
        </p:spPr>
      </p:pic>
      <p:cxnSp>
        <p:nvCxnSpPr>
          <p:cNvPr id="18" name="Connecteur droit 17">
            <a:extLst>
              <a:ext uri="{FF2B5EF4-FFF2-40B4-BE49-F238E27FC236}">
                <a16:creationId xmlns:a16="http://schemas.microsoft.com/office/drawing/2014/main" id="{60EAF264-5E49-EB31-593E-F7B211141633}"/>
              </a:ext>
            </a:extLst>
          </p:cNvPr>
          <p:cNvCxnSpPr>
            <a:cxnSpLocks/>
          </p:cNvCxnSpPr>
          <p:nvPr/>
        </p:nvCxnSpPr>
        <p:spPr>
          <a:xfrm flipV="1">
            <a:off x="123143" y="6147861"/>
            <a:ext cx="12081450" cy="19705"/>
          </a:xfrm>
          <a:prstGeom prst="line">
            <a:avLst/>
          </a:prstGeom>
          <a:ln>
            <a:prstDash val="dashDot"/>
          </a:ln>
        </p:spPr>
        <p:style>
          <a:lnRef idx="1">
            <a:schemeClr val="accent5"/>
          </a:lnRef>
          <a:fillRef idx="0">
            <a:schemeClr val="accent5"/>
          </a:fillRef>
          <a:effectRef idx="0">
            <a:schemeClr val="accent5"/>
          </a:effectRef>
          <a:fontRef idx="minor">
            <a:schemeClr val="tx1"/>
          </a:fontRef>
        </p:style>
      </p:cxnSp>
      <p:pic>
        <p:nvPicPr>
          <p:cNvPr id="22" name="Image 21">
            <a:extLst>
              <a:ext uri="{FF2B5EF4-FFF2-40B4-BE49-F238E27FC236}">
                <a16:creationId xmlns:a16="http://schemas.microsoft.com/office/drawing/2014/main" id="{7819BFD4-8AF1-F987-67B8-EB1441945A6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35359" y="6165806"/>
            <a:ext cx="679536" cy="679536"/>
          </a:xfrm>
          <a:prstGeom prst="rect">
            <a:avLst/>
          </a:prstGeom>
        </p:spPr>
      </p:pic>
    </p:spTree>
    <p:extLst>
      <p:ext uri="{BB962C8B-B14F-4D97-AF65-F5344CB8AC3E}">
        <p14:creationId xmlns:p14="http://schemas.microsoft.com/office/powerpoint/2010/main" val="2093301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1DoubleBoa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OkYtpaY7e69oILarLZx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yMZEWZBzD9B_aFEoR7Xyg"/>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05.xml><?xml version="1.0" encoding="utf-8"?>
<p:tagLst xmlns:a="http://schemas.openxmlformats.org/drawingml/2006/main" xmlns:r="http://schemas.openxmlformats.org/officeDocument/2006/relationships" xmlns:p="http://schemas.openxmlformats.org/presentationml/2006/main">
  <p:tag name="NAME" val="CustomIcon"/>
</p:tagLst>
</file>

<file path=ppt/tags/tag106.xml><?xml version="1.0" encoding="utf-8"?>
<p:tagLst xmlns:a="http://schemas.openxmlformats.org/drawingml/2006/main" xmlns:r="http://schemas.openxmlformats.org/officeDocument/2006/relationships" xmlns:p="http://schemas.openxmlformats.org/presentationml/2006/main">
  <p:tag name="NAME" val="CustomIcon"/>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dQ0cAos5DrL.Chwkr59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SingleChevr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e.EzvoCJcMYddp70VyL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NAME" val="CustomIcon"/>
</p:tagLst>
</file>

<file path=ppt/tags/tag113.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DoubleChevron2"/>
</p:tagLst>
</file>

<file path=ppt/tags/tag120.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NAME" val="CustomIcon"/>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NAME" val="CustomIcon"/>
</p:tagLst>
</file>

<file path=ppt/tags/tag129.xml><?xml version="1.0" encoding="utf-8"?>
<p:tagLst xmlns:a="http://schemas.openxmlformats.org/drawingml/2006/main" xmlns:r="http://schemas.openxmlformats.org/officeDocument/2006/relationships" xmlns:p="http://schemas.openxmlformats.org/presentationml/2006/main">
  <p:tag name="NAME" val="DoubleChevron3"/>
</p:tagLst>
</file>

<file path=ppt/tags/tag13.xml><?xml version="1.0" encoding="utf-8"?>
<p:tagLst xmlns:a="http://schemas.openxmlformats.org/drawingml/2006/main" xmlns:r="http://schemas.openxmlformats.org/officeDocument/2006/relationships" xmlns:p="http://schemas.openxmlformats.org/presentationml/2006/main">
  <p:tag name="NAME" val="DoubleChevr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KDs3rpOwQ.g_XjIvMeZhQ"/>
</p:tagLst>
</file>

<file path=ppt/tags/tag132.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NAME" val="CustomIcon"/>
</p:tagLst>
</file>

<file path=ppt/tags/tag134.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35.xml><?xml version="1.0" encoding="utf-8"?>
<p:tagLst xmlns:a="http://schemas.openxmlformats.org/drawingml/2006/main" xmlns:r="http://schemas.openxmlformats.org/officeDocument/2006/relationships" xmlns:p="http://schemas.openxmlformats.org/presentationml/2006/main">
  <p:tag name="NAME" val="Oval"/>
</p:tagLst>
</file>

<file path=ppt/tags/tag136.xml><?xml version="1.0" encoding="utf-8"?>
<p:tagLst xmlns:a="http://schemas.openxmlformats.org/drawingml/2006/main" xmlns:r="http://schemas.openxmlformats.org/officeDocument/2006/relationships" xmlns:p="http://schemas.openxmlformats.org/presentationml/2006/main">
  <p:tag name="NAME" val="Oval"/>
</p:tagLst>
</file>

<file path=ppt/tags/tag137.xml><?xml version="1.0" encoding="utf-8"?>
<p:tagLst xmlns:a="http://schemas.openxmlformats.org/drawingml/2006/main" xmlns:r="http://schemas.openxmlformats.org/officeDocument/2006/relationships" xmlns:p="http://schemas.openxmlformats.org/presentationml/2006/main">
  <p:tag name="NAME" val="CustomIcon"/>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39.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NAME" val="Bracket"/>
</p:tagLst>
</file>

<file path=ppt/tags/tag140.xml><?xml version="1.0" encoding="utf-8"?>
<p:tagLst xmlns:a="http://schemas.openxmlformats.org/drawingml/2006/main" xmlns:r="http://schemas.openxmlformats.org/officeDocument/2006/relationships" xmlns:p="http://schemas.openxmlformats.org/presentationml/2006/main">
  <p:tag name="NAME" val="Oval"/>
</p:tagLst>
</file>

<file path=ppt/tags/tag141.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42.xml><?xml version="1.0" encoding="utf-8"?>
<p:tagLst xmlns:a="http://schemas.openxmlformats.org/drawingml/2006/main" xmlns:r="http://schemas.openxmlformats.org/officeDocument/2006/relationships" xmlns:p="http://schemas.openxmlformats.org/presentationml/2006/main">
  <p:tag name="NAME" val="Oval"/>
</p:tagLst>
</file>

<file path=ppt/tags/tag143.xml><?xml version="1.0" encoding="utf-8"?>
<p:tagLst xmlns:a="http://schemas.openxmlformats.org/drawingml/2006/main" xmlns:r="http://schemas.openxmlformats.org/officeDocument/2006/relationships" xmlns:p="http://schemas.openxmlformats.org/presentationml/2006/main">
  <p:tag name="NAME" val="Oval"/>
</p:tagLst>
</file>

<file path=ppt/tags/tag144.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45.xml><?xml version="1.0" encoding="utf-8"?>
<p:tagLst xmlns:a="http://schemas.openxmlformats.org/drawingml/2006/main" xmlns:r="http://schemas.openxmlformats.org/officeDocument/2006/relationships" xmlns:p="http://schemas.openxmlformats.org/presentationml/2006/main">
  <p:tag name="NAME" val="Oval"/>
</p:tagLst>
</file>

<file path=ppt/tags/tag146.xml><?xml version="1.0" encoding="utf-8"?>
<p:tagLst xmlns:a="http://schemas.openxmlformats.org/drawingml/2006/main" xmlns:r="http://schemas.openxmlformats.org/officeDocument/2006/relationships" xmlns:p="http://schemas.openxmlformats.org/presentationml/2006/main">
  <p:tag name="NAME" val="Oval"/>
</p:tagLst>
</file>

<file path=ppt/tags/tag147.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48.xml><?xml version="1.0" encoding="utf-8"?>
<p:tagLst xmlns:a="http://schemas.openxmlformats.org/drawingml/2006/main" xmlns:r="http://schemas.openxmlformats.org/officeDocument/2006/relationships" xmlns:p="http://schemas.openxmlformats.org/presentationml/2006/main">
  <p:tag name="NAME" val="Oval"/>
</p:tagLst>
</file>

<file path=ppt/tags/tag149.xml><?xml version="1.0" encoding="utf-8"?>
<p:tagLst xmlns:a="http://schemas.openxmlformats.org/drawingml/2006/main" xmlns:r="http://schemas.openxmlformats.org/officeDocument/2006/relationships" xmlns:p="http://schemas.openxmlformats.org/presentationml/2006/main">
  <p:tag name="NAME" val="Oval"/>
</p:tagLst>
</file>

<file path=ppt/tags/tag15.xml><?xml version="1.0" encoding="utf-8"?>
<p:tagLst xmlns:a="http://schemas.openxmlformats.org/drawingml/2006/main" xmlns:r="http://schemas.openxmlformats.org/officeDocument/2006/relationships" xmlns:p="http://schemas.openxmlformats.org/presentationml/2006/main">
  <p:tag name="NAME" val="DoubleChevron"/>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51.xml><?xml version="1.0" encoding="utf-8"?>
<p:tagLst xmlns:a="http://schemas.openxmlformats.org/drawingml/2006/main" xmlns:r="http://schemas.openxmlformats.org/officeDocument/2006/relationships" xmlns:p="http://schemas.openxmlformats.org/presentationml/2006/main">
  <p:tag name="NAME" val="Oval"/>
</p:tagLst>
</file>

<file path=ppt/tags/tag152.xml><?xml version="1.0" encoding="utf-8"?>
<p:tagLst xmlns:a="http://schemas.openxmlformats.org/drawingml/2006/main" xmlns:r="http://schemas.openxmlformats.org/officeDocument/2006/relationships" xmlns:p="http://schemas.openxmlformats.org/presentationml/2006/main">
  <p:tag name="NAME" val="Oval"/>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778017586925075"/>
  <p:tag name="LEFT" val="9.375039"/>
  <p:tag name="WIDTH" val="118.88"/>
  <p:tag name="HEIGHT" val="28.24803"/>
  <p:tag name="TOP" val="113.9454"/>
</p:tagLst>
</file>

<file path=ppt/tags/tag154.xml><?xml version="1.0" encoding="utf-8"?>
<p:tagLst xmlns:a="http://schemas.openxmlformats.org/drawingml/2006/main" xmlns:r="http://schemas.openxmlformats.org/officeDocument/2006/relationships" xmlns:p="http://schemas.openxmlformats.org/presentationml/2006/main">
  <p:tag name="NAME" val="Oval"/>
</p:tagLst>
</file>

<file path=ppt/tags/tag155.xml><?xml version="1.0" encoding="utf-8"?>
<p:tagLst xmlns:a="http://schemas.openxmlformats.org/drawingml/2006/main" xmlns:r="http://schemas.openxmlformats.org/officeDocument/2006/relationships" xmlns:p="http://schemas.openxmlformats.org/presentationml/2006/main">
  <p:tag name="NAME" val="Oval"/>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663z5egQjOg9z4phSbXAg"/>
</p:tagLst>
</file>

<file path=ppt/tags/tag158.xml><?xml version="1.0" encoding="utf-8"?>
<p:tagLst xmlns:a="http://schemas.openxmlformats.org/drawingml/2006/main" xmlns:r="http://schemas.openxmlformats.org/officeDocument/2006/relationships" xmlns:p="http://schemas.openxmlformats.org/presentationml/2006/main">
  <p:tag name="NAME" val="CustomIcon"/>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NAME" val="DoubleChevron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7KPpvAo0AWz_IgCMa_y.kQ"/>
</p:tagLst>
</file>

<file path=ppt/tags/tag17.xml><?xml version="1.0" encoding="utf-8"?>
<p:tagLst xmlns:a="http://schemas.openxmlformats.org/drawingml/2006/main" xmlns:r="http://schemas.openxmlformats.org/officeDocument/2006/relationships" xmlns:p="http://schemas.openxmlformats.org/presentationml/2006/main">
  <p:tag name="NAME" val="1BoatTopShape"/>
</p:tagLst>
</file>

<file path=ppt/tags/tag18.xml><?xml version="1.0" encoding="utf-8"?>
<p:tagLst xmlns:a="http://schemas.openxmlformats.org/drawingml/2006/main" xmlns:r="http://schemas.openxmlformats.org/officeDocument/2006/relationships" xmlns:p="http://schemas.openxmlformats.org/presentationml/2006/main">
  <p:tag name="NAME" val="1BoatTopText"/>
</p:tagLst>
</file>

<file path=ppt/tags/tag1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PJQvib.s.tMqHkrEQTKww"/>
</p:tagLst>
</file>

<file path=ppt/tags/tag20.xml><?xml version="1.0" encoding="utf-8"?>
<p:tagLst xmlns:a="http://schemas.openxmlformats.org/drawingml/2006/main" xmlns:r="http://schemas.openxmlformats.org/officeDocument/2006/relationships" xmlns:p="http://schemas.openxmlformats.org/presentationml/2006/main">
  <p:tag name="NAME" val="1BoatBottomText"/>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pLHhevviGfg8Pk3JzyDVA"/>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44.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PJQvib.s.tMqHkrEQTKww"/>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Oval"/>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1.xml><?xml version="1.0" encoding="utf-8"?>
<p:tagLst xmlns:a="http://schemas.openxmlformats.org/drawingml/2006/main" xmlns:r="http://schemas.openxmlformats.org/officeDocument/2006/relationships" xmlns:p="http://schemas.openxmlformats.org/presentationml/2006/main">
  <p:tag name="NAME" val="Arrow"/>
</p:tagLst>
</file>

<file path=ppt/tags/tag6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63.xml><?xml version="1.0" encoding="utf-8"?>
<p:tagLst xmlns:a="http://schemas.openxmlformats.org/drawingml/2006/main" xmlns:r="http://schemas.openxmlformats.org/officeDocument/2006/relationships" xmlns:p="http://schemas.openxmlformats.org/presentationml/2006/main">
  <p:tag name="NAME" val="SingleBoat"/>
</p:tagLst>
</file>

<file path=ppt/tags/tag64.xml><?xml version="1.0" encoding="utf-8"?>
<p:tagLst xmlns:a="http://schemas.openxmlformats.org/drawingml/2006/main" xmlns:r="http://schemas.openxmlformats.org/officeDocument/2006/relationships" xmlns:p="http://schemas.openxmlformats.org/presentationml/2006/main">
  <p:tag name="NAME" val="1DoubleBoat"/>
</p:tagLst>
</file>

<file path=ppt/tags/tag65.xml><?xml version="1.0" encoding="utf-8"?>
<p:tagLst xmlns:a="http://schemas.openxmlformats.org/drawingml/2006/main" xmlns:r="http://schemas.openxmlformats.org/officeDocument/2006/relationships" xmlns:p="http://schemas.openxmlformats.org/presentationml/2006/main">
  <p:tag name="NAME" val="SingleChevron"/>
</p:tagLst>
</file>

<file path=ppt/tags/tag66.xml><?xml version="1.0" encoding="utf-8"?>
<p:tagLst xmlns:a="http://schemas.openxmlformats.org/drawingml/2006/main" xmlns:r="http://schemas.openxmlformats.org/officeDocument/2006/relationships" xmlns:p="http://schemas.openxmlformats.org/presentationml/2006/main">
  <p:tag name="NAME" val="DoubleChevron2"/>
</p:tagLst>
</file>

<file path=ppt/tags/tag67.xml><?xml version="1.0" encoding="utf-8"?>
<p:tagLst xmlns:a="http://schemas.openxmlformats.org/drawingml/2006/main" xmlns:r="http://schemas.openxmlformats.org/officeDocument/2006/relationships" xmlns:p="http://schemas.openxmlformats.org/presentationml/2006/main">
  <p:tag name="NAME" val="DoubleChevron"/>
</p:tagLst>
</file>

<file path=ppt/tags/tag68.xml><?xml version="1.0" encoding="utf-8"?>
<p:tagLst xmlns:a="http://schemas.openxmlformats.org/drawingml/2006/main" xmlns:r="http://schemas.openxmlformats.org/officeDocument/2006/relationships" xmlns:p="http://schemas.openxmlformats.org/presentationml/2006/main">
  <p:tag name="NAME" val="Bracket"/>
</p:tagLst>
</file>

<file path=ppt/tags/tag69.xml><?xml version="1.0" encoding="utf-8"?>
<p:tagLst xmlns:a="http://schemas.openxmlformats.org/drawingml/2006/main" xmlns:r="http://schemas.openxmlformats.org/officeDocument/2006/relationships" xmlns:p="http://schemas.openxmlformats.org/presentationml/2006/main">
  <p:tag name="NAME" val="DoubleChevron"/>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NAME" val="DoubleChevron2"/>
</p:tagLst>
</file>

<file path=ppt/tags/tag71.xml><?xml version="1.0" encoding="utf-8"?>
<p:tagLst xmlns:a="http://schemas.openxmlformats.org/drawingml/2006/main" xmlns:r="http://schemas.openxmlformats.org/officeDocument/2006/relationships" xmlns:p="http://schemas.openxmlformats.org/presentationml/2006/main">
  <p:tag name="NAME" val="1BoatTopShape"/>
</p:tagLst>
</file>

<file path=ppt/tags/tag72.xml><?xml version="1.0" encoding="utf-8"?>
<p:tagLst xmlns:a="http://schemas.openxmlformats.org/drawingml/2006/main" xmlns:r="http://schemas.openxmlformats.org/officeDocument/2006/relationships" xmlns:p="http://schemas.openxmlformats.org/presentationml/2006/main">
  <p:tag name="NAME" val="1BoatTopText"/>
</p:tagLst>
</file>

<file path=ppt/tags/tag73.xml><?xml version="1.0" encoding="utf-8"?>
<p:tagLst xmlns:a="http://schemas.openxmlformats.org/drawingml/2006/main" xmlns:r="http://schemas.openxmlformats.org/officeDocument/2006/relationships" xmlns:p="http://schemas.openxmlformats.org/presentationml/2006/main">
  <p:tag name="NAME" val="1BoatBottomShape"/>
</p:tagLst>
</file>

<file path=ppt/tags/tag74.xml><?xml version="1.0" encoding="utf-8"?>
<p:tagLst xmlns:a="http://schemas.openxmlformats.org/drawingml/2006/main" xmlns:r="http://schemas.openxmlformats.org/officeDocument/2006/relationships" xmlns:p="http://schemas.openxmlformats.org/presentationml/2006/main">
  <p:tag name="NAME" val="1BoatBottomText"/>
</p:tagLst>
</file>

<file path=ppt/tags/tag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76.xml><?xml version="1.0" encoding="utf-8"?>
<p:tagLst xmlns:a="http://schemas.openxmlformats.org/drawingml/2006/main" xmlns:r="http://schemas.openxmlformats.org/officeDocument/2006/relationships" xmlns:p="http://schemas.openxmlformats.org/presentationml/2006/main">
  <p:tag name="NAME" val="SingleBoatText"/>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SingleBoat"/>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pLHhevviGfg8Pk3JzyDV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2gl4ct4YVIAG4yQoOqUA"/>
</p:tagLst>
</file>

<file path=ppt/theme/theme1.xml><?xml version="1.0" encoding="utf-8"?>
<a:theme xmlns:a="http://schemas.openxmlformats.org/drawingml/2006/main" name="FR_CM0173_16x9_CF1">
  <a:themeElements>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fontScheme name="Custom 2">
      <a:majorFont>
        <a:latin typeface="Arial Narrow"/>
        <a:ea typeface="ＭＳ Ｐゴシック"/>
        <a:cs typeface=""/>
      </a:majorFont>
      <a:minorFont>
        <a:latin typeface="Arial Nova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R_Template ADD.potx" id="{65F67A66-B575-4EF5-A88B-4E36C5DAC915}" vid="{38DB50F4-A577-45B0-B26E-EE8D2BF631BA}"/>
    </a:ext>
  </a:extLst>
</a:theme>
</file>

<file path=ppt/theme/theme2.xml><?xml version="1.0" encoding="utf-8"?>
<a:theme xmlns:a="http://schemas.openxmlformats.org/drawingml/2006/main" name="1_FR_CM0173_16x9_CF1">
  <a:themeElements>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fontScheme name="Custom 2">
      <a:majorFont>
        <a:latin typeface="Arial Narrow"/>
        <a:ea typeface="ＭＳ Ｐゴシック"/>
        <a:cs typeface=""/>
      </a:majorFont>
      <a:minorFont>
        <a:latin typeface="Arial Nova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R_Template ADD.potx" id="{65F67A66-B575-4EF5-A88B-4E36C5DAC915}" vid="{38DB50F4-A577-45B0-B26E-EE8D2BF631B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4</TotalTime>
  <Words>1593</Words>
  <Application>Microsoft Office PowerPoint</Application>
  <PresentationFormat>Grand écran</PresentationFormat>
  <Paragraphs>259</Paragraphs>
  <Slides>18</Slides>
  <Notes>14</Notes>
  <HiddenSlides>0</HiddenSlides>
  <MMClips>0</MMClips>
  <ScaleCrop>false</ScaleCrop>
  <HeadingPairs>
    <vt:vector size="8" baseType="variant">
      <vt:variant>
        <vt:lpstr>Polices utilisées</vt:lpstr>
      </vt:variant>
      <vt:variant>
        <vt:i4>17</vt:i4>
      </vt:variant>
      <vt:variant>
        <vt:lpstr>Thème</vt:lpstr>
      </vt:variant>
      <vt:variant>
        <vt:i4>2</vt:i4>
      </vt:variant>
      <vt:variant>
        <vt:lpstr>Serveurs OLE incorporés</vt:lpstr>
      </vt:variant>
      <vt:variant>
        <vt:i4>1</vt:i4>
      </vt:variant>
      <vt:variant>
        <vt:lpstr>Titres des diapositives</vt:lpstr>
      </vt:variant>
      <vt:variant>
        <vt:i4>18</vt:i4>
      </vt:variant>
    </vt:vector>
  </HeadingPairs>
  <TitlesOfParts>
    <vt:vector size="38" baseType="lpstr">
      <vt:lpstr>Arial</vt:lpstr>
      <vt:lpstr>Arial Black</vt:lpstr>
      <vt:lpstr>Arial Narrow</vt:lpstr>
      <vt:lpstr>Arial Nova</vt:lpstr>
      <vt:lpstr>Arial Nova Light</vt:lpstr>
      <vt:lpstr>Arial Nova Light (Corps)</vt:lpstr>
      <vt:lpstr>Avenir Next LT Pro</vt:lpstr>
      <vt:lpstr>Avenir Next LT Pro Demi</vt:lpstr>
      <vt:lpstr>Calibri</vt:lpstr>
      <vt:lpstr>Courier New</vt:lpstr>
      <vt:lpstr>Georgia</vt:lpstr>
      <vt:lpstr>Helvetica Neue</vt:lpstr>
      <vt:lpstr>HelveticaNeueLTStd-Lt</vt:lpstr>
      <vt:lpstr>Lato Light</vt:lpstr>
      <vt:lpstr>Poppins</vt:lpstr>
      <vt:lpstr>Roboto</vt:lpstr>
      <vt:lpstr>Segoe UI</vt:lpstr>
      <vt:lpstr>FR_CM0173_16x9_CF1</vt:lpstr>
      <vt:lpstr>1_FR_CM0173_16x9_CF1</vt:lpstr>
      <vt:lpstr>think-cell Slide</vt:lpstr>
      <vt:lpstr>Toward Smart Government </vt:lpstr>
      <vt:lpstr>Agenda</vt:lpstr>
      <vt:lpstr>Le Digital est un facteur important qui aide le pays à faire face aux défis socio-économiques qu’il rencontre, en particulier :</vt:lpstr>
      <vt:lpstr>Nouveau modèle de développement: le Digital , un chantier stratégique pour réaliser le développement global du Maroc</vt:lpstr>
      <vt:lpstr>Pour accélérer la transformation digitale, la vision de développement du Digital s’articule autour de 3 volets: </vt:lpstr>
      <vt:lpstr>Plusieurs projets pour l’accélération de la transformation digitale de l’administration</vt:lpstr>
      <vt:lpstr>L’interopérabilité devrait permettre de passer d’un parcours siloté à un parcours consolidé et simplifié pour l’usager</vt:lpstr>
      <vt:lpstr>Plateforme nationale d’interopérabilité GISRE</vt:lpstr>
      <vt:lpstr>Plus de 50 partenaires intégrés au niveau de la plateforme nationale d’interopérabilité</vt:lpstr>
      <vt:lpstr>La Digital Factory  est le moteur des transformations digitales des administrations</vt:lpstr>
      <vt:lpstr>Digitalisation du Manifeste de Fret</vt:lpstr>
      <vt:lpstr>Plateforme e-learning</vt:lpstr>
      <vt:lpstr>Présentation PowerPoint</vt:lpstr>
      <vt:lpstr>Plateforme d’Authentification et d’Identification des Usagers des Services Numériques </vt:lpstr>
      <vt:lpstr>Modules catalytiques de la transformation digitale</vt:lpstr>
      <vt:lpstr>Open Data</vt:lpstr>
      <vt:lpstr>Présentation PowerPoint</vt:lpstr>
      <vt:lpstr>Framework d’un Smart Govern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formation digitale du secteur public</dc:title>
  <dc:creator>Hajar KHYATI</dc:creator>
  <cp:lastModifiedBy>Hajar KHYATI</cp:lastModifiedBy>
  <cp:revision>20</cp:revision>
  <dcterms:created xsi:type="dcterms:W3CDTF">2022-11-22T13:52:12Z</dcterms:created>
  <dcterms:modified xsi:type="dcterms:W3CDTF">2023-09-24T19:49:21Z</dcterms:modified>
</cp:coreProperties>
</file>